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notesSlides/notesSlide2.xml" ContentType="application/vnd.openxmlformats-officedocument.presentationml.notesSlide+xml"/>
  <Override PartName="/ppt/tags/tag115.xml" ContentType="application/vnd.openxmlformats-officedocument.presentationml.tags+xml"/>
  <Override PartName="/ppt/notesSlides/notesSlide3.xml" ContentType="application/vnd.openxmlformats-officedocument.presentationml.notesSlide+xml"/>
  <Override PartName="/ppt/tags/tag116.xml" ContentType="application/vnd.openxmlformats-officedocument.presentationml.tags+xml"/>
  <Override PartName="/ppt/notesSlides/notesSlide4.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5.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6.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7.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8.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9.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10.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11.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12.xml" ContentType="application/vnd.openxmlformats-officedocument.presentationml.notesSlide+xml"/>
  <Override PartName="/ppt/tags/tag185.xml" ContentType="application/vnd.openxmlformats-officedocument.presentationml.tags+xml"/>
  <Override PartName="/ppt/notesSlides/notesSlide13.xml" ContentType="application/vnd.openxmlformats-officedocument.presentationml.notesSlide+xml"/>
  <Override PartName="/ppt/tags/tag186.xml" ContentType="application/vnd.openxmlformats-officedocument.presentationml.tags+xml"/>
  <Override PartName="/ppt/notesSlides/notesSlide14.xml" ContentType="application/vnd.openxmlformats-officedocument.presentationml.notesSlide+xml"/>
  <Override PartName="/ppt/tags/tag187.xml" ContentType="application/vnd.openxmlformats-officedocument.presentationml.tags+xml"/>
  <Override PartName="/ppt/notesSlides/notesSlide15.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6.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7.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18.xml" ContentType="application/vnd.openxmlformats-officedocument.presentationml.notesSlide+xml"/>
  <Override PartName="/ppt/tags/tag201.xml" ContentType="application/vnd.openxmlformats-officedocument.presentationml.tags+xml"/>
  <Override PartName="/ppt/notesSlides/notesSlide19.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 id="2147483674" r:id="rId5"/>
    <p:sldMasterId id="2147483682" r:id="rId6"/>
    <p:sldMasterId id="2147483691" r:id="rId7"/>
    <p:sldMasterId id="2147483700" r:id="rId8"/>
    <p:sldMasterId id="2147483709" r:id="rId9"/>
    <p:sldMasterId id="2147483718" r:id="rId10"/>
    <p:sldMasterId id="2147483727" r:id="rId11"/>
    <p:sldMasterId id="2147483736" r:id="rId12"/>
    <p:sldMasterId id="2147483745" r:id="rId13"/>
  </p:sldMasterIdLst>
  <p:notesMasterIdLst>
    <p:notesMasterId r:id="rId71"/>
  </p:notesMasterIdLst>
  <p:handoutMasterIdLst>
    <p:handoutMasterId r:id="rId72"/>
  </p:handoutMasterIdLst>
  <p:sldIdLst>
    <p:sldId id="256" r:id="rId14"/>
    <p:sldId id="2395" r:id="rId15"/>
    <p:sldId id="2210" r:id="rId16"/>
    <p:sldId id="2229" r:id="rId17"/>
    <p:sldId id="2405" r:id="rId18"/>
    <p:sldId id="1649" r:id="rId19"/>
    <p:sldId id="2397" r:id="rId20"/>
    <p:sldId id="1668" r:id="rId21"/>
    <p:sldId id="1669" r:id="rId22"/>
    <p:sldId id="1670" r:id="rId23"/>
    <p:sldId id="1671" r:id="rId24"/>
    <p:sldId id="1673" r:id="rId25"/>
    <p:sldId id="1674" r:id="rId26"/>
    <p:sldId id="1675" r:id="rId27"/>
    <p:sldId id="1676" r:id="rId28"/>
    <p:sldId id="1677" r:id="rId29"/>
    <p:sldId id="1678" r:id="rId30"/>
    <p:sldId id="1680" r:id="rId31"/>
    <p:sldId id="1681" r:id="rId32"/>
    <p:sldId id="1682" r:id="rId33"/>
    <p:sldId id="2230" r:id="rId34"/>
    <p:sldId id="2398" r:id="rId35"/>
    <p:sldId id="2406" r:id="rId36"/>
    <p:sldId id="1988" r:id="rId37"/>
    <p:sldId id="1650" r:id="rId38"/>
    <p:sldId id="2399" r:id="rId39"/>
    <p:sldId id="1997" r:id="rId40"/>
    <p:sldId id="2233" r:id="rId41"/>
    <p:sldId id="2407" r:id="rId42"/>
    <p:sldId id="1651" r:id="rId43"/>
    <p:sldId id="2400" r:id="rId44"/>
    <p:sldId id="2246" r:id="rId45"/>
    <p:sldId id="2401" r:id="rId46"/>
    <p:sldId id="2408" r:id="rId47"/>
    <p:sldId id="1652" r:id="rId48"/>
    <p:sldId id="2248" r:id="rId49"/>
    <p:sldId id="2247" r:id="rId50"/>
    <p:sldId id="2402" r:id="rId51"/>
    <p:sldId id="2409" r:id="rId52"/>
    <p:sldId id="1653" r:id="rId53"/>
    <p:sldId id="2250" r:id="rId54"/>
    <p:sldId id="2249" r:id="rId55"/>
    <p:sldId id="2403" r:id="rId56"/>
    <p:sldId id="2410" r:id="rId57"/>
    <p:sldId id="1654" r:id="rId58"/>
    <p:sldId id="2251" r:id="rId59"/>
    <p:sldId id="2404" r:id="rId60"/>
    <p:sldId id="2010" r:id="rId61"/>
    <p:sldId id="2015" r:id="rId62"/>
    <p:sldId id="2011" r:id="rId63"/>
    <p:sldId id="2012" r:id="rId64"/>
    <p:sldId id="2013" r:id="rId65"/>
    <p:sldId id="2014" r:id="rId66"/>
    <p:sldId id="2021" r:id="rId67"/>
    <p:sldId id="2020" r:id="rId68"/>
    <p:sldId id="2221" r:id="rId69"/>
    <p:sldId id="2149" r:id="rId70"/>
  </p:sldIdLst>
  <p:sldSz cx="12192000" cy="6858000"/>
  <p:notesSz cx="6858000" cy="9144000"/>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7A9"/>
    <a:srgbClr val="FFD1D2"/>
    <a:srgbClr val="FFF2C9"/>
    <a:srgbClr val="EBF6DE"/>
    <a:srgbClr val="D3EFCE"/>
    <a:srgbClr val="FFC000"/>
    <a:srgbClr val="FF0000"/>
    <a:srgbClr val="00B050"/>
    <a:srgbClr val="F7F7F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7ED3B5-2B93-4163-8B85-A9A154D805BA}" v="15" dt="2023-01-12T23:13:59.2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114" autoAdjust="0"/>
    <p:restoredTop sz="94987" autoAdjust="0"/>
  </p:normalViewPr>
  <p:slideViewPr>
    <p:cSldViewPr snapToGrid="0">
      <p:cViewPr varScale="1">
        <p:scale>
          <a:sx n="56" d="100"/>
          <a:sy n="56" d="100"/>
        </p:scale>
        <p:origin x="1224" y="44"/>
      </p:cViewPr>
      <p:guideLst>
        <p:guide orient="horz" pos="2160"/>
        <p:guide pos="37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commentAuthors" Target="commentAuthors.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handoutMaster" Target="handoutMasters/handoutMaster1.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1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CDDAF7B1-EA75-4C96-BC1A-D0E0C2B90736}"/>
    <pc:docChg chg="undo custSel addSld delSld modSld">
      <pc:chgData name="Aurelien Domont" userId="6da7715ce44349b3" providerId="LiveId" clId="{CDDAF7B1-EA75-4C96-BC1A-D0E0C2B90736}" dt="2021-08-04T01:38:40.451" v="1041" actId="47"/>
      <pc:docMkLst>
        <pc:docMk/>
      </pc:docMkLst>
      <pc:sldChg chg="modSp mod">
        <pc:chgData name="Aurelien Domont" userId="6da7715ce44349b3" providerId="LiveId" clId="{CDDAF7B1-EA75-4C96-BC1A-D0E0C2B90736}" dt="2021-08-04T01:18:34.041" v="413" actId="20577"/>
        <pc:sldMkLst>
          <pc:docMk/>
          <pc:sldMk cId="3131901387" sldId="256"/>
        </pc:sldMkLst>
        <pc:spChg chg="mod">
          <ac:chgData name="Aurelien Domont" userId="6da7715ce44349b3" providerId="LiveId" clId="{CDDAF7B1-EA75-4C96-BC1A-D0E0C2B90736}" dt="2021-08-04T01:18:34.041" v="413" actId="20577"/>
          <ac:spMkLst>
            <pc:docMk/>
            <pc:sldMk cId="3131901387" sldId="256"/>
            <ac:spMk id="2" creationId="{5261080C-C60C-4746-B6B1-A9A4FFA86785}"/>
          </ac:spMkLst>
        </pc:spChg>
      </pc:sldChg>
      <pc:sldChg chg="del">
        <pc:chgData name="Aurelien Domont" userId="6da7715ce44349b3" providerId="LiveId" clId="{CDDAF7B1-EA75-4C96-BC1A-D0E0C2B90736}" dt="2021-08-04T00:59:46.172" v="123" actId="47"/>
        <pc:sldMkLst>
          <pc:docMk/>
          <pc:sldMk cId="1421369585" sldId="1512"/>
        </pc:sldMkLst>
      </pc:sldChg>
      <pc:sldChg chg="del">
        <pc:chgData name="Aurelien Domont" userId="6da7715ce44349b3" providerId="LiveId" clId="{CDDAF7B1-EA75-4C96-BC1A-D0E0C2B90736}" dt="2021-08-04T00:59:46.172" v="123" actId="47"/>
        <pc:sldMkLst>
          <pc:docMk/>
          <pc:sldMk cId="2147850151" sldId="1517"/>
        </pc:sldMkLst>
      </pc:sldChg>
      <pc:sldChg chg="modSp del mod">
        <pc:chgData name="Aurelien Domont" userId="6da7715ce44349b3" providerId="LiveId" clId="{CDDAF7B1-EA75-4C96-BC1A-D0E0C2B90736}" dt="2021-08-04T01:21:22.788" v="464" actId="47"/>
        <pc:sldMkLst>
          <pc:docMk/>
          <pc:sldMk cId="495896922" sldId="1566"/>
        </pc:sldMkLst>
        <pc:spChg chg="mod">
          <ac:chgData name="Aurelien Domont" userId="6da7715ce44349b3" providerId="LiveId" clId="{CDDAF7B1-EA75-4C96-BC1A-D0E0C2B90736}" dt="2021-08-04T00:52:50.225" v="26" actId="948"/>
          <ac:spMkLst>
            <pc:docMk/>
            <pc:sldMk cId="495896922" sldId="1566"/>
            <ac:spMk id="3" creationId="{5A344048-DBDE-413B-8AF9-F87D45AC158E}"/>
          </ac:spMkLst>
        </pc:spChg>
        <pc:spChg chg="mod">
          <ac:chgData name="Aurelien Domont" userId="6da7715ce44349b3" providerId="LiveId" clId="{CDDAF7B1-EA75-4C96-BC1A-D0E0C2B90736}" dt="2021-08-04T00:52:58.869" v="32" actId="14100"/>
          <ac:spMkLst>
            <pc:docMk/>
            <pc:sldMk cId="495896922" sldId="1566"/>
            <ac:spMk id="4" creationId="{255F0877-572A-45D9-B70B-77449C9C1013}"/>
          </ac:spMkLst>
        </pc:spChg>
      </pc:sldChg>
      <pc:sldChg chg="del">
        <pc:chgData name="Aurelien Domont" userId="6da7715ce44349b3" providerId="LiveId" clId="{CDDAF7B1-EA75-4C96-BC1A-D0E0C2B90736}" dt="2021-08-04T00:59:46.172" v="123" actId="47"/>
        <pc:sldMkLst>
          <pc:docMk/>
          <pc:sldMk cId="3692499981" sldId="1597"/>
        </pc:sldMkLst>
      </pc:sldChg>
      <pc:sldChg chg="del">
        <pc:chgData name="Aurelien Domont" userId="6da7715ce44349b3" providerId="LiveId" clId="{CDDAF7B1-EA75-4C96-BC1A-D0E0C2B90736}" dt="2021-08-04T00:59:46.172" v="123" actId="47"/>
        <pc:sldMkLst>
          <pc:docMk/>
          <pc:sldMk cId="1754585881" sldId="1598"/>
        </pc:sldMkLst>
      </pc:sldChg>
      <pc:sldChg chg="del">
        <pc:chgData name="Aurelien Domont" userId="6da7715ce44349b3" providerId="LiveId" clId="{CDDAF7B1-EA75-4C96-BC1A-D0E0C2B90736}" dt="2021-08-04T00:59:46.172" v="123" actId="47"/>
        <pc:sldMkLst>
          <pc:docMk/>
          <pc:sldMk cId="748962572" sldId="1599"/>
        </pc:sldMkLst>
      </pc:sldChg>
      <pc:sldChg chg="del">
        <pc:chgData name="Aurelien Domont" userId="6da7715ce44349b3" providerId="LiveId" clId="{CDDAF7B1-EA75-4C96-BC1A-D0E0C2B90736}" dt="2021-08-04T00:59:46.172" v="123" actId="47"/>
        <pc:sldMkLst>
          <pc:docMk/>
          <pc:sldMk cId="2853806433" sldId="1600"/>
        </pc:sldMkLst>
      </pc:sldChg>
      <pc:sldChg chg="del">
        <pc:chgData name="Aurelien Domont" userId="6da7715ce44349b3" providerId="LiveId" clId="{CDDAF7B1-EA75-4C96-BC1A-D0E0C2B90736}" dt="2021-08-04T00:53:23.770" v="34" actId="47"/>
        <pc:sldMkLst>
          <pc:docMk/>
          <pc:sldMk cId="1926177791" sldId="1603"/>
        </pc:sldMkLst>
      </pc:sldChg>
      <pc:sldChg chg="addSp modSp del mod">
        <pc:chgData name="Aurelien Domont" userId="6da7715ce44349b3" providerId="LiveId" clId="{CDDAF7B1-EA75-4C96-BC1A-D0E0C2B90736}" dt="2021-08-04T01:38:40.451" v="1041" actId="47"/>
        <pc:sldMkLst>
          <pc:docMk/>
          <pc:sldMk cId="1440906613" sldId="1629"/>
        </pc:sldMkLst>
        <pc:spChg chg="add mod">
          <ac:chgData name="Aurelien Domont" userId="6da7715ce44349b3" providerId="LiveId" clId="{CDDAF7B1-EA75-4C96-BC1A-D0E0C2B90736}" dt="2021-08-04T00:54:03.040" v="81" actId="20577"/>
          <ac:spMkLst>
            <pc:docMk/>
            <pc:sldMk cId="1440906613" sldId="1629"/>
            <ac:spMk id="2" creationId="{B3BC1DF9-AEB1-43AA-A457-CCFA22E33D1D}"/>
          </ac:spMkLst>
        </pc:spChg>
      </pc:sldChg>
      <pc:sldChg chg="del">
        <pc:chgData name="Aurelien Domont" userId="6da7715ce44349b3" providerId="LiveId" clId="{CDDAF7B1-EA75-4C96-BC1A-D0E0C2B90736}" dt="2021-08-04T00:54:12.510" v="83" actId="47"/>
        <pc:sldMkLst>
          <pc:docMk/>
          <pc:sldMk cId="573244702" sldId="1630"/>
        </pc:sldMkLst>
      </pc:sldChg>
      <pc:sldChg chg="del">
        <pc:chgData name="Aurelien Domont" userId="6da7715ce44349b3" providerId="LiveId" clId="{CDDAF7B1-EA75-4C96-BC1A-D0E0C2B90736}" dt="2021-08-04T00:54:33.977" v="86" actId="47"/>
        <pc:sldMkLst>
          <pc:docMk/>
          <pc:sldMk cId="1785694903" sldId="1632"/>
        </pc:sldMkLst>
      </pc:sldChg>
      <pc:sldChg chg="del">
        <pc:chgData name="Aurelien Domont" userId="6da7715ce44349b3" providerId="LiveId" clId="{CDDAF7B1-EA75-4C96-BC1A-D0E0C2B90736}" dt="2021-08-04T00:55:24.480" v="92" actId="47"/>
        <pc:sldMkLst>
          <pc:docMk/>
          <pc:sldMk cId="2706331230" sldId="1637"/>
        </pc:sldMkLst>
      </pc:sldChg>
      <pc:sldChg chg="del">
        <pc:chgData name="Aurelien Domont" userId="6da7715ce44349b3" providerId="LiveId" clId="{CDDAF7B1-EA75-4C96-BC1A-D0E0C2B90736}" dt="2021-08-04T00:56:46.630" v="107" actId="47"/>
        <pc:sldMkLst>
          <pc:docMk/>
          <pc:sldMk cId="3051793569" sldId="1642"/>
        </pc:sldMkLst>
      </pc:sldChg>
      <pc:sldChg chg="del">
        <pc:chgData name="Aurelien Domont" userId="6da7715ce44349b3" providerId="LiveId" clId="{CDDAF7B1-EA75-4C96-BC1A-D0E0C2B90736}" dt="2021-08-04T00:57:02.904" v="112" actId="47"/>
        <pc:sldMkLst>
          <pc:docMk/>
          <pc:sldMk cId="2145955469" sldId="1648"/>
        </pc:sldMkLst>
      </pc:sldChg>
      <pc:sldChg chg="del">
        <pc:chgData name="Aurelien Domont" userId="6da7715ce44349b3" providerId="LiveId" clId="{CDDAF7B1-EA75-4C96-BC1A-D0E0C2B90736}" dt="2021-08-04T00:59:46.172" v="123" actId="47"/>
        <pc:sldMkLst>
          <pc:docMk/>
          <pc:sldMk cId="2114802062" sldId="1649"/>
        </pc:sldMkLst>
      </pc:sldChg>
      <pc:sldChg chg="del">
        <pc:chgData name="Aurelien Domont" userId="6da7715ce44349b3" providerId="LiveId" clId="{CDDAF7B1-EA75-4C96-BC1A-D0E0C2B90736}" dt="2021-08-04T00:59:46.172" v="123" actId="47"/>
        <pc:sldMkLst>
          <pc:docMk/>
          <pc:sldMk cId="2064558966" sldId="1650"/>
        </pc:sldMkLst>
      </pc:sldChg>
      <pc:sldChg chg="del">
        <pc:chgData name="Aurelien Domont" userId="6da7715ce44349b3" providerId="LiveId" clId="{CDDAF7B1-EA75-4C96-BC1A-D0E0C2B90736}" dt="2021-08-04T00:59:46.172" v="123" actId="47"/>
        <pc:sldMkLst>
          <pc:docMk/>
          <pc:sldMk cId="640656730" sldId="1651"/>
        </pc:sldMkLst>
      </pc:sldChg>
      <pc:sldChg chg="del">
        <pc:chgData name="Aurelien Domont" userId="6da7715ce44349b3" providerId="LiveId" clId="{CDDAF7B1-EA75-4C96-BC1A-D0E0C2B90736}" dt="2021-08-04T00:59:46.172" v="123" actId="47"/>
        <pc:sldMkLst>
          <pc:docMk/>
          <pc:sldMk cId="1077011628" sldId="1652"/>
        </pc:sldMkLst>
      </pc:sldChg>
      <pc:sldChg chg="del">
        <pc:chgData name="Aurelien Domont" userId="6da7715ce44349b3" providerId="LiveId" clId="{CDDAF7B1-EA75-4C96-BC1A-D0E0C2B90736}" dt="2021-08-04T00:59:46.172" v="123" actId="47"/>
        <pc:sldMkLst>
          <pc:docMk/>
          <pc:sldMk cId="3717044928" sldId="1653"/>
        </pc:sldMkLst>
      </pc:sldChg>
      <pc:sldChg chg="del">
        <pc:chgData name="Aurelien Domont" userId="6da7715ce44349b3" providerId="LiveId" clId="{CDDAF7B1-EA75-4C96-BC1A-D0E0C2B90736}" dt="2021-08-04T00:59:46.172" v="123" actId="47"/>
        <pc:sldMkLst>
          <pc:docMk/>
          <pc:sldMk cId="1655331304" sldId="1654"/>
        </pc:sldMkLst>
      </pc:sldChg>
      <pc:sldChg chg="del">
        <pc:chgData name="Aurelien Domont" userId="6da7715ce44349b3" providerId="LiveId" clId="{CDDAF7B1-EA75-4C96-BC1A-D0E0C2B90736}" dt="2021-08-04T00:59:46.172" v="123" actId="47"/>
        <pc:sldMkLst>
          <pc:docMk/>
          <pc:sldMk cId="4218234484" sldId="1655"/>
        </pc:sldMkLst>
      </pc:sldChg>
      <pc:sldChg chg="del">
        <pc:chgData name="Aurelien Domont" userId="6da7715ce44349b3" providerId="LiveId" clId="{CDDAF7B1-EA75-4C96-BC1A-D0E0C2B90736}" dt="2021-08-04T00:59:46.172" v="123" actId="47"/>
        <pc:sldMkLst>
          <pc:docMk/>
          <pc:sldMk cId="3775657122" sldId="1656"/>
        </pc:sldMkLst>
      </pc:sldChg>
      <pc:sldChg chg="del">
        <pc:chgData name="Aurelien Domont" userId="6da7715ce44349b3" providerId="LiveId" clId="{CDDAF7B1-EA75-4C96-BC1A-D0E0C2B90736}" dt="2021-08-04T00:59:46.172" v="123" actId="47"/>
        <pc:sldMkLst>
          <pc:docMk/>
          <pc:sldMk cId="2940716479" sldId="1657"/>
        </pc:sldMkLst>
      </pc:sldChg>
      <pc:sldChg chg="del">
        <pc:chgData name="Aurelien Domont" userId="6da7715ce44349b3" providerId="LiveId" clId="{CDDAF7B1-EA75-4C96-BC1A-D0E0C2B90736}" dt="2021-08-04T00:59:46.172" v="123" actId="47"/>
        <pc:sldMkLst>
          <pc:docMk/>
          <pc:sldMk cId="3193869356" sldId="1658"/>
        </pc:sldMkLst>
      </pc:sldChg>
      <pc:sldChg chg="del">
        <pc:chgData name="Aurelien Domont" userId="6da7715ce44349b3" providerId="LiveId" clId="{CDDAF7B1-EA75-4C96-BC1A-D0E0C2B90736}" dt="2021-08-04T00:59:46.172" v="123" actId="47"/>
        <pc:sldMkLst>
          <pc:docMk/>
          <pc:sldMk cId="2330877069" sldId="1659"/>
        </pc:sldMkLst>
      </pc:sldChg>
      <pc:sldChg chg="del">
        <pc:chgData name="Aurelien Domont" userId="6da7715ce44349b3" providerId="LiveId" clId="{CDDAF7B1-EA75-4C96-BC1A-D0E0C2B90736}" dt="2021-08-04T00:59:46.172" v="123" actId="47"/>
        <pc:sldMkLst>
          <pc:docMk/>
          <pc:sldMk cId="2774809849" sldId="1660"/>
        </pc:sldMkLst>
      </pc:sldChg>
      <pc:sldChg chg="del">
        <pc:chgData name="Aurelien Domont" userId="6da7715ce44349b3" providerId="LiveId" clId="{CDDAF7B1-EA75-4C96-BC1A-D0E0C2B90736}" dt="2021-08-04T00:59:46.172" v="123" actId="47"/>
        <pc:sldMkLst>
          <pc:docMk/>
          <pc:sldMk cId="621491558" sldId="1661"/>
        </pc:sldMkLst>
      </pc:sldChg>
      <pc:sldChg chg="del">
        <pc:chgData name="Aurelien Domont" userId="6da7715ce44349b3" providerId="LiveId" clId="{CDDAF7B1-EA75-4C96-BC1A-D0E0C2B90736}" dt="2021-08-04T00:59:46.172" v="123" actId="47"/>
        <pc:sldMkLst>
          <pc:docMk/>
          <pc:sldMk cId="4024012865" sldId="1662"/>
        </pc:sldMkLst>
      </pc:sldChg>
      <pc:sldChg chg="del">
        <pc:chgData name="Aurelien Domont" userId="6da7715ce44349b3" providerId="LiveId" clId="{CDDAF7B1-EA75-4C96-BC1A-D0E0C2B90736}" dt="2021-08-04T00:59:46.172" v="123" actId="47"/>
        <pc:sldMkLst>
          <pc:docMk/>
          <pc:sldMk cId="3267391448" sldId="1663"/>
        </pc:sldMkLst>
      </pc:sldChg>
      <pc:sldChg chg="del">
        <pc:chgData name="Aurelien Domont" userId="6da7715ce44349b3" providerId="LiveId" clId="{CDDAF7B1-EA75-4C96-BC1A-D0E0C2B90736}" dt="2021-08-04T00:59:46.172" v="123" actId="47"/>
        <pc:sldMkLst>
          <pc:docMk/>
          <pc:sldMk cId="2423888051" sldId="1664"/>
        </pc:sldMkLst>
      </pc:sldChg>
      <pc:sldChg chg="del">
        <pc:chgData name="Aurelien Domont" userId="6da7715ce44349b3" providerId="LiveId" clId="{CDDAF7B1-EA75-4C96-BC1A-D0E0C2B90736}" dt="2021-08-04T00:59:46.172" v="123" actId="47"/>
        <pc:sldMkLst>
          <pc:docMk/>
          <pc:sldMk cId="2315154492" sldId="1665"/>
        </pc:sldMkLst>
      </pc:sldChg>
      <pc:sldChg chg="del">
        <pc:chgData name="Aurelien Domont" userId="6da7715ce44349b3" providerId="LiveId" clId="{CDDAF7B1-EA75-4C96-BC1A-D0E0C2B90736}" dt="2021-08-04T00:58:13.591" v="115" actId="2696"/>
        <pc:sldMkLst>
          <pc:docMk/>
          <pc:sldMk cId="1065454322" sldId="1666"/>
        </pc:sldMkLst>
      </pc:sldChg>
      <pc:sldChg chg="modSp add mod">
        <pc:chgData name="Aurelien Domont" userId="6da7715ce44349b3" providerId="LiveId" clId="{CDDAF7B1-EA75-4C96-BC1A-D0E0C2B90736}" dt="2021-08-04T00:59:29.855" v="122"/>
        <pc:sldMkLst>
          <pc:docMk/>
          <pc:sldMk cId="1137526162" sldId="1666"/>
        </pc:sldMkLst>
        <pc:spChg chg="mod">
          <ac:chgData name="Aurelien Domont" userId="6da7715ce44349b3" providerId="LiveId" clId="{CDDAF7B1-EA75-4C96-BC1A-D0E0C2B90736}" dt="2021-08-04T00:58:42.861" v="117" actId="33524"/>
          <ac:spMkLst>
            <pc:docMk/>
            <pc:sldMk cId="1137526162" sldId="1666"/>
            <ac:spMk id="58" creationId="{BE89B07E-F29B-4ED6-B14A-31162E4A456F}"/>
          </ac:spMkLst>
        </pc:spChg>
        <pc:spChg chg="mod">
          <ac:chgData name="Aurelien Domont" userId="6da7715ce44349b3" providerId="LiveId" clId="{CDDAF7B1-EA75-4C96-BC1A-D0E0C2B90736}" dt="2021-08-04T00:58:52.358" v="118" actId="33524"/>
          <ac:spMkLst>
            <pc:docMk/>
            <pc:sldMk cId="1137526162" sldId="1666"/>
            <ac:spMk id="59" creationId="{9D1009B1-55A5-4B94-8EEE-8D6FEF637DEE}"/>
          </ac:spMkLst>
        </pc:spChg>
        <pc:spChg chg="mod">
          <ac:chgData name="Aurelien Domont" userId="6da7715ce44349b3" providerId="LiveId" clId="{CDDAF7B1-EA75-4C96-BC1A-D0E0C2B90736}" dt="2021-08-04T00:59:29.855" v="122"/>
          <ac:spMkLst>
            <pc:docMk/>
            <pc:sldMk cId="1137526162" sldId="1666"/>
            <ac:spMk id="67" creationId="{5D32F7D7-2596-4BBB-B1AA-08FD37D51EA4}"/>
          </ac:spMkLst>
        </pc:spChg>
        <pc:spChg chg="mod">
          <ac:chgData name="Aurelien Domont" userId="6da7715ce44349b3" providerId="LiveId" clId="{CDDAF7B1-EA75-4C96-BC1A-D0E0C2B90736}" dt="2021-08-04T00:58:59.001" v="120" actId="33524"/>
          <ac:spMkLst>
            <pc:docMk/>
            <pc:sldMk cId="1137526162" sldId="1666"/>
            <ac:spMk id="73" creationId="{207E55EF-95C6-4DCC-A61F-ACDE6AFAB64D}"/>
          </ac:spMkLst>
        </pc:spChg>
        <pc:spChg chg="mod">
          <ac:chgData name="Aurelien Domont" userId="6da7715ce44349b3" providerId="LiveId" clId="{CDDAF7B1-EA75-4C96-BC1A-D0E0C2B90736}" dt="2021-08-04T00:59:08.104" v="121" actId="33524"/>
          <ac:spMkLst>
            <pc:docMk/>
            <pc:sldMk cId="1137526162" sldId="1666"/>
            <ac:spMk id="79" creationId="{9099FA17-1479-4764-9029-1D7B57D1FBF6}"/>
          </ac:spMkLst>
        </pc:spChg>
      </pc:sldChg>
      <pc:sldChg chg="modSp add del mod">
        <pc:chgData name="Aurelien Domont" userId="6da7715ce44349b3" providerId="LiveId" clId="{CDDAF7B1-EA75-4C96-BC1A-D0E0C2B90736}" dt="2021-08-04T01:21:23.409" v="465" actId="47"/>
        <pc:sldMkLst>
          <pc:docMk/>
          <pc:sldMk cId="1923147996" sldId="1667"/>
        </pc:sldMkLst>
        <pc:spChg chg="mod">
          <ac:chgData name="Aurelien Domont" userId="6da7715ce44349b3" providerId="LiveId" clId="{CDDAF7B1-EA75-4C96-BC1A-D0E0C2B90736}" dt="2021-08-04T00:53:26.904" v="35" actId="113"/>
          <ac:spMkLst>
            <pc:docMk/>
            <pc:sldMk cId="1923147996" sldId="1667"/>
            <ac:spMk id="3" creationId="{5A344048-DBDE-413B-8AF9-F87D45AC158E}"/>
          </ac:spMkLst>
        </pc:spChg>
      </pc:sldChg>
      <pc:sldChg chg="modSp add del mod">
        <pc:chgData name="Aurelien Domont" userId="6da7715ce44349b3" providerId="LiveId" clId="{CDDAF7B1-EA75-4C96-BC1A-D0E0C2B90736}" dt="2021-08-04T01:21:40.204" v="466" actId="47"/>
        <pc:sldMkLst>
          <pc:docMk/>
          <pc:sldMk cId="754850586" sldId="1668"/>
        </pc:sldMkLst>
        <pc:spChg chg="mod">
          <ac:chgData name="Aurelien Domont" userId="6da7715ce44349b3" providerId="LiveId" clId="{CDDAF7B1-EA75-4C96-BC1A-D0E0C2B90736}" dt="2021-08-04T00:54:16.176" v="84" actId="113"/>
          <ac:spMkLst>
            <pc:docMk/>
            <pc:sldMk cId="754850586" sldId="1668"/>
            <ac:spMk id="3" creationId="{5A344048-DBDE-413B-8AF9-F87D45AC158E}"/>
          </ac:spMkLst>
        </pc:spChg>
      </pc:sldChg>
      <pc:sldChg chg="modSp add del mod">
        <pc:chgData name="Aurelien Domont" userId="6da7715ce44349b3" providerId="LiveId" clId="{CDDAF7B1-EA75-4C96-BC1A-D0E0C2B90736}" dt="2021-08-04T01:21:49.137" v="468" actId="47"/>
        <pc:sldMkLst>
          <pc:docMk/>
          <pc:sldMk cId="3819069415" sldId="1669"/>
        </pc:sldMkLst>
        <pc:spChg chg="mod">
          <ac:chgData name="Aurelien Domont" userId="6da7715ce44349b3" providerId="LiveId" clId="{CDDAF7B1-EA75-4C96-BC1A-D0E0C2B90736}" dt="2021-08-04T00:54:48.307" v="88" actId="108"/>
          <ac:spMkLst>
            <pc:docMk/>
            <pc:sldMk cId="3819069415" sldId="1669"/>
            <ac:spMk id="3" creationId="{5A344048-DBDE-413B-8AF9-F87D45AC158E}"/>
          </ac:spMkLst>
        </pc:spChg>
      </pc:sldChg>
      <pc:sldChg chg="modSp add del mod">
        <pc:chgData name="Aurelien Domont" userId="6da7715ce44349b3" providerId="LiveId" clId="{CDDAF7B1-EA75-4C96-BC1A-D0E0C2B90736}" dt="2021-08-04T01:22:53.763" v="472" actId="47"/>
        <pc:sldMkLst>
          <pc:docMk/>
          <pc:sldMk cId="3856832182" sldId="1670"/>
        </pc:sldMkLst>
        <pc:spChg chg="mod">
          <ac:chgData name="Aurelien Domont" userId="6da7715ce44349b3" providerId="LiveId" clId="{CDDAF7B1-EA75-4C96-BC1A-D0E0C2B90736}" dt="2021-08-04T00:55:29.971" v="93" actId="113"/>
          <ac:spMkLst>
            <pc:docMk/>
            <pc:sldMk cId="3856832182" sldId="1670"/>
            <ac:spMk id="3" creationId="{5A344048-DBDE-413B-8AF9-F87D45AC158E}"/>
          </ac:spMkLst>
        </pc:spChg>
      </pc:sldChg>
      <pc:sldChg chg="modSp add del mod">
        <pc:chgData name="Aurelien Domont" userId="6da7715ce44349b3" providerId="LiveId" clId="{CDDAF7B1-EA75-4C96-BC1A-D0E0C2B90736}" dt="2021-08-04T01:23:01.253" v="474" actId="47"/>
        <pc:sldMkLst>
          <pc:docMk/>
          <pc:sldMk cId="503714947" sldId="1671"/>
        </pc:sldMkLst>
        <pc:spChg chg="mod">
          <ac:chgData name="Aurelien Domont" userId="6da7715ce44349b3" providerId="LiveId" clId="{CDDAF7B1-EA75-4C96-BC1A-D0E0C2B90736}" dt="2021-08-04T00:55:34.080" v="94" actId="113"/>
          <ac:spMkLst>
            <pc:docMk/>
            <pc:sldMk cId="503714947" sldId="1671"/>
            <ac:spMk id="3" creationId="{5A344048-DBDE-413B-8AF9-F87D45AC158E}"/>
          </ac:spMkLst>
        </pc:spChg>
      </pc:sldChg>
      <pc:sldChg chg="modSp add del mod">
        <pc:chgData name="Aurelien Domont" userId="6da7715ce44349b3" providerId="LiveId" clId="{CDDAF7B1-EA75-4C96-BC1A-D0E0C2B90736}" dt="2021-08-04T01:23:22.524" v="479" actId="47"/>
        <pc:sldMkLst>
          <pc:docMk/>
          <pc:sldMk cId="1508818923" sldId="1672"/>
        </pc:sldMkLst>
        <pc:spChg chg="mod">
          <ac:chgData name="Aurelien Domont" userId="6da7715ce44349b3" providerId="LiveId" clId="{CDDAF7B1-EA75-4C96-BC1A-D0E0C2B90736}" dt="2021-08-04T00:55:46.596" v="97" actId="113"/>
          <ac:spMkLst>
            <pc:docMk/>
            <pc:sldMk cId="1508818923" sldId="1672"/>
            <ac:spMk id="3" creationId="{5A344048-DBDE-413B-8AF9-F87D45AC158E}"/>
          </ac:spMkLst>
        </pc:spChg>
      </pc:sldChg>
      <pc:sldChg chg="modSp add del mod">
        <pc:chgData name="Aurelien Domont" userId="6da7715ce44349b3" providerId="LiveId" clId="{CDDAF7B1-EA75-4C96-BC1A-D0E0C2B90736}" dt="2021-08-04T01:23:26.513" v="481" actId="47"/>
        <pc:sldMkLst>
          <pc:docMk/>
          <pc:sldMk cId="226452257" sldId="1673"/>
        </pc:sldMkLst>
        <pc:spChg chg="mod">
          <ac:chgData name="Aurelien Domont" userId="6da7715ce44349b3" providerId="LiveId" clId="{CDDAF7B1-EA75-4C96-BC1A-D0E0C2B90736}" dt="2021-08-04T00:56:12.406" v="100" actId="113"/>
          <ac:spMkLst>
            <pc:docMk/>
            <pc:sldMk cId="226452257" sldId="1673"/>
            <ac:spMk id="3" creationId="{5A344048-DBDE-413B-8AF9-F87D45AC158E}"/>
          </ac:spMkLst>
        </pc:spChg>
      </pc:sldChg>
      <pc:sldChg chg="modSp add del mod">
        <pc:chgData name="Aurelien Domont" userId="6da7715ce44349b3" providerId="LiveId" clId="{CDDAF7B1-EA75-4C96-BC1A-D0E0C2B90736}" dt="2021-08-04T01:37:11.229" v="893" actId="47"/>
        <pc:sldMkLst>
          <pc:docMk/>
          <pc:sldMk cId="2024321505" sldId="1674"/>
        </pc:sldMkLst>
        <pc:spChg chg="mod">
          <ac:chgData name="Aurelien Domont" userId="6da7715ce44349b3" providerId="LiveId" clId="{CDDAF7B1-EA75-4C96-BC1A-D0E0C2B90736}" dt="2021-08-04T00:56:29.974" v="103" actId="113"/>
          <ac:spMkLst>
            <pc:docMk/>
            <pc:sldMk cId="2024321505" sldId="1674"/>
            <ac:spMk id="3" creationId="{5A344048-DBDE-413B-8AF9-F87D45AC158E}"/>
          </ac:spMkLst>
        </pc:spChg>
      </pc:sldChg>
      <pc:sldChg chg="modSp add del mod">
        <pc:chgData name="Aurelien Domont" userId="6da7715ce44349b3" providerId="LiveId" clId="{CDDAF7B1-EA75-4C96-BC1A-D0E0C2B90736}" dt="2021-08-04T01:23:32.835" v="483" actId="47"/>
        <pc:sldMkLst>
          <pc:docMk/>
          <pc:sldMk cId="323299475" sldId="1675"/>
        </pc:sldMkLst>
        <pc:spChg chg="mod">
          <ac:chgData name="Aurelien Domont" userId="6da7715ce44349b3" providerId="LiveId" clId="{CDDAF7B1-EA75-4C96-BC1A-D0E0C2B90736}" dt="2021-08-04T00:56:43.618" v="106" actId="113"/>
          <ac:spMkLst>
            <pc:docMk/>
            <pc:sldMk cId="323299475" sldId="1675"/>
            <ac:spMk id="3" creationId="{5A344048-DBDE-413B-8AF9-F87D45AC158E}"/>
          </ac:spMkLst>
        </pc:spChg>
      </pc:sldChg>
      <pc:sldChg chg="modSp add del mod">
        <pc:chgData name="Aurelien Domont" userId="6da7715ce44349b3" providerId="LiveId" clId="{CDDAF7B1-EA75-4C96-BC1A-D0E0C2B90736}" dt="2021-08-04T01:23:37.510" v="485" actId="47"/>
        <pc:sldMkLst>
          <pc:docMk/>
          <pc:sldMk cId="539619155" sldId="1676"/>
        </pc:sldMkLst>
        <pc:spChg chg="mod">
          <ac:chgData name="Aurelien Domont" userId="6da7715ce44349b3" providerId="LiveId" clId="{CDDAF7B1-EA75-4C96-BC1A-D0E0C2B90736}" dt="2021-08-04T00:56:55.006" v="110" actId="113"/>
          <ac:spMkLst>
            <pc:docMk/>
            <pc:sldMk cId="539619155" sldId="1676"/>
            <ac:spMk id="3" creationId="{5A344048-DBDE-413B-8AF9-F87D45AC158E}"/>
          </ac:spMkLst>
        </pc:spChg>
      </pc:sldChg>
      <pc:sldChg chg="modSp add del mod">
        <pc:chgData name="Aurelien Domont" userId="6da7715ce44349b3" providerId="LiveId" clId="{CDDAF7B1-EA75-4C96-BC1A-D0E0C2B90736}" dt="2021-08-04T01:23:42.668" v="487" actId="47"/>
        <pc:sldMkLst>
          <pc:docMk/>
          <pc:sldMk cId="192820773" sldId="1677"/>
        </pc:sldMkLst>
        <pc:spChg chg="mod">
          <ac:chgData name="Aurelien Domont" userId="6da7715ce44349b3" providerId="LiveId" clId="{CDDAF7B1-EA75-4C96-BC1A-D0E0C2B90736}" dt="2021-08-04T01:12:00.236" v="280" actId="179"/>
          <ac:spMkLst>
            <pc:docMk/>
            <pc:sldMk cId="192820773" sldId="1677"/>
            <ac:spMk id="3" creationId="{5A344048-DBDE-413B-8AF9-F87D45AC158E}"/>
          </ac:spMkLst>
        </pc:spChg>
      </pc:sldChg>
      <pc:sldChg chg="addSp delSp modSp add mod">
        <pc:chgData name="Aurelien Domont" userId="6da7715ce44349b3" providerId="LiveId" clId="{CDDAF7B1-EA75-4C96-BC1A-D0E0C2B90736}" dt="2021-08-04T01:33:41.717" v="660" actId="20577"/>
        <pc:sldMkLst>
          <pc:docMk/>
          <pc:sldMk cId="3582862380" sldId="1721"/>
        </pc:sldMkLst>
        <pc:spChg chg="mod">
          <ac:chgData name="Aurelien Domont" userId="6da7715ce44349b3" providerId="LiveId" clId="{CDDAF7B1-EA75-4C96-BC1A-D0E0C2B90736}" dt="2021-08-04T01:33:22.945" v="656" actId="208"/>
          <ac:spMkLst>
            <pc:docMk/>
            <pc:sldMk cId="3582862380" sldId="1721"/>
            <ac:spMk id="9" creationId="{D02FCDD0-0D26-4E4B-A6F6-41802089703B}"/>
          </ac:spMkLst>
        </pc:spChg>
        <pc:spChg chg="mod">
          <ac:chgData name="Aurelien Domont" userId="6da7715ce44349b3" providerId="LiveId" clId="{CDDAF7B1-EA75-4C96-BC1A-D0E0C2B90736}" dt="2021-08-04T01:33:25.313" v="657" actId="208"/>
          <ac:spMkLst>
            <pc:docMk/>
            <pc:sldMk cId="3582862380" sldId="1721"/>
            <ac:spMk id="12" creationId="{168D70C9-B951-4229-B624-7E68F6207920}"/>
          </ac:spMkLst>
        </pc:spChg>
        <pc:spChg chg="mod">
          <ac:chgData name="Aurelien Domont" userId="6da7715ce44349b3" providerId="LiveId" clId="{CDDAF7B1-EA75-4C96-BC1A-D0E0C2B90736}" dt="2021-08-04T01:33:26.462" v="658" actId="208"/>
          <ac:spMkLst>
            <pc:docMk/>
            <pc:sldMk cId="3582862380" sldId="1721"/>
            <ac:spMk id="14" creationId="{A0D3F13B-C8B3-40CC-90F3-15D410BAF6DD}"/>
          </ac:spMkLst>
        </pc:spChg>
        <pc:spChg chg="mod">
          <ac:chgData name="Aurelien Domont" userId="6da7715ce44349b3" providerId="LiveId" clId="{CDDAF7B1-EA75-4C96-BC1A-D0E0C2B90736}" dt="2021-08-04T01:33:41.717" v="660" actId="20577"/>
          <ac:spMkLst>
            <pc:docMk/>
            <pc:sldMk cId="3582862380" sldId="1721"/>
            <ac:spMk id="16" creationId="{6C2BB713-9637-4B9B-938F-E9768876782A}"/>
          </ac:spMkLst>
        </pc:spChg>
        <pc:spChg chg="mod">
          <ac:chgData name="Aurelien Domont" userId="6da7715ce44349b3" providerId="LiveId" clId="{CDDAF7B1-EA75-4C96-BC1A-D0E0C2B90736}" dt="2021-08-04T01:33:09.814" v="651" actId="14100"/>
          <ac:spMkLst>
            <pc:docMk/>
            <pc:sldMk cId="3582862380" sldId="1721"/>
            <ac:spMk id="19" creationId="{C3EBF98D-105F-4749-AE04-F1205E44819D}"/>
          </ac:spMkLst>
        </pc:spChg>
        <pc:spChg chg="mod">
          <ac:chgData name="Aurelien Domont" userId="6da7715ce44349b3" providerId="LiveId" clId="{CDDAF7B1-EA75-4C96-BC1A-D0E0C2B90736}" dt="2021-08-04T01:32:32.097" v="626" actId="207"/>
          <ac:spMkLst>
            <pc:docMk/>
            <pc:sldMk cId="3582862380" sldId="1721"/>
            <ac:spMk id="21" creationId="{6B464B94-D8FF-453E-82D9-E7FC7580658F}"/>
          </ac:spMkLst>
        </pc:spChg>
        <pc:spChg chg="mod">
          <ac:chgData name="Aurelien Domont" userId="6da7715ce44349b3" providerId="LiveId" clId="{CDDAF7B1-EA75-4C96-BC1A-D0E0C2B90736}" dt="2021-08-04T01:32:33.988" v="627" actId="108"/>
          <ac:spMkLst>
            <pc:docMk/>
            <pc:sldMk cId="3582862380" sldId="1721"/>
            <ac:spMk id="22" creationId="{F57839A8-56A1-41B7-A96B-DFEB0F68FDB4}"/>
          </ac:spMkLst>
        </pc:spChg>
        <pc:spChg chg="mod">
          <ac:chgData name="Aurelien Domont" userId="6da7715ce44349b3" providerId="LiveId" clId="{CDDAF7B1-EA75-4C96-BC1A-D0E0C2B90736}" dt="2021-08-04T01:32:37.042" v="628" actId="108"/>
          <ac:spMkLst>
            <pc:docMk/>
            <pc:sldMk cId="3582862380" sldId="1721"/>
            <ac:spMk id="23" creationId="{3B768E25-CB12-4B0D-99E1-1B8C3C53613A}"/>
          </ac:spMkLst>
        </pc:spChg>
        <pc:spChg chg="del">
          <ac:chgData name="Aurelien Domont" userId="6da7715ce44349b3" providerId="LiveId" clId="{CDDAF7B1-EA75-4C96-BC1A-D0E0C2B90736}" dt="2021-08-04T01:33:06.859" v="650" actId="478"/>
          <ac:spMkLst>
            <pc:docMk/>
            <pc:sldMk cId="3582862380" sldId="1721"/>
            <ac:spMk id="24" creationId="{AB4D8339-2574-49D7-BA0C-E8B6F975886F}"/>
          </ac:spMkLst>
        </pc:spChg>
        <pc:spChg chg="del">
          <ac:chgData name="Aurelien Domont" userId="6da7715ce44349b3" providerId="LiveId" clId="{CDDAF7B1-EA75-4C96-BC1A-D0E0C2B90736}" dt="2021-08-04T01:33:06.859" v="650" actId="478"/>
          <ac:spMkLst>
            <pc:docMk/>
            <pc:sldMk cId="3582862380" sldId="1721"/>
            <ac:spMk id="25" creationId="{BFC2EDF2-9B5F-4834-890D-583C885BBD51}"/>
          </ac:spMkLst>
        </pc:spChg>
        <pc:spChg chg="mod">
          <ac:chgData name="Aurelien Domont" userId="6da7715ce44349b3" providerId="LiveId" clId="{CDDAF7B1-EA75-4C96-BC1A-D0E0C2B90736}" dt="2021-08-04T01:32:25.805" v="623" actId="207"/>
          <ac:spMkLst>
            <pc:docMk/>
            <pc:sldMk cId="3582862380" sldId="1721"/>
            <ac:spMk id="26" creationId="{7A7990D4-0C66-4A5F-9F05-9D51948150FA}"/>
          </ac:spMkLst>
        </pc:spChg>
        <pc:spChg chg="mod">
          <ac:chgData name="Aurelien Domont" userId="6da7715ce44349b3" providerId="LiveId" clId="{CDDAF7B1-EA75-4C96-BC1A-D0E0C2B90736}" dt="2021-08-04T01:32:27.386" v="624" actId="108"/>
          <ac:spMkLst>
            <pc:docMk/>
            <pc:sldMk cId="3582862380" sldId="1721"/>
            <ac:spMk id="27" creationId="{1E7412FC-6BA5-4D9E-B614-1485C8D572DF}"/>
          </ac:spMkLst>
        </pc:spChg>
        <pc:spChg chg="mod">
          <ac:chgData name="Aurelien Domont" userId="6da7715ce44349b3" providerId="LiveId" clId="{CDDAF7B1-EA75-4C96-BC1A-D0E0C2B90736}" dt="2021-08-04T01:32:28.101" v="625" actId="108"/>
          <ac:spMkLst>
            <pc:docMk/>
            <pc:sldMk cId="3582862380" sldId="1721"/>
            <ac:spMk id="28" creationId="{DDA4259D-193F-4CAB-8DFD-1BEE8D69ADBC}"/>
          </ac:spMkLst>
        </pc:spChg>
        <pc:spChg chg="add mod">
          <ac:chgData name="Aurelien Domont" userId="6da7715ce44349b3" providerId="LiveId" clId="{CDDAF7B1-EA75-4C96-BC1A-D0E0C2B90736}" dt="2021-08-04T01:33:13.464" v="652" actId="571"/>
          <ac:spMkLst>
            <pc:docMk/>
            <pc:sldMk cId="3582862380" sldId="1721"/>
            <ac:spMk id="29" creationId="{558172A4-FA28-4733-9705-148ADE069ED0}"/>
          </ac:spMkLst>
        </pc:spChg>
        <pc:spChg chg="add mod">
          <ac:chgData name="Aurelien Domont" userId="6da7715ce44349b3" providerId="LiveId" clId="{CDDAF7B1-EA75-4C96-BC1A-D0E0C2B90736}" dt="2021-08-04T01:33:16.822" v="653" actId="571"/>
          <ac:spMkLst>
            <pc:docMk/>
            <pc:sldMk cId="3582862380" sldId="1721"/>
            <ac:spMk id="30" creationId="{E4B1BC15-8950-45E5-AFDA-0C2208739AE1}"/>
          </ac:spMkLst>
        </pc:spChg>
      </pc:sldChg>
      <pc:sldChg chg="modSp add mod">
        <pc:chgData name="Aurelien Domont" userId="6da7715ce44349b3" providerId="LiveId" clId="{CDDAF7B1-EA75-4C96-BC1A-D0E0C2B90736}" dt="2021-08-04T01:14:24.210" v="345" actId="20577"/>
        <pc:sldMkLst>
          <pc:docMk/>
          <pc:sldMk cId="1332684990" sldId="1958"/>
        </pc:sldMkLst>
        <pc:spChg chg="mod">
          <ac:chgData name="Aurelien Domont" userId="6da7715ce44349b3" providerId="LiveId" clId="{CDDAF7B1-EA75-4C96-BC1A-D0E0C2B90736}" dt="2021-08-04T01:14:24.210" v="345" actId="20577"/>
          <ac:spMkLst>
            <pc:docMk/>
            <pc:sldMk cId="1332684990" sldId="1958"/>
            <ac:spMk id="24" creationId="{5262883E-429E-4FBD-BE90-9FFFC2CD6641}"/>
          </ac:spMkLst>
        </pc:spChg>
      </pc:sldChg>
      <pc:sldChg chg="add">
        <pc:chgData name="Aurelien Domont" userId="6da7715ce44349b3" providerId="LiveId" clId="{CDDAF7B1-EA75-4C96-BC1A-D0E0C2B90736}" dt="2021-08-04T01:12:58.968" v="281"/>
        <pc:sldMkLst>
          <pc:docMk/>
          <pc:sldMk cId="3299486938" sldId="1959"/>
        </pc:sldMkLst>
      </pc:sldChg>
      <pc:sldChg chg="delSp modSp add mod">
        <pc:chgData name="Aurelien Domont" userId="6da7715ce44349b3" providerId="LiveId" clId="{CDDAF7B1-EA75-4C96-BC1A-D0E0C2B90736}" dt="2021-08-04T01:16:50.884" v="365" actId="1035"/>
        <pc:sldMkLst>
          <pc:docMk/>
          <pc:sldMk cId="1373343180" sldId="1960"/>
        </pc:sldMkLst>
        <pc:spChg chg="mod">
          <ac:chgData name="Aurelien Domont" userId="6da7715ce44349b3" providerId="LiveId" clId="{CDDAF7B1-EA75-4C96-BC1A-D0E0C2B90736}" dt="2021-08-04T01:16:27.931" v="351" actId="20577"/>
          <ac:spMkLst>
            <pc:docMk/>
            <pc:sldMk cId="1373343180" sldId="1960"/>
            <ac:spMk id="16" creationId="{6C2BB713-9637-4B9B-938F-E9768876782A}"/>
          </ac:spMkLst>
        </pc:spChg>
        <pc:spChg chg="del">
          <ac:chgData name="Aurelien Domont" userId="6da7715ce44349b3" providerId="LiveId" clId="{CDDAF7B1-EA75-4C96-BC1A-D0E0C2B90736}" dt="2021-08-04T01:16:26.016" v="349" actId="478"/>
          <ac:spMkLst>
            <pc:docMk/>
            <pc:sldMk cId="1373343180" sldId="1960"/>
            <ac:spMk id="22" creationId="{7B18F9DE-E440-4632-811A-996BB1D5BC2E}"/>
          </ac:spMkLst>
        </pc:spChg>
        <pc:spChg chg="mod">
          <ac:chgData name="Aurelien Domont" userId="6da7715ce44349b3" providerId="LiveId" clId="{CDDAF7B1-EA75-4C96-BC1A-D0E0C2B90736}" dt="2021-08-04T01:16:50.884" v="365" actId="1035"/>
          <ac:spMkLst>
            <pc:docMk/>
            <pc:sldMk cId="1373343180" sldId="1960"/>
            <ac:spMk id="24" creationId="{5159430C-6A50-4CE1-97FA-EC90AC762C55}"/>
          </ac:spMkLst>
        </pc:spChg>
        <pc:spChg chg="mod">
          <ac:chgData name="Aurelien Domont" userId="6da7715ce44349b3" providerId="LiveId" clId="{CDDAF7B1-EA75-4C96-BC1A-D0E0C2B90736}" dt="2021-08-04T01:16:50.884" v="365" actId="1035"/>
          <ac:spMkLst>
            <pc:docMk/>
            <pc:sldMk cId="1373343180" sldId="1960"/>
            <ac:spMk id="26" creationId="{ADBE1EA4-5959-4D15-B2FC-74ACECD08C9B}"/>
          </ac:spMkLst>
        </pc:spChg>
        <pc:spChg chg="mod">
          <ac:chgData name="Aurelien Domont" userId="6da7715ce44349b3" providerId="LiveId" clId="{CDDAF7B1-EA75-4C96-BC1A-D0E0C2B90736}" dt="2021-08-04T01:16:50.884" v="365" actId="1035"/>
          <ac:spMkLst>
            <pc:docMk/>
            <pc:sldMk cId="1373343180" sldId="1960"/>
            <ac:spMk id="27" creationId="{0D241C60-E560-4E95-8E4C-D6C9F7A03388}"/>
          </ac:spMkLst>
        </pc:spChg>
        <pc:spChg chg="mod">
          <ac:chgData name="Aurelien Domont" userId="6da7715ce44349b3" providerId="LiveId" clId="{CDDAF7B1-EA75-4C96-BC1A-D0E0C2B90736}" dt="2021-08-04T01:16:50.884" v="365" actId="1035"/>
          <ac:spMkLst>
            <pc:docMk/>
            <pc:sldMk cId="1373343180" sldId="1960"/>
            <ac:spMk id="28" creationId="{DAA203EF-35DB-4B49-A1C8-D3EB94E18FA5}"/>
          </ac:spMkLst>
        </pc:spChg>
        <pc:spChg chg="mod">
          <ac:chgData name="Aurelien Domont" userId="6da7715ce44349b3" providerId="LiveId" clId="{CDDAF7B1-EA75-4C96-BC1A-D0E0C2B90736}" dt="2021-08-04T01:16:50.884" v="365" actId="1035"/>
          <ac:spMkLst>
            <pc:docMk/>
            <pc:sldMk cId="1373343180" sldId="1960"/>
            <ac:spMk id="29" creationId="{B51D3052-620B-4D63-A95D-799E05947607}"/>
          </ac:spMkLst>
        </pc:spChg>
        <pc:spChg chg="mod">
          <ac:chgData name="Aurelien Domont" userId="6da7715ce44349b3" providerId="LiveId" clId="{CDDAF7B1-EA75-4C96-BC1A-D0E0C2B90736}" dt="2021-08-04T01:16:50.884" v="365" actId="1035"/>
          <ac:spMkLst>
            <pc:docMk/>
            <pc:sldMk cId="1373343180" sldId="1960"/>
            <ac:spMk id="30" creationId="{F671BCB2-6C4A-4A4A-96E7-705C3FF85E22}"/>
          </ac:spMkLst>
        </pc:spChg>
        <pc:spChg chg="mod">
          <ac:chgData name="Aurelien Domont" userId="6da7715ce44349b3" providerId="LiveId" clId="{CDDAF7B1-EA75-4C96-BC1A-D0E0C2B90736}" dt="2021-08-04T01:16:50.884" v="365" actId="1035"/>
          <ac:spMkLst>
            <pc:docMk/>
            <pc:sldMk cId="1373343180" sldId="1960"/>
            <ac:spMk id="31" creationId="{D3F0CEF9-9EC9-40BD-97F5-71B2AA565D34}"/>
          </ac:spMkLst>
        </pc:spChg>
        <pc:spChg chg="mod">
          <ac:chgData name="Aurelien Domont" userId="6da7715ce44349b3" providerId="LiveId" clId="{CDDAF7B1-EA75-4C96-BC1A-D0E0C2B90736}" dt="2021-08-04T01:16:50.884" v="365" actId="1035"/>
          <ac:spMkLst>
            <pc:docMk/>
            <pc:sldMk cId="1373343180" sldId="1960"/>
            <ac:spMk id="32" creationId="{20E27287-2561-4AC6-86DB-C95E4F24F9B4}"/>
          </ac:spMkLst>
        </pc:spChg>
        <pc:spChg chg="mod">
          <ac:chgData name="Aurelien Domont" userId="6da7715ce44349b3" providerId="LiveId" clId="{CDDAF7B1-EA75-4C96-BC1A-D0E0C2B90736}" dt="2021-08-04T01:16:50.884" v="365" actId="1035"/>
          <ac:spMkLst>
            <pc:docMk/>
            <pc:sldMk cId="1373343180" sldId="1960"/>
            <ac:spMk id="33" creationId="{BB77D323-D173-4CBD-BC74-2BC5C1206E07}"/>
          </ac:spMkLst>
        </pc:spChg>
        <pc:spChg chg="mod">
          <ac:chgData name="Aurelien Domont" userId="6da7715ce44349b3" providerId="LiveId" clId="{CDDAF7B1-EA75-4C96-BC1A-D0E0C2B90736}" dt="2021-08-04T01:16:50.884" v="365" actId="1035"/>
          <ac:spMkLst>
            <pc:docMk/>
            <pc:sldMk cId="1373343180" sldId="1960"/>
            <ac:spMk id="34" creationId="{6F52C033-FA23-4B0F-9F43-B954A786650C}"/>
          </ac:spMkLst>
        </pc:spChg>
        <pc:picChg chg="mod">
          <ac:chgData name="Aurelien Domont" userId="6da7715ce44349b3" providerId="LiveId" clId="{CDDAF7B1-EA75-4C96-BC1A-D0E0C2B90736}" dt="2021-08-04T01:16:50.884" v="365" actId="1035"/>
          <ac:picMkLst>
            <pc:docMk/>
            <pc:sldMk cId="1373343180" sldId="1960"/>
            <ac:picMk id="35" creationId="{D45D9023-C837-466A-8EE1-F9A343C16125}"/>
          </ac:picMkLst>
        </pc:picChg>
        <pc:picChg chg="mod">
          <ac:chgData name="Aurelien Domont" userId="6da7715ce44349b3" providerId="LiveId" clId="{CDDAF7B1-EA75-4C96-BC1A-D0E0C2B90736}" dt="2021-08-04T01:16:50.884" v="365" actId="1035"/>
          <ac:picMkLst>
            <pc:docMk/>
            <pc:sldMk cId="1373343180" sldId="1960"/>
            <ac:picMk id="36" creationId="{69B9B93F-6C78-4F77-A4F1-09176D12DF5E}"/>
          </ac:picMkLst>
        </pc:picChg>
        <pc:picChg chg="mod">
          <ac:chgData name="Aurelien Domont" userId="6da7715ce44349b3" providerId="LiveId" clId="{CDDAF7B1-EA75-4C96-BC1A-D0E0C2B90736}" dt="2021-08-04T01:16:50.884" v="365" actId="1035"/>
          <ac:picMkLst>
            <pc:docMk/>
            <pc:sldMk cId="1373343180" sldId="1960"/>
            <ac:picMk id="37" creationId="{1C4F5E33-0DB5-4CAB-9002-9078E56788DF}"/>
          </ac:picMkLst>
        </pc:picChg>
        <pc:picChg chg="mod">
          <ac:chgData name="Aurelien Domont" userId="6da7715ce44349b3" providerId="LiveId" clId="{CDDAF7B1-EA75-4C96-BC1A-D0E0C2B90736}" dt="2021-08-04T01:16:50.884" v="365" actId="1035"/>
          <ac:picMkLst>
            <pc:docMk/>
            <pc:sldMk cId="1373343180" sldId="1960"/>
            <ac:picMk id="38" creationId="{F0F4D455-02E9-4168-B4DB-3056EF86A7DB}"/>
          </ac:picMkLst>
        </pc:picChg>
        <pc:picChg chg="mod">
          <ac:chgData name="Aurelien Domont" userId="6da7715ce44349b3" providerId="LiveId" clId="{CDDAF7B1-EA75-4C96-BC1A-D0E0C2B90736}" dt="2021-08-04T01:16:50.884" v="365" actId="1035"/>
          <ac:picMkLst>
            <pc:docMk/>
            <pc:sldMk cId="1373343180" sldId="1960"/>
            <ac:picMk id="39" creationId="{72CBFA15-76CD-4123-9F4F-7EDD415D120C}"/>
          </ac:picMkLst>
        </pc:picChg>
      </pc:sldChg>
      <pc:sldChg chg="delSp modSp add mod">
        <pc:chgData name="Aurelien Domont" userId="6da7715ce44349b3" providerId="LiveId" clId="{CDDAF7B1-EA75-4C96-BC1A-D0E0C2B90736}" dt="2021-08-04T01:17:06.920" v="382" actId="1035"/>
        <pc:sldMkLst>
          <pc:docMk/>
          <pc:sldMk cId="856320715" sldId="1961"/>
        </pc:sldMkLst>
        <pc:spChg chg="mod">
          <ac:chgData name="Aurelien Domont" userId="6da7715ce44349b3" providerId="LiveId" clId="{CDDAF7B1-EA75-4C96-BC1A-D0E0C2B90736}" dt="2021-08-04T01:16:58.986" v="366"/>
          <ac:spMkLst>
            <pc:docMk/>
            <pc:sldMk cId="856320715" sldId="1961"/>
            <ac:spMk id="16" creationId="{6C2BB713-9637-4B9B-938F-E9768876782A}"/>
          </ac:spMkLst>
        </pc:spChg>
        <pc:spChg chg="mod">
          <ac:chgData name="Aurelien Domont" userId="6da7715ce44349b3" providerId="LiveId" clId="{CDDAF7B1-EA75-4C96-BC1A-D0E0C2B90736}" dt="2021-08-04T01:17:06.920" v="382" actId="1035"/>
          <ac:spMkLst>
            <pc:docMk/>
            <pc:sldMk cId="856320715" sldId="1961"/>
            <ac:spMk id="21" creationId="{EC3C3C66-F3E7-4E26-9203-A6B588B867A8}"/>
          </ac:spMkLst>
        </pc:spChg>
        <pc:spChg chg="del">
          <ac:chgData name="Aurelien Domont" userId="6da7715ce44349b3" providerId="LiveId" clId="{CDDAF7B1-EA75-4C96-BC1A-D0E0C2B90736}" dt="2021-08-04T01:17:02.012" v="367" actId="478"/>
          <ac:spMkLst>
            <pc:docMk/>
            <pc:sldMk cId="856320715" sldId="1961"/>
            <ac:spMk id="22" creationId="{7B18F9DE-E440-4632-811A-996BB1D5BC2E}"/>
          </ac:spMkLst>
        </pc:spChg>
        <pc:spChg chg="mod">
          <ac:chgData name="Aurelien Domont" userId="6da7715ce44349b3" providerId="LiveId" clId="{CDDAF7B1-EA75-4C96-BC1A-D0E0C2B90736}" dt="2021-08-04T01:17:06.920" v="382" actId="1035"/>
          <ac:spMkLst>
            <pc:docMk/>
            <pc:sldMk cId="856320715" sldId="1961"/>
            <ac:spMk id="23" creationId="{51A0C25B-E759-45C8-AAD2-65989D8E5BB6}"/>
          </ac:spMkLst>
        </pc:spChg>
        <pc:spChg chg="mod">
          <ac:chgData name="Aurelien Domont" userId="6da7715ce44349b3" providerId="LiveId" clId="{CDDAF7B1-EA75-4C96-BC1A-D0E0C2B90736}" dt="2021-08-04T01:17:06.920" v="382" actId="1035"/>
          <ac:spMkLst>
            <pc:docMk/>
            <pc:sldMk cId="856320715" sldId="1961"/>
            <ac:spMk id="25" creationId="{FA59E008-20C1-4441-A08E-21B1C59D6F11}"/>
          </ac:spMkLst>
        </pc:spChg>
        <pc:spChg chg="mod">
          <ac:chgData name="Aurelien Domont" userId="6da7715ce44349b3" providerId="LiveId" clId="{CDDAF7B1-EA75-4C96-BC1A-D0E0C2B90736}" dt="2021-08-04T01:17:06.920" v="382" actId="1035"/>
          <ac:spMkLst>
            <pc:docMk/>
            <pc:sldMk cId="856320715" sldId="1961"/>
            <ac:spMk id="26" creationId="{ADBE1EA4-5959-4D15-B2FC-74ACECD08C9B}"/>
          </ac:spMkLst>
        </pc:spChg>
        <pc:spChg chg="mod">
          <ac:chgData name="Aurelien Domont" userId="6da7715ce44349b3" providerId="LiveId" clId="{CDDAF7B1-EA75-4C96-BC1A-D0E0C2B90736}" dt="2021-08-04T01:17:06.920" v="382" actId="1035"/>
          <ac:spMkLst>
            <pc:docMk/>
            <pc:sldMk cId="856320715" sldId="1961"/>
            <ac:spMk id="28" creationId="{DAA203EF-35DB-4B49-A1C8-D3EB94E18FA5}"/>
          </ac:spMkLst>
        </pc:spChg>
        <pc:spChg chg="mod">
          <ac:chgData name="Aurelien Domont" userId="6da7715ce44349b3" providerId="LiveId" clId="{CDDAF7B1-EA75-4C96-BC1A-D0E0C2B90736}" dt="2021-08-04T01:17:06.920" v="382" actId="1035"/>
          <ac:spMkLst>
            <pc:docMk/>
            <pc:sldMk cId="856320715" sldId="1961"/>
            <ac:spMk id="30" creationId="{F671BCB2-6C4A-4A4A-96E7-705C3FF85E22}"/>
          </ac:spMkLst>
        </pc:spChg>
        <pc:spChg chg="mod">
          <ac:chgData name="Aurelien Domont" userId="6da7715ce44349b3" providerId="LiveId" clId="{CDDAF7B1-EA75-4C96-BC1A-D0E0C2B90736}" dt="2021-08-04T01:17:06.920" v="382" actId="1035"/>
          <ac:spMkLst>
            <pc:docMk/>
            <pc:sldMk cId="856320715" sldId="1961"/>
            <ac:spMk id="32" creationId="{20E27287-2561-4AC6-86DB-C95E4F24F9B4}"/>
          </ac:spMkLst>
        </pc:spChg>
        <pc:spChg chg="mod">
          <ac:chgData name="Aurelien Domont" userId="6da7715ce44349b3" providerId="LiveId" clId="{CDDAF7B1-EA75-4C96-BC1A-D0E0C2B90736}" dt="2021-08-04T01:17:06.920" v="382" actId="1035"/>
          <ac:spMkLst>
            <pc:docMk/>
            <pc:sldMk cId="856320715" sldId="1961"/>
            <ac:spMk id="34" creationId="{6F52C033-FA23-4B0F-9F43-B954A786650C}"/>
          </ac:spMkLst>
        </pc:spChg>
        <pc:spChg chg="mod">
          <ac:chgData name="Aurelien Domont" userId="6da7715ce44349b3" providerId="LiveId" clId="{CDDAF7B1-EA75-4C96-BC1A-D0E0C2B90736}" dt="2021-08-04T01:17:06.920" v="382" actId="1035"/>
          <ac:spMkLst>
            <pc:docMk/>
            <pc:sldMk cId="856320715" sldId="1961"/>
            <ac:spMk id="40" creationId="{61865E93-7A14-4DB2-A045-E80F3073E731}"/>
          </ac:spMkLst>
        </pc:spChg>
        <pc:spChg chg="mod">
          <ac:chgData name="Aurelien Domont" userId="6da7715ce44349b3" providerId="LiveId" clId="{CDDAF7B1-EA75-4C96-BC1A-D0E0C2B90736}" dt="2021-08-04T01:17:06.920" v="382" actId="1035"/>
          <ac:spMkLst>
            <pc:docMk/>
            <pc:sldMk cId="856320715" sldId="1961"/>
            <ac:spMk id="41" creationId="{447A305E-B706-4C84-9D92-D510A0BEB6B5}"/>
          </ac:spMkLst>
        </pc:spChg>
        <pc:picChg chg="mod">
          <ac:chgData name="Aurelien Domont" userId="6da7715ce44349b3" providerId="LiveId" clId="{CDDAF7B1-EA75-4C96-BC1A-D0E0C2B90736}" dt="2021-08-04T01:17:06.920" v="382" actId="1035"/>
          <ac:picMkLst>
            <pc:docMk/>
            <pc:sldMk cId="856320715" sldId="1961"/>
            <ac:picMk id="35" creationId="{D45D9023-C837-466A-8EE1-F9A343C16125}"/>
          </ac:picMkLst>
        </pc:picChg>
        <pc:picChg chg="mod">
          <ac:chgData name="Aurelien Domont" userId="6da7715ce44349b3" providerId="LiveId" clId="{CDDAF7B1-EA75-4C96-BC1A-D0E0C2B90736}" dt="2021-08-04T01:17:06.920" v="382" actId="1035"/>
          <ac:picMkLst>
            <pc:docMk/>
            <pc:sldMk cId="856320715" sldId="1961"/>
            <ac:picMk id="36" creationId="{69B9B93F-6C78-4F77-A4F1-09176D12DF5E}"/>
          </ac:picMkLst>
        </pc:picChg>
        <pc:picChg chg="mod">
          <ac:chgData name="Aurelien Domont" userId="6da7715ce44349b3" providerId="LiveId" clId="{CDDAF7B1-EA75-4C96-BC1A-D0E0C2B90736}" dt="2021-08-04T01:17:06.920" v="382" actId="1035"/>
          <ac:picMkLst>
            <pc:docMk/>
            <pc:sldMk cId="856320715" sldId="1961"/>
            <ac:picMk id="37" creationId="{1C4F5E33-0DB5-4CAB-9002-9078E56788DF}"/>
          </ac:picMkLst>
        </pc:picChg>
        <pc:picChg chg="mod">
          <ac:chgData name="Aurelien Domont" userId="6da7715ce44349b3" providerId="LiveId" clId="{CDDAF7B1-EA75-4C96-BC1A-D0E0C2B90736}" dt="2021-08-04T01:17:06.920" v="382" actId="1035"/>
          <ac:picMkLst>
            <pc:docMk/>
            <pc:sldMk cId="856320715" sldId="1961"/>
            <ac:picMk id="38" creationId="{F0F4D455-02E9-4168-B4DB-3056EF86A7DB}"/>
          </ac:picMkLst>
        </pc:picChg>
        <pc:picChg chg="mod">
          <ac:chgData name="Aurelien Domont" userId="6da7715ce44349b3" providerId="LiveId" clId="{CDDAF7B1-EA75-4C96-BC1A-D0E0C2B90736}" dt="2021-08-04T01:17:06.920" v="382" actId="1035"/>
          <ac:picMkLst>
            <pc:docMk/>
            <pc:sldMk cId="856320715" sldId="1961"/>
            <ac:picMk id="39" creationId="{72CBFA15-76CD-4123-9F4F-7EDD415D120C}"/>
          </ac:picMkLst>
        </pc:picChg>
      </pc:sldChg>
      <pc:sldChg chg="delSp modSp add mod">
        <pc:chgData name="Aurelien Domont" userId="6da7715ce44349b3" providerId="LiveId" clId="{CDDAF7B1-EA75-4C96-BC1A-D0E0C2B90736}" dt="2021-08-04T01:17:22.740" v="398" actId="1035"/>
        <pc:sldMkLst>
          <pc:docMk/>
          <pc:sldMk cId="46986138" sldId="1962"/>
        </pc:sldMkLst>
        <pc:spChg chg="mod">
          <ac:chgData name="Aurelien Domont" userId="6da7715ce44349b3" providerId="LiveId" clId="{CDDAF7B1-EA75-4C96-BC1A-D0E0C2B90736}" dt="2021-08-04T01:17:17.537" v="385" actId="20577"/>
          <ac:spMkLst>
            <pc:docMk/>
            <pc:sldMk cId="46986138" sldId="1962"/>
            <ac:spMk id="16" creationId="{6C2BB713-9637-4B9B-938F-E9768876782A}"/>
          </ac:spMkLst>
        </pc:spChg>
        <pc:spChg chg="del">
          <ac:chgData name="Aurelien Domont" userId="6da7715ce44349b3" providerId="LiveId" clId="{CDDAF7B1-EA75-4C96-BC1A-D0E0C2B90736}" dt="2021-08-04T01:17:18.994" v="386" actId="478"/>
          <ac:spMkLst>
            <pc:docMk/>
            <pc:sldMk cId="46986138" sldId="1962"/>
            <ac:spMk id="22" creationId="{7B18F9DE-E440-4632-811A-996BB1D5BC2E}"/>
          </ac:spMkLst>
        </pc:spChg>
        <pc:grpChg chg="mod">
          <ac:chgData name="Aurelien Domont" userId="6da7715ce44349b3" providerId="LiveId" clId="{CDDAF7B1-EA75-4C96-BC1A-D0E0C2B90736}" dt="2021-08-04T01:17:22.740" v="398" actId="1035"/>
          <ac:grpSpMkLst>
            <pc:docMk/>
            <pc:sldMk cId="46986138" sldId="1962"/>
            <ac:grpSpMk id="24" creationId="{5FDCDE40-6291-4686-AE05-5803592E312E}"/>
          </ac:grpSpMkLst>
        </pc:grpChg>
      </pc:sldChg>
      <pc:sldChg chg="modSp add mod">
        <pc:chgData name="Aurelien Domont" userId="6da7715ce44349b3" providerId="LiveId" clId="{CDDAF7B1-EA75-4C96-BC1A-D0E0C2B90736}" dt="2021-08-04T01:31:38.465" v="596" actId="1037"/>
        <pc:sldMkLst>
          <pc:docMk/>
          <pc:sldMk cId="442022269" sldId="1967"/>
        </pc:sldMkLst>
        <pc:spChg chg="mod">
          <ac:chgData name="Aurelien Domont" userId="6da7715ce44349b3" providerId="LiveId" clId="{CDDAF7B1-EA75-4C96-BC1A-D0E0C2B90736}" dt="2021-08-04T01:31:38.465" v="596" actId="1037"/>
          <ac:spMkLst>
            <pc:docMk/>
            <pc:sldMk cId="442022269" sldId="1967"/>
            <ac:spMk id="2" creationId="{C8042D7C-02C6-41CC-9707-C9C5F6FA269D}"/>
          </ac:spMkLst>
        </pc:spChg>
        <pc:spChg chg="mod">
          <ac:chgData name="Aurelien Domont" userId="6da7715ce44349b3" providerId="LiveId" clId="{CDDAF7B1-EA75-4C96-BC1A-D0E0C2B90736}" dt="2021-08-04T01:31:25.120" v="565" actId="207"/>
          <ac:spMkLst>
            <pc:docMk/>
            <pc:sldMk cId="442022269" sldId="1967"/>
            <ac:spMk id="22" creationId="{9451C740-A260-4E73-93AE-9A3732F37470}"/>
          </ac:spMkLst>
        </pc:spChg>
        <pc:spChg chg="mod">
          <ac:chgData name="Aurelien Domont" userId="6da7715ce44349b3" providerId="LiveId" clId="{CDDAF7B1-EA75-4C96-BC1A-D0E0C2B90736}" dt="2021-08-04T01:31:22.368" v="564" actId="1076"/>
          <ac:spMkLst>
            <pc:docMk/>
            <pc:sldMk cId="442022269" sldId="1967"/>
            <ac:spMk id="24" creationId="{5262883E-429E-4FBD-BE90-9FFFC2CD6641}"/>
          </ac:spMkLst>
        </pc:spChg>
      </pc:sldChg>
      <pc:sldChg chg="modSp add mod">
        <pc:chgData name="Aurelien Domont" userId="6da7715ce44349b3" providerId="LiveId" clId="{CDDAF7B1-EA75-4C96-BC1A-D0E0C2B90736}" dt="2021-08-04T01:34:37.341" v="742" actId="20577"/>
        <pc:sldMkLst>
          <pc:docMk/>
          <pc:sldMk cId="227595386" sldId="1969"/>
        </pc:sldMkLst>
        <pc:spChg chg="mod">
          <ac:chgData name="Aurelien Domont" userId="6da7715ce44349b3" providerId="LiveId" clId="{CDDAF7B1-EA75-4C96-BC1A-D0E0C2B90736}" dt="2021-08-04T01:04:18.689" v="132" actId="207"/>
          <ac:spMkLst>
            <pc:docMk/>
            <pc:sldMk cId="227595386" sldId="1969"/>
            <ac:spMk id="22" creationId="{9451C740-A260-4E73-93AE-9A3732F37470}"/>
          </ac:spMkLst>
        </pc:spChg>
        <pc:spChg chg="mod">
          <ac:chgData name="Aurelien Domont" userId="6da7715ce44349b3" providerId="LiveId" clId="{CDDAF7B1-EA75-4C96-BC1A-D0E0C2B90736}" dt="2021-08-04T01:34:37.341" v="742" actId="20577"/>
          <ac:spMkLst>
            <pc:docMk/>
            <pc:sldMk cId="227595386" sldId="1969"/>
            <ac:spMk id="24" creationId="{5262883E-429E-4FBD-BE90-9FFFC2CD6641}"/>
          </ac:spMkLst>
        </pc:spChg>
      </pc:sldChg>
      <pc:sldChg chg="delSp modSp add mod">
        <pc:chgData name="Aurelien Domont" userId="6da7715ce44349b3" providerId="LiveId" clId="{CDDAF7B1-EA75-4C96-BC1A-D0E0C2B90736}" dt="2021-08-04T01:11:10.063" v="278" actId="14100"/>
        <pc:sldMkLst>
          <pc:docMk/>
          <pc:sldMk cId="1457388413" sldId="1970"/>
        </pc:sldMkLst>
        <pc:spChg chg="mod">
          <ac:chgData name="Aurelien Domont" userId="6da7715ce44349b3" providerId="LiveId" clId="{CDDAF7B1-EA75-4C96-BC1A-D0E0C2B90736}" dt="2021-08-04T01:09:45.195" v="265" actId="1035"/>
          <ac:spMkLst>
            <pc:docMk/>
            <pc:sldMk cId="1457388413" sldId="1970"/>
            <ac:spMk id="10" creationId="{83A9572C-F54D-42E3-89EA-410B17A06E5D}"/>
          </ac:spMkLst>
        </pc:spChg>
        <pc:spChg chg="mod">
          <ac:chgData name="Aurelien Domont" userId="6da7715ce44349b3" providerId="LiveId" clId="{CDDAF7B1-EA75-4C96-BC1A-D0E0C2B90736}" dt="2021-08-04T01:09:45.195" v="265" actId="1035"/>
          <ac:spMkLst>
            <pc:docMk/>
            <pc:sldMk cId="1457388413" sldId="1970"/>
            <ac:spMk id="11" creationId="{3F391C4B-7123-45E4-8045-4AB04EE93871}"/>
          </ac:spMkLst>
        </pc:spChg>
        <pc:spChg chg="mod">
          <ac:chgData name="Aurelien Domont" userId="6da7715ce44349b3" providerId="LiveId" clId="{CDDAF7B1-EA75-4C96-BC1A-D0E0C2B90736}" dt="2021-08-04T01:09:45.195" v="265" actId="1035"/>
          <ac:spMkLst>
            <pc:docMk/>
            <pc:sldMk cId="1457388413" sldId="1970"/>
            <ac:spMk id="12" creationId="{9B0B70B2-8069-47A4-BADF-DDBA5D9A2265}"/>
          </ac:spMkLst>
        </pc:spChg>
        <pc:spChg chg="mod">
          <ac:chgData name="Aurelien Domont" userId="6da7715ce44349b3" providerId="LiveId" clId="{CDDAF7B1-EA75-4C96-BC1A-D0E0C2B90736}" dt="2021-08-04T01:09:45.195" v="265" actId="1035"/>
          <ac:spMkLst>
            <pc:docMk/>
            <pc:sldMk cId="1457388413" sldId="1970"/>
            <ac:spMk id="14" creationId="{84E91D17-3202-48C7-8F88-09B9B7D37023}"/>
          </ac:spMkLst>
        </pc:spChg>
        <pc:spChg chg="mod">
          <ac:chgData name="Aurelien Domont" userId="6da7715ce44349b3" providerId="LiveId" clId="{CDDAF7B1-EA75-4C96-BC1A-D0E0C2B90736}" dt="2021-08-04T01:09:59.609" v="266" actId="14100"/>
          <ac:spMkLst>
            <pc:docMk/>
            <pc:sldMk cId="1457388413" sldId="1970"/>
            <ac:spMk id="15" creationId="{16940559-FE2F-4035-9656-0451AA909D25}"/>
          </ac:spMkLst>
        </pc:spChg>
        <pc:spChg chg="mod">
          <ac:chgData name="Aurelien Domont" userId="6da7715ce44349b3" providerId="LiveId" clId="{CDDAF7B1-EA75-4C96-BC1A-D0E0C2B90736}" dt="2021-08-04T01:05:17.180" v="174" actId="242"/>
          <ac:spMkLst>
            <pc:docMk/>
            <pc:sldMk cId="1457388413" sldId="1970"/>
            <ac:spMk id="16" creationId="{6C2BB713-9637-4B9B-938F-E9768876782A}"/>
          </ac:spMkLst>
        </pc:spChg>
        <pc:spChg chg="mod">
          <ac:chgData name="Aurelien Domont" userId="6da7715ce44349b3" providerId="LiveId" clId="{CDDAF7B1-EA75-4C96-BC1A-D0E0C2B90736}" dt="2021-08-04T01:09:59.609" v="266" actId="14100"/>
          <ac:spMkLst>
            <pc:docMk/>
            <pc:sldMk cId="1457388413" sldId="1970"/>
            <ac:spMk id="17" creationId="{1D37994A-05D5-491A-A88D-4D7918506F48}"/>
          </ac:spMkLst>
        </pc:spChg>
        <pc:spChg chg="mod">
          <ac:chgData name="Aurelien Domont" userId="6da7715ce44349b3" providerId="LiveId" clId="{CDDAF7B1-EA75-4C96-BC1A-D0E0C2B90736}" dt="2021-08-04T01:09:59.609" v="266" actId="14100"/>
          <ac:spMkLst>
            <pc:docMk/>
            <pc:sldMk cId="1457388413" sldId="1970"/>
            <ac:spMk id="18" creationId="{54141C7A-ED6D-4499-9F61-7F815DADB18E}"/>
          </ac:spMkLst>
        </pc:spChg>
        <pc:spChg chg="mod">
          <ac:chgData name="Aurelien Domont" userId="6da7715ce44349b3" providerId="LiveId" clId="{CDDAF7B1-EA75-4C96-BC1A-D0E0C2B90736}" dt="2021-08-04T01:09:59.609" v="266" actId="14100"/>
          <ac:spMkLst>
            <pc:docMk/>
            <pc:sldMk cId="1457388413" sldId="1970"/>
            <ac:spMk id="19" creationId="{8D079699-548A-45C6-9456-84FEADBA79B0}"/>
          </ac:spMkLst>
        </pc:spChg>
        <pc:spChg chg="mod">
          <ac:chgData name="Aurelien Domont" userId="6da7715ce44349b3" providerId="LiveId" clId="{CDDAF7B1-EA75-4C96-BC1A-D0E0C2B90736}" dt="2021-08-04T01:11:10.063" v="278" actId="14100"/>
          <ac:spMkLst>
            <pc:docMk/>
            <pc:sldMk cId="1457388413" sldId="1970"/>
            <ac:spMk id="20" creationId="{1FA77B32-81EB-47CF-AF75-064C81813CBF}"/>
          </ac:spMkLst>
        </pc:spChg>
        <pc:spChg chg="mod">
          <ac:chgData name="Aurelien Domont" userId="6da7715ce44349b3" providerId="LiveId" clId="{CDDAF7B1-EA75-4C96-BC1A-D0E0C2B90736}" dt="2021-08-04T01:11:10.063" v="278" actId="14100"/>
          <ac:spMkLst>
            <pc:docMk/>
            <pc:sldMk cId="1457388413" sldId="1970"/>
            <ac:spMk id="23" creationId="{063EE2CF-A197-4D2A-AAB3-2365A5DF0782}"/>
          </ac:spMkLst>
        </pc:spChg>
        <pc:spChg chg="mod">
          <ac:chgData name="Aurelien Domont" userId="6da7715ce44349b3" providerId="LiveId" clId="{CDDAF7B1-EA75-4C96-BC1A-D0E0C2B90736}" dt="2021-08-04T01:11:10.063" v="278" actId="14100"/>
          <ac:spMkLst>
            <pc:docMk/>
            <pc:sldMk cId="1457388413" sldId="1970"/>
            <ac:spMk id="25" creationId="{318C40A0-F350-425D-AAFB-2282CBCF7D2D}"/>
          </ac:spMkLst>
        </pc:spChg>
        <pc:spChg chg="mod">
          <ac:chgData name="Aurelien Domont" userId="6da7715ce44349b3" providerId="LiveId" clId="{CDDAF7B1-EA75-4C96-BC1A-D0E0C2B90736}" dt="2021-08-04T01:11:10.063" v="278" actId="14100"/>
          <ac:spMkLst>
            <pc:docMk/>
            <pc:sldMk cId="1457388413" sldId="1970"/>
            <ac:spMk id="26" creationId="{497212ED-382D-4D4F-A52F-EDF75B9E979C}"/>
          </ac:spMkLst>
        </pc:spChg>
        <pc:spChg chg="mod">
          <ac:chgData name="Aurelien Domont" userId="6da7715ce44349b3" providerId="LiveId" clId="{CDDAF7B1-EA75-4C96-BC1A-D0E0C2B90736}" dt="2021-08-04T01:11:10.063" v="278" actId="14100"/>
          <ac:spMkLst>
            <pc:docMk/>
            <pc:sldMk cId="1457388413" sldId="1970"/>
            <ac:spMk id="27" creationId="{87576E41-D5A9-49FF-9AED-EFC2C0FC7FE2}"/>
          </ac:spMkLst>
        </pc:spChg>
        <pc:spChg chg="mod">
          <ac:chgData name="Aurelien Domont" userId="6da7715ce44349b3" providerId="LiveId" clId="{CDDAF7B1-EA75-4C96-BC1A-D0E0C2B90736}" dt="2021-08-04T01:11:10.063" v="278" actId="14100"/>
          <ac:spMkLst>
            <pc:docMk/>
            <pc:sldMk cId="1457388413" sldId="1970"/>
            <ac:spMk id="28" creationId="{336EDBD3-9137-4EA9-9AE2-209E0F4FE065}"/>
          </ac:spMkLst>
        </pc:spChg>
        <pc:spChg chg="mod">
          <ac:chgData name="Aurelien Domont" userId="6da7715ce44349b3" providerId="LiveId" clId="{CDDAF7B1-EA75-4C96-BC1A-D0E0C2B90736}" dt="2021-08-04T01:09:45.195" v="265" actId="1035"/>
          <ac:spMkLst>
            <pc:docMk/>
            <pc:sldMk cId="1457388413" sldId="1970"/>
            <ac:spMk id="29" creationId="{9FDF2011-5648-41FD-A232-6ECDCAB5A726}"/>
          </ac:spMkLst>
        </pc:spChg>
        <pc:spChg chg="del mod">
          <ac:chgData name="Aurelien Domont" userId="6da7715ce44349b3" providerId="LiveId" clId="{CDDAF7B1-EA75-4C96-BC1A-D0E0C2B90736}" dt="2021-08-04T01:07:33.104" v="198" actId="478"/>
          <ac:spMkLst>
            <pc:docMk/>
            <pc:sldMk cId="1457388413" sldId="1970"/>
            <ac:spMk id="30" creationId="{7E7957D9-1ADB-466D-AD79-49F14E9E9924}"/>
          </ac:spMkLst>
        </pc:spChg>
        <pc:spChg chg="del mod">
          <ac:chgData name="Aurelien Domont" userId="6da7715ce44349b3" providerId="LiveId" clId="{CDDAF7B1-EA75-4C96-BC1A-D0E0C2B90736}" dt="2021-08-04T01:07:33.104" v="198" actId="478"/>
          <ac:spMkLst>
            <pc:docMk/>
            <pc:sldMk cId="1457388413" sldId="1970"/>
            <ac:spMk id="31" creationId="{FC05899B-9B8C-49A1-927B-AE5A42474D9A}"/>
          </ac:spMkLst>
        </pc:spChg>
        <pc:spChg chg="mod">
          <ac:chgData name="Aurelien Domont" userId="6da7715ce44349b3" providerId="LiveId" clId="{CDDAF7B1-EA75-4C96-BC1A-D0E0C2B90736}" dt="2021-08-04T01:09:45.195" v="265" actId="1035"/>
          <ac:spMkLst>
            <pc:docMk/>
            <pc:sldMk cId="1457388413" sldId="1970"/>
            <ac:spMk id="32" creationId="{0D5D98BC-2E6F-4691-83B4-AFC340E0A98E}"/>
          </ac:spMkLst>
        </pc:spChg>
        <pc:spChg chg="del mod">
          <ac:chgData name="Aurelien Domont" userId="6da7715ce44349b3" providerId="LiveId" clId="{CDDAF7B1-EA75-4C96-BC1A-D0E0C2B90736}" dt="2021-08-04T01:07:33.104" v="198" actId="478"/>
          <ac:spMkLst>
            <pc:docMk/>
            <pc:sldMk cId="1457388413" sldId="1970"/>
            <ac:spMk id="34" creationId="{0E6E3351-B031-4AA5-8FEA-6FC5F3B412E5}"/>
          </ac:spMkLst>
        </pc:spChg>
        <pc:spChg chg="del mod">
          <ac:chgData name="Aurelien Domont" userId="6da7715ce44349b3" providerId="LiveId" clId="{CDDAF7B1-EA75-4C96-BC1A-D0E0C2B90736}" dt="2021-08-04T01:07:33.104" v="198" actId="478"/>
          <ac:spMkLst>
            <pc:docMk/>
            <pc:sldMk cId="1457388413" sldId="1970"/>
            <ac:spMk id="35" creationId="{24A34B1B-E7E7-4BD2-965C-F6F91B652F5C}"/>
          </ac:spMkLst>
        </pc:spChg>
        <pc:spChg chg="del mod">
          <ac:chgData name="Aurelien Domont" userId="6da7715ce44349b3" providerId="LiveId" clId="{CDDAF7B1-EA75-4C96-BC1A-D0E0C2B90736}" dt="2021-08-04T01:07:33.104" v="198" actId="478"/>
          <ac:spMkLst>
            <pc:docMk/>
            <pc:sldMk cId="1457388413" sldId="1970"/>
            <ac:spMk id="37" creationId="{EF714E81-4BA5-4C85-A7A1-4821AB92BF26}"/>
          </ac:spMkLst>
        </pc:spChg>
        <pc:spChg chg="del mod">
          <ac:chgData name="Aurelien Domont" userId="6da7715ce44349b3" providerId="LiveId" clId="{CDDAF7B1-EA75-4C96-BC1A-D0E0C2B90736}" dt="2021-08-04T01:07:33.104" v="198" actId="478"/>
          <ac:spMkLst>
            <pc:docMk/>
            <pc:sldMk cId="1457388413" sldId="1970"/>
            <ac:spMk id="38" creationId="{5AB4F078-2FD6-4EC9-BED4-719D42E85D4E}"/>
          </ac:spMkLst>
        </pc:spChg>
        <pc:spChg chg="mod">
          <ac:chgData name="Aurelien Domont" userId="6da7715ce44349b3" providerId="LiveId" clId="{CDDAF7B1-EA75-4C96-BC1A-D0E0C2B90736}" dt="2021-08-04T01:09:45.195" v="265" actId="1035"/>
          <ac:spMkLst>
            <pc:docMk/>
            <pc:sldMk cId="1457388413" sldId="1970"/>
            <ac:spMk id="39" creationId="{EB582C42-4F94-4FE1-8290-EA65C2459AE5}"/>
          </ac:spMkLst>
        </pc:spChg>
        <pc:spChg chg="mod">
          <ac:chgData name="Aurelien Domont" userId="6da7715ce44349b3" providerId="LiveId" clId="{CDDAF7B1-EA75-4C96-BC1A-D0E0C2B90736}" dt="2021-08-04T01:10:04.635" v="276" actId="1035"/>
          <ac:spMkLst>
            <pc:docMk/>
            <pc:sldMk cId="1457388413" sldId="1970"/>
            <ac:spMk id="41" creationId="{4B502E63-B209-4BAF-A309-1D9889DA230E}"/>
          </ac:spMkLst>
        </pc:spChg>
        <pc:spChg chg="mod">
          <ac:chgData name="Aurelien Domont" userId="6da7715ce44349b3" providerId="LiveId" clId="{CDDAF7B1-EA75-4C96-BC1A-D0E0C2B90736}" dt="2021-08-04T01:09:45.195" v="265" actId="1035"/>
          <ac:spMkLst>
            <pc:docMk/>
            <pc:sldMk cId="1457388413" sldId="1970"/>
            <ac:spMk id="43" creationId="{0AF3A46D-DD29-46E7-9D18-9830E983937E}"/>
          </ac:spMkLst>
        </pc:spChg>
        <pc:spChg chg="mod">
          <ac:chgData name="Aurelien Domont" userId="6da7715ce44349b3" providerId="LiveId" clId="{CDDAF7B1-EA75-4C96-BC1A-D0E0C2B90736}" dt="2021-08-04T01:10:04.635" v="276" actId="1035"/>
          <ac:spMkLst>
            <pc:docMk/>
            <pc:sldMk cId="1457388413" sldId="1970"/>
            <ac:spMk id="45" creationId="{F8A99211-75CA-465A-9D49-A41DB14CD13E}"/>
          </ac:spMkLst>
        </pc:spChg>
        <pc:spChg chg="mod">
          <ac:chgData name="Aurelien Domont" userId="6da7715ce44349b3" providerId="LiveId" clId="{CDDAF7B1-EA75-4C96-BC1A-D0E0C2B90736}" dt="2021-08-04T01:10:04.635" v="276" actId="1035"/>
          <ac:spMkLst>
            <pc:docMk/>
            <pc:sldMk cId="1457388413" sldId="1970"/>
            <ac:spMk id="46" creationId="{521A524C-2BAC-4684-B858-79DB4986749C}"/>
          </ac:spMkLst>
        </pc:spChg>
        <pc:spChg chg="mod">
          <ac:chgData name="Aurelien Domont" userId="6da7715ce44349b3" providerId="LiveId" clId="{CDDAF7B1-EA75-4C96-BC1A-D0E0C2B90736}" dt="2021-08-04T01:10:04.635" v="276" actId="1035"/>
          <ac:spMkLst>
            <pc:docMk/>
            <pc:sldMk cId="1457388413" sldId="1970"/>
            <ac:spMk id="48" creationId="{F211B41D-DD23-44D6-BCB6-09ADCC477515}"/>
          </ac:spMkLst>
        </pc:spChg>
        <pc:spChg chg="mod">
          <ac:chgData name="Aurelien Domont" userId="6da7715ce44349b3" providerId="LiveId" clId="{CDDAF7B1-EA75-4C96-BC1A-D0E0C2B90736}" dt="2021-08-04T01:11:10.063" v="278" actId="14100"/>
          <ac:spMkLst>
            <pc:docMk/>
            <pc:sldMk cId="1457388413" sldId="1970"/>
            <ac:spMk id="50" creationId="{C9809135-C306-4365-B4E9-F6528ABAB093}"/>
          </ac:spMkLst>
        </pc:spChg>
        <pc:spChg chg="mod">
          <ac:chgData name="Aurelien Domont" userId="6da7715ce44349b3" providerId="LiveId" clId="{CDDAF7B1-EA75-4C96-BC1A-D0E0C2B90736}" dt="2021-08-04T01:11:10.063" v="278" actId="14100"/>
          <ac:spMkLst>
            <pc:docMk/>
            <pc:sldMk cId="1457388413" sldId="1970"/>
            <ac:spMk id="51" creationId="{A5E246B2-EF81-40D8-A5BC-58B07530FBAE}"/>
          </ac:spMkLst>
        </pc:spChg>
        <pc:spChg chg="del mod">
          <ac:chgData name="Aurelien Domont" userId="6da7715ce44349b3" providerId="LiveId" clId="{CDDAF7B1-EA75-4C96-BC1A-D0E0C2B90736}" dt="2021-08-04T01:07:33.104" v="198" actId="478"/>
          <ac:spMkLst>
            <pc:docMk/>
            <pc:sldMk cId="1457388413" sldId="1970"/>
            <ac:spMk id="52" creationId="{CB82F8A4-1CDC-4A88-A05B-345B3C04CA39}"/>
          </ac:spMkLst>
        </pc:spChg>
        <pc:spChg chg="del mod">
          <ac:chgData name="Aurelien Domont" userId="6da7715ce44349b3" providerId="LiveId" clId="{CDDAF7B1-EA75-4C96-BC1A-D0E0C2B90736}" dt="2021-08-04T01:07:33.104" v="198" actId="478"/>
          <ac:spMkLst>
            <pc:docMk/>
            <pc:sldMk cId="1457388413" sldId="1970"/>
            <ac:spMk id="53" creationId="{C410D320-DBA7-42C6-A582-D293D4B1AEE5}"/>
          </ac:spMkLst>
        </pc:spChg>
      </pc:sldChg>
      <pc:sldChg chg="add del">
        <pc:chgData name="Aurelien Domont" userId="6da7715ce44349b3" providerId="LiveId" clId="{CDDAF7B1-EA75-4C96-BC1A-D0E0C2B90736}" dt="2021-08-04T01:10:56.166" v="277" actId="47"/>
        <pc:sldMkLst>
          <pc:docMk/>
          <pc:sldMk cId="769949264" sldId="1971"/>
        </pc:sldMkLst>
      </pc:sldChg>
      <pc:sldChg chg="modSp add del mod">
        <pc:chgData name="Aurelien Domont" userId="6da7715ce44349b3" providerId="LiveId" clId="{CDDAF7B1-EA75-4C96-BC1A-D0E0C2B90736}" dt="2021-08-04T01:23:52.891" v="489" actId="47"/>
        <pc:sldMkLst>
          <pc:docMk/>
          <pc:sldMk cId="2966939393" sldId="1971"/>
        </pc:sldMkLst>
        <pc:spChg chg="mod">
          <ac:chgData name="Aurelien Domont" userId="6da7715ce44349b3" providerId="LiveId" clId="{CDDAF7B1-EA75-4C96-BC1A-D0E0C2B90736}" dt="2021-08-04T01:17:35.344" v="401" actId="113"/>
          <ac:spMkLst>
            <pc:docMk/>
            <pc:sldMk cId="2966939393" sldId="1971"/>
            <ac:spMk id="3" creationId="{5A344048-DBDE-413B-8AF9-F87D45AC158E}"/>
          </ac:spMkLst>
        </pc:spChg>
      </pc:sldChg>
      <pc:sldChg chg="add del">
        <pc:chgData name="Aurelien Domont" userId="6da7715ce44349b3" providerId="LiveId" clId="{CDDAF7B1-EA75-4C96-BC1A-D0E0C2B90736}" dt="2021-08-04T01:25:46.428" v="500" actId="47"/>
        <pc:sldMkLst>
          <pc:docMk/>
          <pc:sldMk cId="4057054822" sldId="2147"/>
        </pc:sldMkLst>
      </pc:sldChg>
      <pc:sldChg chg="add">
        <pc:chgData name="Aurelien Domont" userId="6da7715ce44349b3" providerId="LiveId" clId="{CDDAF7B1-EA75-4C96-BC1A-D0E0C2B90736}" dt="2021-08-04T01:25:40.339" v="499"/>
        <pc:sldMkLst>
          <pc:docMk/>
          <pc:sldMk cId="1289725493" sldId="2149"/>
        </pc:sldMkLst>
      </pc:sldChg>
      <pc:sldChg chg="modSp add mod">
        <pc:chgData name="Aurelien Domont" userId="6da7715ce44349b3" providerId="LiveId" clId="{CDDAF7B1-EA75-4C96-BC1A-D0E0C2B90736}" dt="2021-08-04T01:20:17.278" v="440" actId="108"/>
        <pc:sldMkLst>
          <pc:docMk/>
          <pc:sldMk cId="3387366193" sldId="2210"/>
        </pc:sldMkLst>
        <pc:spChg chg="mod">
          <ac:chgData name="Aurelien Domont" userId="6da7715ce44349b3" providerId="LiveId" clId="{CDDAF7B1-EA75-4C96-BC1A-D0E0C2B90736}" dt="2021-08-04T01:20:17.278" v="440" actId="108"/>
          <ac:spMkLst>
            <pc:docMk/>
            <pc:sldMk cId="3387366193" sldId="2210"/>
            <ac:spMk id="6" creationId="{80C2FA24-C3FF-4F99-8694-BA262AB8070A}"/>
          </ac:spMkLst>
        </pc:spChg>
        <pc:spChg chg="mod">
          <ac:chgData name="Aurelien Domont" userId="6da7715ce44349b3" providerId="LiveId" clId="{CDDAF7B1-EA75-4C96-BC1A-D0E0C2B90736}" dt="2021-08-04T01:19:57.369" v="439" actId="20577"/>
          <ac:spMkLst>
            <pc:docMk/>
            <pc:sldMk cId="3387366193" sldId="2210"/>
            <ac:spMk id="16" creationId="{6C2BB713-9637-4B9B-938F-E9768876782A}"/>
          </ac:spMkLst>
        </pc:spChg>
      </pc:sldChg>
      <pc:sldChg chg="addSp modSp add mod">
        <pc:chgData name="Aurelien Domont" userId="6da7715ce44349b3" providerId="LiveId" clId="{CDDAF7B1-EA75-4C96-BC1A-D0E0C2B90736}" dt="2021-08-04T01:22:47.408" v="470"/>
        <pc:sldMkLst>
          <pc:docMk/>
          <pc:sldMk cId="1606115664" sldId="2211"/>
        </pc:sldMkLst>
        <pc:spChg chg="mod">
          <ac:chgData name="Aurelien Domont" userId="6da7715ce44349b3" providerId="LiveId" clId="{CDDAF7B1-EA75-4C96-BC1A-D0E0C2B90736}" dt="2021-08-04T01:20:53.191" v="458" actId="20577"/>
          <ac:spMkLst>
            <pc:docMk/>
            <pc:sldMk cId="1606115664" sldId="2211"/>
            <ac:spMk id="16" creationId="{6C2BB713-9637-4B9B-938F-E9768876782A}"/>
          </ac:spMkLst>
        </pc:spChg>
        <pc:spChg chg="add mod ord">
          <ac:chgData name="Aurelien Domont" userId="6da7715ce44349b3" providerId="LiveId" clId="{CDDAF7B1-EA75-4C96-BC1A-D0E0C2B90736}" dt="2021-08-04T01:21:10.629" v="463" actId="167"/>
          <ac:spMkLst>
            <pc:docMk/>
            <pc:sldMk cId="1606115664" sldId="2211"/>
            <ac:spMk id="17" creationId="{E94D1483-191E-4320-8935-3EACA35750AF}"/>
          </ac:spMkLst>
        </pc:spChg>
        <pc:picChg chg="add mod">
          <ac:chgData name="Aurelien Domont" userId="6da7715ce44349b3" providerId="LiveId" clId="{CDDAF7B1-EA75-4C96-BC1A-D0E0C2B90736}" dt="2021-08-04T01:22:47.408" v="470"/>
          <ac:picMkLst>
            <pc:docMk/>
            <pc:sldMk cId="1606115664" sldId="2211"/>
            <ac:picMk id="18" creationId="{C5EFE015-7A27-4DAA-BB0C-7EC3F78622B2}"/>
          </ac:picMkLst>
        </pc:picChg>
      </pc:sldChg>
      <pc:sldChg chg="addSp modSp add mod">
        <pc:chgData name="Aurelien Domont" userId="6da7715ce44349b3" providerId="LiveId" clId="{CDDAF7B1-EA75-4C96-BC1A-D0E0C2B90736}" dt="2021-08-04T01:35:52.526" v="756" actId="14100"/>
        <pc:sldMkLst>
          <pc:docMk/>
          <pc:sldMk cId="4071827958" sldId="2212"/>
        </pc:sldMkLst>
        <pc:spChg chg="mod">
          <ac:chgData name="Aurelien Domont" userId="6da7715ce44349b3" providerId="LiveId" clId="{CDDAF7B1-EA75-4C96-BC1A-D0E0C2B90736}" dt="2021-08-04T01:35:52.526" v="756" actId="14100"/>
          <ac:spMkLst>
            <pc:docMk/>
            <pc:sldMk cId="4071827958" sldId="2212"/>
            <ac:spMk id="17" creationId="{E94D1483-191E-4320-8935-3EACA35750AF}"/>
          </ac:spMkLst>
        </pc:spChg>
        <pc:picChg chg="add mod">
          <ac:chgData name="Aurelien Domont" userId="6da7715ce44349b3" providerId="LiveId" clId="{CDDAF7B1-EA75-4C96-BC1A-D0E0C2B90736}" dt="2021-08-04T01:22:39.313" v="469"/>
          <ac:picMkLst>
            <pc:docMk/>
            <pc:sldMk cId="4071827958" sldId="2212"/>
            <ac:picMk id="18" creationId="{903FE1C7-09DA-42AE-B3CE-6F022A2A4704}"/>
          </ac:picMkLst>
        </pc:picChg>
      </pc:sldChg>
      <pc:sldChg chg="modSp add mod">
        <pc:chgData name="Aurelien Domont" userId="6da7715ce44349b3" providerId="LiveId" clId="{CDDAF7B1-EA75-4C96-BC1A-D0E0C2B90736}" dt="2021-08-04T01:36:00.731" v="781" actId="1035"/>
        <pc:sldMkLst>
          <pc:docMk/>
          <pc:sldMk cId="2830153641" sldId="2213"/>
        </pc:sldMkLst>
        <pc:spChg chg="mod">
          <ac:chgData name="Aurelien Domont" userId="6da7715ce44349b3" providerId="LiveId" clId="{CDDAF7B1-EA75-4C96-BC1A-D0E0C2B90736}" dt="2021-08-04T01:36:00.731" v="781" actId="1035"/>
          <ac:spMkLst>
            <pc:docMk/>
            <pc:sldMk cId="2830153641" sldId="2213"/>
            <ac:spMk id="17" creationId="{E94D1483-191E-4320-8935-3EACA35750AF}"/>
          </ac:spMkLst>
        </pc:spChg>
      </pc:sldChg>
      <pc:sldChg chg="modSp add mod">
        <pc:chgData name="Aurelien Domont" userId="6da7715ce44349b3" providerId="LiveId" clId="{CDDAF7B1-EA75-4C96-BC1A-D0E0C2B90736}" dt="2021-08-04T01:36:07.183" v="807" actId="1036"/>
        <pc:sldMkLst>
          <pc:docMk/>
          <pc:sldMk cId="591466441" sldId="2214"/>
        </pc:sldMkLst>
        <pc:spChg chg="mod">
          <ac:chgData name="Aurelien Domont" userId="6da7715ce44349b3" providerId="LiveId" clId="{CDDAF7B1-EA75-4C96-BC1A-D0E0C2B90736}" dt="2021-08-04T01:36:07.183" v="807" actId="1036"/>
          <ac:spMkLst>
            <pc:docMk/>
            <pc:sldMk cId="591466441" sldId="2214"/>
            <ac:spMk id="17" creationId="{E94D1483-191E-4320-8935-3EACA35750AF}"/>
          </ac:spMkLst>
        </pc:spChg>
      </pc:sldChg>
      <pc:sldChg chg="modSp add mod">
        <pc:chgData name="Aurelien Domont" userId="6da7715ce44349b3" providerId="LiveId" clId="{CDDAF7B1-EA75-4C96-BC1A-D0E0C2B90736}" dt="2021-08-04T01:36:20.376" v="844" actId="14100"/>
        <pc:sldMkLst>
          <pc:docMk/>
          <pc:sldMk cId="183176033" sldId="2215"/>
        </pc:sldMkLst>
        <pc:spChg chg="mod">
          <ac:chgData name="Aurelien Domont" userId="6da7715ce44349b3" providerId="LiveId" clId="{CDDAF7B1-EA75-4C96-BC1A-D0E0C2B90736}" dt="2021-08-04T01:36:20.376" v="844" actId="14100"/>
          <ac:spMkLst>
            <pc:docMk/>
            <pc:sldMk cId="183176033" sldId="2215"/>
            <ac:spMk id="17" creationId="{E94D1483-191E-4320-8935-3EACA35750AF}"/>
          </ac:spMkLst>
        </pc:spChg>
      </pc:sldChg>
      <pc:sldChg chg="add del">
        <pc:chgData name="Aurelien Domont" userId="6da7715ce44349b3" providerId="LiveId" clId="{CDDAF7B1-EA75-4C96-BC1A-D0E0C2B90736}" dt="2021-08-04T01:36:55.606" v="845" actId="47"/>
        <pc:sldMkLst>
          <pc:docMk/>
          <pc:sldMk cId="2643456102" sldId="2216"/>
        </pc:sldMkLst>
      </pc:sldChg>
      <pc:sldChg chg="modSp add mod">
        <pc:chgData name="Aurelien Domont" userId="6da7715ce44349b3" providerId="LiveId" clId="{CDDAF7B1-EA75-4C96-BC1A-D0E0C2B90736}" dt="2021-08-04T01:37:03.936" v="891" actId="1035"/>
        <pc:sldMkLst>
          <pc:docMk/>
          <pc:sldMk cId="750920449" sldId="2217"/>
        </pc:sldMkLst>
        <pc:spChg chg="mod">
          <ac:chgData name="Aurelien Domont" userId="6da7715ce44349b3" providerId="LiveId" clId="{CDDAF7B1-EA75-4C96-BC1A-D0E0C2B90736}" dt="2021-08-04T01:37:03.936" v="891" actId="1035"/>
          <ac:spMkLst>
            <pc:docMk/>
            <pc:sldMk cId="750920449" sldId="2217"/>
            <ac:spMk id="17" creationId="{E94D1483-191E-4320-8935-3EACA35750AF}"/>
          </ac:spMkLst>
        </pc:spChg>
      </pc:sldChg>
      <pc:sldChg chg="modSp add mod">
        <pc:chgData name="Aurelien Domont" userId="6da7715ce44349b3" providerId="LiveId" clId="{CDDAF7B1-EA75-4C96-BC1A-D0E0C2B90736}" dt="2021-08-04T01:37:27.068" v="944" actId="1035"/>
        <pc:sldMkLst>
          <pc:docMk/>
          <pc:sldMk cId="1946714202" sldId="2218"/>
        </pc:sldMkLst>
        <pc:spChg chg="mod">
          <ac:chgData name="Aurelien Domont" userId="6da7715ce44349b3" providerId="LiveId" clId="{CDDAF7B1-EA75-4C96-BC1A-D0E0C2B90736}" dt="2021-08-04T01:37:27.068" v="944" actId="1035"/>
          <ac:spMkLst>
            <pc:docMk/>
            <pc:sldMk cId="1946714202" sldId="2218"/>
            <ac:spMk id="17" creationId="{E94D1483-191E-4320-8935-3EACA35750AF}"/>
          </ac:spMkLst>
        </pc:spChg>
      </pc:sldChg>
      <pc:sldChg chg="modSp add mod">
        <pc:chgData name="Aurelien Domont" userId="6da7715ce44349b3" providerId="LiveId" clId="{CDDAF7B1-EA75-4C96-BC1A-D0E0C2B90736}" dt="2021-08-04T01:37:37.489" v="993" actId="1035"/>
        <pc:sldMkLst>
          <pc:docMk/>
          <pc:sldMk cId="3886034307" sldId="2219"/>
        </pc:sldMkLst>
        <pc:spChg chg="mod">
          <ac:chgData name="Aurelien Domont" userId="6da7715ce44349b3" providerId="LiveId" clId="{CDDAF7B1-EA75-4C96-BC1A-D0E0C2B90736}" dt="2021-08-04T01:37:37.489" v="993" actId="1035"/>
          <ac:spMkLst>
            <pc:docMk/>
            <pc:sldMk cId="3886034307" sldId="2219"/>
            <ac:spMk id="17" creationId="{E94D1483-191E-4320-8935-3EACA35750AF}"/>
          </ac:spMkLst>
        </pc:spChg>
      </pc:sldChg>
      <pc:sldChg chg="modSp add mod">
        <pc:chgData name="Aurelien Domont" userId="6da7715ce44349b3" providerId="LiveId" clId="{CDDAF7B1-EA75-4C96-BC1A-D0E0C2B90736}" dt="2021-08-04T01:37:52.619" v="1035" actId="14100"/>
        <pc:sldMkLst>
          <pc:docMk/>
          <pc:sldMk cId="4236693973" sldId="2220"/>
        </pc:sldMkLst>
        <pc:spChg chg="mod">
          <ac:chgData name="Aurelien Domont" userId="6da7715ce44349b3" providerId="LiveId" clId="{CDDAF7B1-EA75-4C96-BC1A-D0E0C2B90736}" dt="2021-08-04T01:37:52.619" v="1035" actId="14100"/>
          <ac:spMkLst>
            <pc:docMk/>
            <pc:sldMk cId="4236693973" sldId="2220"/>
            <ac:spMk id="17" creationId="{E94D1483-191E-4320-8935-3EACA35750AF}"/>
          </ac:spMkLst>
        </pc:spChg>
      </pc:sldChg>
      <pc:sldChg chg="delSp modSp add mod">
        <pc:chgData name="Aurelien Domont" userId="6da7715ce44349b3" providerId="LiveId" clId="{CDDAF7B1-EA75-4C96-BC1A-D0E0C2B90736}" dt="2021-08-04T01:25:21.315" v="498" actId="108"/>
        <pc:sldMkLst>
          <pc:docMk/>
          <pc:sldMk cId="2401267023" sldId="2221"/>
        </pc:sldMkLst>
        <pc:spChg chg="mod">
          <ac:chgData name="Aurelien Domont" userId="6da7715ce44349b3" providerId="LiveId" clId="{CDDAF7B1-EA75-4C96-BC1A-D0E0C2B90736}" dt="2021-08-04T01:25:21.315" v="498" actId="108"/>
          <ac:spMkLst>
            <pc:docMk/>
            <pc:sldMk cId="2401267023" sldId="2221"/>
            <ac:spMk id="6" creationId="{80C2FA24-C3FF-4F99-8694-BA262AB8070A}"/>
          </ac:spMkLst>
        </pc:spChg>
        <pc:spChg chg="mod">
          <ac:chgData name="Aurelien Domont" userId="6da7715ce44349b3" providerId="LiveId" clId="{CDDAF7B1-EA75-4C96-BC1A-D0E0C2B90736}" dt="2021-08-04T01:25:15.850" v="496" actId="108"/>
          <ac:spMkLst>
            <pc:docMk/>
            <pc:sldMk cId="2401267023" sldId="2221"/>
            <ac:spMk id="7" creationId="{AA474FA7-23F8-48D3-A4A1-46C7E7EF8CBF}"/>
          </ac:spMkLst>
        </pc:spChg>
        <pc:spChg chg="mod">
          <ac:chgData name="Aurelien Domont" userId="6da7715ce44349b3" providerId="LiveId" clId="{CDDAF7B1-EA75-4C96-BC1A-D0E0C2B90736}" dt="2021-08-04T01:25:11.817" v="495"/>
          <ac:spMkLst>
            <pc:docMk/>
            <pc:sldMk cId="2401267023" sldId="2221"/>
            <ac:spMk id="16" creationId="{6C2BB713-9637-4B9B-938F-E9768876782A}"/>
          </ac:spMkLst>
        </pc:spChg>
        <pc:spChg chg="del">
          <ac:chgData name="Aurelien Domont" userId="6da7715ce44349b3" providerId="LiveId" clId="{CDDAF7B1-EA75-4C96-BC1A-D0E0C2B90736}" dt="2021-08-04T01:25:18.377" v="497" actId="478"/>
          <ac:spMkLst>
            <pc:docMk/>
            <pc:sldMk cId="2401267023" sldId="2221"/>
            <ac:spMk id="17" creationId="{E94D1483-191E-4320-8935-3EACA35750AF}"/>
          </ac:spMkLst>
        </pc:spChg>
        <pc:picChg chg="del">
          <ac:chgData name="Aurelien Domont" userId="6da7715ce44349b3" providerId="LiveId" clId="{CDDAF7B1-EA75-4C96-BC1A-D0E0C2B90736}" dt="2021-08-04T01:24:56.262" v="492" actId="478"/>
          <ac:picMkLst>
            <pc:docMk/>
            <pc:sldMk cId="2401267023" sldId="2221"/>
            <ac:picMk id="18" creationId="{C5EFE015-7A27-4DAA-BB0C-7EC3F78622B2}"/>
          </ac:picMkLst>
        </pc:picChg>
      </pc:sldChg>
      <pc:sldChg chg="add del">
        <pc:chgData name="Aurelien Domont" userId="6da7715ce44349b3" providerId="LiveId" clId="{CDDAF7B1-EA75-4C96-BC1A-D0E0C2B90736}" dt="2021-08-04T01:23:52.891" v="489" actId="47"/>
        <pc:sldMkLst>
          <pc:docMk/>
          <pc:sldMk cId="3022150902" sldId="2221"/>
        </pc:sldMkLst>
      </pc:sldChg>
      <pc:sldChg chg="modSp add mod">
        <pc:chgData name="Aurelien Domont" userId="6da7715ce44349b3" providerId="LiveId" clId="{CDDAF7B1-EA75-4C96-BC1A-D0E0C2B90736}" dt="2021-08-04T01:37:16.692" v="908" actId="1036"/>
        <pc:sldMkLst>
          <pc:docMk/>
          <pc:sldMk cId="3113089428" sldId="2222"/>
        </pc:sldMkLst>
        <pc:spChg chg="mod">
          <ac:chgData name="Aurelien Domont" userId="6da7715ce44349b3" providerId="LiveId" clId="{CDDAF7B1-EA75-4C96-BC1A-D0E0C2B90736}" dt="2021-08-04T01:37:16.692" v="908" actId="1036"/>
          <ac:spMkLst>
            <pc:docMk/>
            <pc:sldMk cId="3113089428" sldId="2222"/>
            <ac:spMk id="17" creationId="{E94D1483-191E-4320-8935-3EACA35750AF}"/>
          </ac:spMkLst>
        </pc:spChg>
      </pc:sldChg>
      <pc:sldChg chg="modSp add mod">
        <pc:chgData name="Aurelien Domont" userId="6da7715ce44349b3" providerId="LiveId" clId="{CDDAF7B1-EA75-4C96-BC1A-D0E0C2B90736}" dt="2021-08-04T01:38:35.807" v="1040" actId="20577"/>
        <pc:sldMkLst>
          <pc:docMk/>
          <pc:sldMk cId="41853081" sldId="2223"/>
        </pc:sldMkLst>
        <pc:spChg chg="mod">
          <ac:chgData name="Aurelien Domont" userId="6da7715ce44349b3" providerId="LiveId" clId="{CDDAF7B1-EA75-4C96-BC1A-D0E0C2B90736}" dt="2021-08-04T01:38:35.807" v="1040" actId="20577"/>
          <ac:spMkLst>
            <pc:docMk/>
            <pc:sldMk cId="41853081" sldId="2223"/>
            <ac:spMk id="16" creationId="{6C2BB713-9637-4B9B-938F-E9768876782A}"/>
          </ac:spMkLst>
        </pc:spChg>
      </pc:sldChg>
    </pc:docChg>
  </pc:docChgLst>
  <pc:docChgLst>
    <pc:chgData name="Aurelien Domont" userId="6da7715ce44349b3" providerId="LiveId" clId="{BFA3574A-714B-4D42-BD39-17320CF74B87}"/>
    <pc:docChg chg="addSld delSld modSld">
      <pc:chgData name="Aurelien Domont" userId="6da7715ce44349b3" providerId="LiveId" clId="{BFA3574A-714B-4D42-BD39-17320CF74B87}" dt="2021-08-04T01:52:50.937" v="206"/>
      <pc:docMkLst>
        <pc:docMk/>
      </pc:docMkLst>
      <pc:sldChg chg="modSp mod">
        <pc:chgData name="Aurelien Domont" userId="6da7715ce44349b3" providerId="LiveId" clId="{BFA3574A-714B-4D42-BD39-17320CF74B87}" dt="2021-08-04T01:41:51.921" v="3" actId="20577"/>
        <pc:sldMkLst>
          <pc:docMk/>
          <pc:sldMk cId="3131901387" sldId="256"/>
        </pc:sldMkLst>
        <pc:spChg chg="mod">
          <ac:chgData name="Aurelien Domont" userId="6da7715ce44349b3" providerId="LiveId" clId="{BFA3574A-714B-4D42-BD39-17320CF74B87}" dt="2021-08-04T01:41:51.921" v="3" actId="20577"/>
          <ac:spMkLst>
            <pc:docMk/>
            <pc:sldMk cId="3131901387" sldId="256"/>
            <ac:spMk id="2" creationId="{5261080C-C60C-4746-B6B1-A9A4FFA86785}"/>
          </ac:spMkLst>
        </pc:spChg>
      </pc:sldChg>
      <pc:sldChg chg="del">
        <pc:chgData name="Aurelien Domont" userId="6da7715ce44349b3" providerId="LiveId" clId="{BFA3574A-714B-4D42-BD39-17320CF74B87}" dt="2021-08-04T01:42:44.559" v="14" actId="47"/>
        <pc:sldMkLst>
          <pc:docMk/>
          <pc:sldMk cId="1397809860" sldId="1499"/>
        </pc:sldMkLst>
      </pc:sldChg>
      <pc:sldChg chg="del">
        <pc:chgData name="Aurelien Domont" userId="6da7715ce44349b3" providerId="LiveId" clId="{BFA3574A-714B-4D42-BD39-17320CF74B87}" dt="2021-08-04T01:42:44.559" v="14" actId="47"/>
        <pc:sldMkLst>
          <pc:docMk/>
          <pc:sldMk cId="2781049302" sldId="1518"/>
        </pc:sldMkLst>
      </pc:sldChg>
      <pc:sldChg chg="del">
        <pc:chgData name="Aurelien Domont" userId="6da7715ce44349b3" providerId="LiveId" clId="{BFA3574A-714B-4D42-BD39-17320CF74B87}" dt="2021-08-04T01:42:44.559" v="14" actId="47"/>
        <pc:sldMkLst>
          <pc:docMk/>
          <pc:sldMk cId="2658212128" sldId="1531"/>
        </pc:sldMkLst>
      </pc:sldChg>
      <pc:sldChg chg="del">
        <pc:chgData name="Aurelien Domont" userId="6da7715ce44349b3" providerId="LiveId" clId="{BFA3574A-714B-4D42-BD39-17320CF74B87}" dt="2021-08-04T01:42:44.559" v="14" actId="47"/>
        <pc:sldMkLst>
          <pc:docMk/>
          <pc:sldMk cId="2419878592" sldId="1628"/>
        </pc:sldMkLst>
      </pc:sldChg>
      <pc:sldChg chg="del">
        <pc:chgData name="Aurelien Domont" userId="6da7715ce44349b3" providerId="LiveId" clId="{BFA3574A-714B-4D42-BD39-17320CF74B87}" dt="2021-08-04T01:42:44.559" v="14" actId="47"/>
        <pc:sldMkLst>
          <pc:docMk/>
          <pc:sldMk cId="2681184405" sldId="1631"/>
        </pc:sldMkLst>
      </pc:sldChg>
      <pc:sldChg chg="del">
        <pc:chgData name="Aurelien Domont" userId="6da7715ce44349b3" providerId="LiveId" clId="{BFA3574A-714B-4D42-BD39-17320CF74B87}" dt="2021-08-04T01:42:44.559" v="14" actId="47"/>
        <pc:sldMkLst>
          <pc:docMk/>
          <pc:sldMk cId="964946317" sldId="1633"/>
        </pc:sldMkLst>
      </pc:sldChg>
      <pc:sldChg chg="del">
        <pc:chgData name="Aurelien Domont" userId="6da7715ce44349b3" providerId="LiveId" clId="{BFA3574A-714B-4D42-BD39-17320CF74B87}" dt="2021-08-04T01:42:44.559" v="14" actId="47"/>
        <pc:sldMkLst>
          <pc:docMk/>
          <pc:sldMk cId="2152434367" sldId="1634"/>
        </pc:sldMkLst>
      </pc:sldChg>
      <pc:sldChg chg="del">
        <pc:chgData name="Aurelien Domont" userId="6da7715ce44349b3" providerId="LiveId" clId="{BFA3574A-714B-4D42-BD39-17320CF74B87}" dt="2021-08-04T01:42:44.559" v="14" actId="47"/>
        <pc:sldMkLst>
          <pc:docMk/>
          <pc:sldMk cId="94163727" sldId="1635"/>
        </pc:sldMkLst>
      </pc:sldChg>
      <pc:sldChg chg="del">
        <pc:chgData name="Aurelien Domont" userId="6da7715ce44349b3" providerId="LiveId" clId="{BFA3574A-714B-4D42-BD39-17320CF74B87}" dt="2021-08-04T01:42:44.559" v="14" actId="47"/>
        <pc:sldMkLst>
          <pc:docMk/>
          <pc:sldMk cId="328781466" sldId="1636"/>
        </pc:sldMkLst>
      </pc:sldChg>
      <pc:sldChg chg="del">
        <pc:chgData name="Aurelien Domont" userId="6da7715ce44349b3" providerId="LiveId" clId="{BFA3574A-714B-4D42-BD39-17320CF74B87}" dt="2021-08-04T01:42:44.559" v="14" actId="47"/>
        <pc:sldMkLst>
          <pc:docMk/>
          <pc:sldMk cId="1564008502" sldId="1638"/>
        </pc:sldMkLst>
      </pc:sldChg>
      <pc:sldChg chg="del">
        <pc:chgData name="Aurelien Domont" userId="6da7715ce44349b3" providerId="LiveId" clId="{BFA3574A-714B-4D42-BD39-17320CF74B87}" dt="2021-08-04T01:42:44.559" v="14" actId="47"/>
        <pc:sldMkLst>
          <pc:docMk/>
          <pc:sldMk cId="2776570344" sldId="1639"/>
        </pc:sldMkLst>
      </pc:sldChg>
      <pc:sldChg chg="del">
        <pc:chgData name="Aurelien Domont" userId="6da7715ce44349b3" providerId="LiveId" clId="{BFA3574A-714B-4D42-BD39-17320CF74B87}" dt="2021-08-04T01:42:44.559" v="14" actId="47"/>
        <pc:sldMkLst>
          <pc:docMk/>
          <pc:sldMk cId="1966899950" sldId="1640"/>
        </pc:sldMkLst>
      </pc:sldChg>
      <pc:sldChg chg="del">
        <pc:chgData name="Aurelien Domont" userId="6da7715ce44349b3" providerId="LiveId" clId="{BFA3574A-714B-4D42-BD39-17320CF74B87}" dt="2021-08-04T01:42:44.559" v="14" actId="47"/>
        <pc:sldMkLst>
          <pc:docMk/>
          <pc:sldMk cId="90965146" sldId="1641"/>
        </pc:sldMkLst>
      </pc:sldChg>
      <pc:sldChg chg="del">
        <pc:chgData name="Aurelien Domont" userId="6da7715ce44349b3" providerId="LiveId" clId="{BFA3574A-714B-4D42-BD39-17320CF74B87}" dt="2021-08-04T01:42:44.559" v="14" actId="47"/>
        <pc:sldMkLst>
          <pc:docMk/>
          <pc:sldMk cId="744590877" sldId="1643"/>
        </pc:sldMkLst>
      </pc:sldChg>
      <pc:sldChg chg="del">
        <pc:chgData name="Aurelien Domont" userId="6da7715ce44349b3" providerId="LiveId" clId="{BFA3574A-714B-4D42-BD39-17320CF74B87}" dt="2021-08-04T01:42:44.559" v="14" actId="47"/>
        <pc:sldMkLst>
          <pc:docMk/>
          <pc:sldMk cId="2900554348" sldId="1644"/>
        </pc:sldMkLst>
      </pc:sldChg>
      <pc:sldChg chg="del">
        <pc:chgData name="Aurelien Domont" userId="6da7715ce44349b3" providerId="LiveId" clId="{BFA3574A-714B-4D42-BD39-17320CF74B87}" dt="2021-08-04T01:42:44.559" v="14" actId="47"/>
        <pc:sldMkLst>
          <pc:docMk/>
          <pc:sldMk cId="3129463421" sldId="1645"/>
        </pc:sldMkLst>
      </pc:sldChg>
      <pc:sldChg chg="del">
        <pc:chgData name="Aurelien Domont" userId="6da7715ce44349b3" providerId="LiveId" clId="{BFA3574A-714B-4D42-BD39-17320CF74B87}" dt="2021-08-04T01:42:44.559" v="14" actId="47"/>
        <pc:sldMkLst>
          <pc:docMk/>
          <pc:sldMk cId="2739134928" sldId="1646"/>
        </pc:sldMkLst>
      </pc:sldChg>
      <pc:sldChg chg="del">
        <pc:chgData name="Aurelien Domont" userId="6da7715ce44349b3" providerId="LiveId" clId="{BFA3574A-714B-4D42-BD39-17320CF74B87}" dt="2021-08-04T01:42:44.559" v="14" actId="47"/>
        <pc:sldMkLst>
          <pc:docMk/>
          <pc:sldMk cId="1863409498" sldId="1647"/>
        </pc:sldMkLst>
      </pc:sldChg>
      <pc:sldChg chg="del">
        <pc:chgData name="Aurelien Domont" userId="6da7715ce44349b3" providerId="LiveId" clId="{BFA3574A-714B-4D42-BD39-17320CF74B87}" dt="2021-08-04T01:42:44.559" v="14" actId="47"/>
        <pc:sldMkLst>
          <pc:docMk/>
          <pc:sldMk cId="1137526162" sldId="1666"/>
        </pc:sldMkLst>
      </pc:sldChg>
      <pc:sldChg chg="del">
        <pc:chgData name="Aurelien Domont" userId="6da7715ce44349b3" providerId="LiveId" clId="{BFA3574A-714B-4D42-BD39-17320CF74B87}" dt="2021-08-04T01:42:44.559" v="14" actId="47"/>
        <pc:sldMkLst>
          <pc:docMk/>
          <pc:sldMk cId="3582862380" sldId="1721"/>
        </pc:sldMkLst>
      </pc:sldChg>
      <pc:sldChg chg="add">
        <pc:chgData name="Aurelien Domont" userId="6da7715ce44349b3" providerId="LiveId" clId="{BFA3574A-714B-4D42-BD39-17320CF74B87}" dt="2021-08-04T01:46:36.490" v="25"/>
        <pc:sldMkLst>
          <pc:docMk/>
          <pc:sldMk cId="1730165850" sldId="1735"/>
        </pc:sldMkLst>
      </pc:sldChg>
      <pc:sldChg chg="add">
        <pc:chgData name="Aurelien Domont" userId="6da7715ce44349b3" providerId="LiveId" clId="{BFA3574A-714B-4D42-BD39-17320CF74B87}" dt="2021-08-04T01:46:36.490" v="25"/>
        <pc:sldMkLst>
          <pc:docMk/>
          <pc:sldMk cId="2432023707" sldId="1736"/>
        </pc:sldMkLst>
      </pc:sldChg>
      <pc:sldChg chg="add">
        <pc:chgData name="Aurelien Domont" userId="6da7715ce44349b3" providerId="LiveId" clId="{BFA3574A-714B-4D42-BD39-17320CF74B87}" dt="2021-08-04T01:52:50.937" v="206"/>
        <pc:sldMkLst>
          <pc:docMk/>
          <pc:sldMk cId="1675062303" sldId="1929"/>
        </pc:sldMkLst>
      </pc:sldChg>
      <pc:sldChg chg="add">
        <pc:chgData name="Aurelien Domont" userId="6da7715ce44349b3" providerId="LiveId" clId="{BFA3574A-714B-4D42-BD39-17320CF74B87}" dt="2021-08-04T01:52:50.937" v="206"/>
        <pc:sldMkLst>
          <pc:docMk/>
          <pc:sldMk cId="471658671" sldId="1930"/>
        </pc:sldMkLst>
      </pc:sldChg>
      <pc:sldChg chg="del">
        <pc:chgData name="Aurelien Domont" userId="6da7715ce44349b3" providerId="LiveId" clId="{BFA3574A-714B-4D42-BD39-17320CF74B87}" dt="2021-08-04T01:42:44.559" v="14" actId="47"/>
        <pc:sldMkLst>
          <pc:docMk/>
          <pc:sldMk cId="1332684990" sldId="1958"/>
        </pc:sldMkLst>
      </pc:sldChg>
      <pc:sldChg chg="del">
        <pc:chgData name="Aurelien Domont" userId="6da7715ce44349b3" providerId="LiveId" clId="{BFA3574A-714B-4D42-BD39-17320CF74B87}" dt="2021-08-04T01:42:44.559" v="14" actId="47"/>
        <pc:sldMkLst>
          <pc:docMk/>
          <pc:sldMk cId="3299486938" sldId="1959"/>
        </pc:sldMkLst>
      </pc:sldChg>
      <pc:sldChg chg="del">
        <pc:chgData name="Aurelien Domont" userId="6da7715ce44349b3" providerId="LiveId" clId="{BFA3574A-714B-4D42-BD39-17320CF74B87}" dt="2021-08-04T01:42:44.559" v="14" actId="47"/>
        <pc:sldMkLst>
          <pc:docMk/>
          <pc:sldMk cId="1373343180" sldId="1960"/>
        </pc:sldMkLst>
      </pc:sldChg>
      <pc:sldChg chg="del">
        <pc:chgData name="Aurelien Domont" userId="6da7715ce44349b3" providerId="LiveId" clId="{BFA3574A-714B-4D42-BD39-17320CF74B87}" dt="2021-08-04T01:42:44.559" v="14" actId="47"/>
        <pc:sldMkLst>
          <pc:docMk/>
          <pc:sldMk cId="856320715" sldId="1961"/>
        </pc:sldMkLst>
      </pc:sldChg>
      <pc:sldChg chg="del">
        <pc:chgData name="Aurelien Domont" userId="6da7715ce44349b3" providerId="LiveId" clId="{BFA3574A-714B-4D42-BD39-17320CF74B87}" dt="2021-08-04T01:42:44.559" v="14" actId="47"/>
        <pc:sldMkLst>
          <pc:docMk/>
          <pc:sldMk cId="46986138" sldId="1962"/>
        </pc:sldMkLst>
      </pc:sldChg>
      <pc:sldChg chg="del">
        <pc:chgData name="Aurelien Domont" userId="6da7715ce44349b3" providerId="LiveId" clId="{BFA3574A-714B-4D42-BD39-17320CF74B87}" dt="2021-08-04T01:42:44.559" v="14" actId="47"/>
        <pc:sldMkLst>
          <pc:docMk/>
          <pc:sldMk cId="442022269" sldId="1967"/>
        </pc:sldMkLst>
      </pc:sldChg>
      <pc:sldChg chg="del">
        <pc:chgData name="Aurelien Domont" userId="6da7715ce44349b3" providerId="LiveId" clId="{BFA3574A-714B-4D42-BD39-17320CF74B87}" dt="2021-08-04T01:42:44.559" v="14" actId="47"/>
        <pc:sldMkLst>
          <pc:docMk/>
          <pc:sldMk cId="227595386" sldId="1969"/>
        </pc:sldMkLst>
      </pc:sldChg>
      <pc:sldChg chg="del">
        <pc:chgData name="Aurelien Domont" userId="6da7715ce44349b3" providerId="LiveId" clId="{BFA3574A-714B-4D42-BD39-17320CF74B87}" dt="2021-08-04T01:42:44.559" v="14" actId="47"/>
        <pc:sldMkLst>
          <pc:docMk/>
          <pc:sldMk cId="1457388413" sldId="1970"/>
        </pc:sldMkLst>
      </pc:sldChg>
      <pc:sldChg chg="add">
        <pc:chgData name="Aurelien Domont" userId="6da7715ce44349b3" providerId="LiveId" clId="{BFA3574A-714B-4D42-BD39-17320CF74B87}" dt="2021-08-04T01:46:36.490" v="25"/>
        <pc:sldMkLst>
          <pc:docMk/>
          <pc:sldMk cId="1817574191" sldId="1972"/>
        </pc:sldMkLst>
      </pc:sldChg>
      <pc:sldChg chg="add">
        <pc:chgData name="Aurelien Domont" userId="6da7715ce44349b3" providerId="LiveId" clId="{BFA3574A-714B-4D42-BD39-17320CF74B87}" dt="2021-08-04T01:48:50.523" v="113"/>
        <pc:sldMkLst>
          <pc:docMk/>
          <pc:sldMk cId="535454910" sldId="1974"/>
        </pc:sldMkLst>
      </pc:sldChg>
      <pc:sldChg chg="add">
        <pc:chgData name="Aurelien Domont" userId="6da7715ce44349b3" providerId="LiveId" clId="{BFA3574A-714B-4D42-BD39-17320CF74B87}" dt="2021-08-04T01:48:50.523" v="113"/>
        <pc:sldMkLst>
          <pc:docMk/>
          <pc:sldMk cId="284582528" sldId="1975"/>
        </pc:sldMkLst>
      </pc:sldChg>
      <pc:sldChg chg="add">
        <pc:chgData name="Aurelien Domont" userId="6da7715ce44349b3" providerId="LiveId" clId="{BFA3574A-714B-4D42-BD39-17320CF74B87}" dt="2021-08-04T01:48:50.523" v="113"/>
        <pc:sldMkLst>
          <pc:docMk/>
          <pc:sldMk cId="2708523607" sldId="1976"/>
        </pc:sldMkLst>
      </pc:sldChg>
      <pc:sldChg chg="add">
        <pc:chgData name="Aurelien Domont" userId="6da7715ce44349b3" providerId="LiveId" clId="{BFA3574A-714B-4D42-BD39-17320CF74B87}" dt="2021-08-04T01:48:50.523" v="113"/>
        <pc:sldMkLst>
          <pc:docMk/>
          <pc:sldMk cId="350950659" sldId="1977"/>
        </pc:sldMkLst>
      </pc:sldChg>
      <pc:sldChg chg="modSp add mod">
        <pc:chgData name="Aurelien Domont" userId="6da7715ce44349b3" providerId="LiveId" clId="{BFA3574A-714B-4D42-BD39-17320CF74B87}" dt="2021-08-04T01:49:17.272" v="121" actId="20577"/>
        <pc:sldMkLst>
          <pc:docMk/>
          <pc:sldMk cId="2541933330" sldId="1978"/>
        </pc:sldMkLst>
        <pc:spChg chg="mod">
          <ac:chgData name="Aurelien Domont" userId="6da7715ce44349b3" providerId="LiveId" clId="{BFA3574A-714B-4D42-BD39-17320CF74B87}" dt="2021-08-04T01:49:17.272" v="121" actId="20577"/>
          <ac:spMkLst>
            <pc:docMk/>
            <pc:sldMk cId="2541933330" sldId="1978"/>
            <ac:spMk id="16" creationId="{6C2BB713-9637-4B9B-938F-E9768876782A}"/>
          </ac:spMkLst>
        </pc:spChg>
      </pc:sldChg>
      <pc:sldChg chg="add">
        <pc:chgData name="Aurelien Domont" userId="6da7715ce44349b3" providerId="LiveId" clId="{BFA3574A-714B-4D42-BD39-17320CF74B87}" dt="2021-08-04T01:51:16.650" v="202"/>
        <pc:sldMkLst>
          <pc:docMk/>
          <pc:sldMk cId="3453285050" sldId="2000"/>
        </pc:sldMkLst>
      </pc:sldChg>
      <pc:sldChg chg="add">
        <pc:chgData name="Aurelien Domont" userId="6da7715ce44349b3" providerId="LiveId" clId="{BFA3574A-714B-4D42-BD39-17320CF74B87}" dt="2021-08-04T01:51:16.650" v="202"/>
        <pc:sldMkLst>
          <pc:docMk/>
          <pc:sldMk cId="1480423294" sldId="2001"/>
        </pc:sldMkLst>
      </pc:sldChg>
      <pc:sldChg chg="add">
        <pc:chgData name="Aurelien Domont" userId="6da7715ce44349b3" providerId="LiveId" clId="{BFA3574A-714B-4D42-BD39-17320CF74B87}" dt="2021-08-04T01:51:16.650" v="202"/>
        <pc:sldMkLst>
          <pc:docMk/>
          <pc:sldMk cId="793231726" sldId="2002"/>
        </pc:sldMkLst>
      </pc:sldChg>
      <pc:sldChg chg="add">
        <pc:chgData name="Aurelien Domont" userId="6da7715ce44349b3" providerId="LiveId" clId="{BFA3574A-714B-4D42-BD39-17320CF74B87}" dt="2021-08-04T01:51:58.797" v="203"/>
        <pc:sldMkLst>
          <pc:docMk/>
          <pc:sldMk cId="872643177" sldId="2004"/>
        </pc:sldMkLst>
      </pc:sldChg>
      <pc:sldChg chg="add">
        <pc:chgData name="Aurelien Domont" userId="6da7715ce44349b3" providerId="LiveId" clId="{BFA3574A-714B-4D42-BD39-17320CF74B87}" dt="2021-08-04T01:51:58.797" v="203"/>
        <pc:sldMkLst>
          <pc:docMk/>
          <pc:sldMk cId="2349657917" sldId="2005"/>
        </pc:sldMkLst>
      </pc:sldChg>
      <pc:sldChg chg="add">
        <pc:chgData name="Aurelien Domont" userId="6da7715ce44349b3" providerId="LiveId" clId="{BFA3574A-714B-4D42-BD39-17320CF74B87}" dt="2021-08-04T01:52:07.152" v="204"/>
        <pc:sldMkLst>
          <pc:docMk/>
          <pc:sldMk cId="2694318807" sldId="2007"/>
        </pc:sldMkLst>
      </pc:sldChg>
      <pc:sldChg chg="add">
        <pc:chgData name="Aurelien Domont" userId="6da7715ce44349b3" providerId="LiveId" clId="{BFA3574A-714B-4D42-BD39-17320CF74B87}" dt="2021-08-04T01:52:07.152" v="204"/>
        <pc:sldMkLst>
          <pc:docMk/>
          <pc:sldMk cId="3512896718" sldId="2008"/>
        </pc:sldMkLst>
      </pc:sldChg>
      <pc:sldChg chg="add">
        <pc:chgData name="Aurelien Domont" userId="6da7715ce44349b3" providerId="LiveId" clId="{BFA3574A-714B-4D42-BD39-17320CF74B87}" dt="2021-08-04T01:52:17.588" v="205"/>
        <pc:sldMkLst>
          <pc:docMk/>
          <pc:sldMk cId="3743231244" sldId="2010"/>
        </pc:sldMkLst>
      </pc:sldChg>
      <pc:sldChg chg="add">
        <pc:chgData name="Aurelien Domont" userId="6da7715ce44349b3" providerId="LiveId" clId="{BFA3574A-714B-4D42-BD39-17320CF74B87}" dt="2021-08-04T01:52:17.588" v="205"/>
        <pc:sldMkLst>
          <pc:docMk/>
          <pc:sldMk cId="3270380878" sldId="2011"/>
        </pc:sldMkLst>
      </pc:sldChg>
      <pc:sldChg chg="add">
        <pc:chgData name="Aurelien Domont" userId="6da7715ce44349b3" providerId="LiveId" clId="{BFA3574A-714B-4D42-BD39-17320CF74B87}" dt="2021-08-04T01:52:50.937" v="206"/>
        <pc:sldMkLst>
          <pc:docMk/>
          <pc:sldMk cId="423301223" sldId="2148"/>
        </pc:sldMkLst>
      </pc:sldChg>
      <pc:sldChg chg="add">
        <pc:chgData name="Aurelien Domont" userId="6da7715ce44349b3" providerId="LiveId" clId="{BFA3574A-714B-4D42-BD39-17320CF74B87}" dt="2021-08-04T01:52:50.937" v="206"/>
        <pc:sldMkLst>
          <pc:docMk/>
          <pc:sldMk cId="1324642353" sldId="2152"/>
        </pc:sldMkLst>
      </pc:sldChg>
      <pc:sldChg chg="add">
        <pc:chgData name="Aurelien Domont" userId="6da7715ce44349b3" providerId="LiveId" clId="{BFA3574A-714B-4D42-BD39-17320CF74B87}" dt="2021-08-04T01:52:50.937" v="206"/>
        <pc:sldMkLst>
          <pc:docMk/>
          <pc:sldMk cId="2226532108" sldId="2153"/>
        </pc:sldMkLst>
      </pc:sldChg>
      <pc:sldChg chg="add">
        <pc:chgData name="Aurelien Domont" userId="6da7715ce44349b3" providerId="LiveId" clId="{BFA3574A-714B-4D42-BD39-17320CF74B87}" dt="2021-08-04T01:52:50.937" v="206"/>
        <pc:sldMkLst>
          <pc:docMk/>
          <pc:sldMk cId="3613236081" sldId="2154"/>
        </pc:sldMkLst>
      </pc:sldChg>
      <pc:sldChg chg="add">
        <pc:chgData name="Aurelien Domont" userId="6da7715ce44349b3" providerId="LiveId" clId="{BFA3574A-714B-4D42-BD39-17320CF74B87}" dt="2021-08-04T01:52:50.937" v="206"/>
        <pc:sldMkLst>
          <pc:docMk/>
          <pc:sldMk cId="3175191540" sldId="2155"/>
        </pc:sldMkLst>
      </pc:sldChg>
      <pc:sldChg chg="modSp mod">
        <pc:chgData name="Aurelien Domont" userId="6da7715ce44349b3" providerId="LiveId" clId="{BFA3574A-714B-4D42-BD39-17320CF74B87}" dt="2021-08-04T01:45:17.116" v="24"/>
        <pc:sldMkLst>
          <pc:docMk/>
          <pc:sldMk cId="3387366193" sldId="2210"/>
        </pc:sldMkLst>
        <pc:spChg chg="mod">
          <ac:chgData name="Aurelien Domont" userId="6da7715ce44349b3" providerId="LiveId" clId="{BFA3574A-714B-4D42-BD39-17320CF74B87}" dt="2021-08-04T01:42:32.584" v="13" actId="108"/>
          <ac:spMkLst>
            <pc:docMk/>
            <pc:sldMk cId="3387366193" sldId="2210"/>
            <ac:spMk id="6" creationId="{80C2FA24-C3FF-4F99-8694-BA262AB8070A}"/>
          </ac:spMkLst>
        </pc:spChg>
        <pc:spChg chg="mod">
          <ac:chgData name="Aurelien Domont" userId="6da7715ce44349b3" providerId="LiveId" clId="{BFA3574A-714B-4D42-BD39-17320CF74B87}" dt="2021-08-04T01:45:17.116" v="24"/>
          <ac:spMkLst>
            <pc:docMk/>
            <pc:sldMk cId="3387366193" sldId="2210"/>
            <ac:spMk id="7" creationId="{AA474FA7-23F8-48D3-A4A1-46C7E7EF8CBF}"/>
          </ac:spMkLst>
        </pc:spChg>
        <pc:spChg chg="mod">
          <ac:chgData name="Aurelien Domont" userId="6da7715ce44349b3" providerId="LiveId" clId="{BFA3574A-714B-4D42-BD39-17320CF74B87}" dt="2021-08-04T01:42:05.234" v="11" actId="20577"/>
          <ac:spMkLst>
            <pc:docMk/>
            <pc:sldMk cId="3387366193" sldId="2210"/>
            <ac:spMk id="16" creationId="{6C2BB713-9637-4B9B-938F-E9768876782A}"/>
          </ac:spMkLst>
        </pc:spChg>
      </pc:sldChg>
      <pc:sldChg chg="del">
        <pc:chgData name="Aurelien Domont" userId="6da7715ce44349b3" providerId="LiveId" clId="{BFA3574A-714B-4D42-BD39-17320CF74B87}" dt="2021-08-04T01:42:44.559" v="14" actId="47"/>
        <pc:sldMkLst>
          <pc:docMk/>
          <pc:sldMk cId="1606115664" sldId="2211"/>
        </pc:sldMkLst>
      </pc:sldChg>
      <pc:sldChg chg="del">
        <pc:chgData name="Aurelien Domont" userId="6da7715ce44349b3" providerId="LiveId" clId="{BFA3574A-714B-4D42-BD39-17320CF74B87}" dt="2021-08-04T01:42:44.559" v="14" actId="47"/>
        <pc:sldMkLst>
          <pc:docMk/>
          <pc:sldMk cId="4071827958" sldId="2212"/>
        </pc:sldMkLst>
      </pc:sldChg>
      <pc:sldChg chg="del">
        <pc:chgData name="Aurelien Domont" userId="6da7715ce44349b3" providerId="LiveId" clId="{BFA3574A-714B-4D42-BD39-17320CF74B87}" dt="2021-08-04T01:42:44.559" v="14" actId="47"/>
        <pc:sldMkLst>
          <pc:docMk/>
          <pc:sldMk cId="2830153641" sldId="2213"/>
        </pc:sldMkLst>
      </pc:sldChg>
      <pc:sldChg chg="del">
        <pc:chgData name="Aurelien Domont" userId="6da7715ce44349b3" providerId="LiveId" clId="{BFA3574A-714B-4D42-BD39-17320CF74B87}" dt="2021-08-04T01:42:44.559" v="14" actId="47"/>
        <pc:sldMkLst>
          <pc:docMk/>
          <pc:sldMk cId="591466441" sldId="2214"/>
        </pc:sldMkLst>
      </pc:sldChg>
      <pc:sldChg chg="del">
        <pc:chgData name="Aurelien Domont" userId="6da7715ce44349b3" providerId="LiveId" clId="{BFA3574A-714B-4D42-BD39-17320CF74B87}" dt="2021-08-04T01:42:44.559" v="14" actId="47"/>
        <pc:sldMkLst>
          <pc:docMk/>
          <pc:sldMk cId="183176033" sldId="2215"/>
        </pc:sldMkLst>
      </pc:sldChg>
      <pc:sldChg chg="del">
        <pc:chgData name="Aurelien Domont" userId="6da7715ce44349b3" providerId="LiveId" clId="{BFA3574A-714B-4D42-BD39-17320CF74B87}" dt="2021-08-04T01:42:44.559" v="14" actId="47"/>
        <pc:sldMkLst>
          <pc:docMk/>
          <pc:sldMk cId="750920449" sldId="2217"/>
        </pc:sldMkLst>
      </pc:sldChg>
      <pc:sldChg chg="del">
        <pc:chgData name="Aurelien Domont" userId="6da7715ce44349b3" providerId="LiveId" clId="{BFA3574A-714B-4D42-BD39-17320CF74B87}" dt="2021-08-04T01:42:44.559" v="14" actId="47"/>
        <pc:sldMkLst>
          <pc:docMk/>
          <pc:sldMk cId="1946714202" sldId="2218"/>
        </pc:sldMkLst>
      </pc:sldChg>
      <pc:sldChg chg="del">
        <pc:chgData name="Aurelien Domont" userId="6da7715ce44349b3" providerId="LiveId" clId="{BFA3574A-714B-4D42-BD39-17320CF74B87}" dt="2021-08-04T01:42:44.559" v="14" actId="47"/>
        <pc:sldMkLst>
          <pc:docMk/>
          <pc:sldMk cId="3886034307" sldId="2219"/>
        </pc:sldMkLst>
      </pc:sldChg>
      <pc:sldChg chg="del">
        <pc:chgData name="Aurelien Domont" userId="6da7715ce44349b3" providerId="LiveId" clId="{BFA3574A-714B-4D42-BD39-17320CF74B87}" dt="2021-08-04T01:42:44.559" v="14" actId="47"/>
        <pc:sldMkLst>
          <pc:docMk/>
          <pc:sldMk cId="4236693973" sldId="2220"/>
        </pc:sldMkLst>
      </pc:sldChg>
      <pc:sldChg chg="modSp mod">
        <pc:chgData name="Aurelien Domont" userId="6da7715ce44349b3" providerId="LiveId" clId="{BFA3574A-714B-4D42-BD39-17320CF74B87}" dt="2021-08-04T01:45:14.478" v="23"/>
        <pc:sldMkLst>
          <pc:docMk/>
          <pc:sldMk cId="2401267023" sldId="2221"/>
        </pc:sldMkLst>
        <pc:spChg chg="mod">
          <ac:chgData name="Aurelien Domont" userId="6da7715ce44349b3" providerId="LiveId" clId="{BFA3574A-714B-4D42-BD39-17320CF74B87}" dt="2021-08-04T01:45:14.478" v="23"/>
          <ac:spMkLst>
            <pc:docMk/>
            <pc:sldMk cId="2401267023" sldId="2221"/>
            <ac:spMk id="7" creationId="{AA474FA7-23F8-48D3-A4A1-46C7E7EF8CBF}"/>
          </ac:spMkLst>
        </pc:spChg>
        <pc:spChg chg="mod">
          <ac:chgData name="Aurelien Domont" userId="6da7715ce44349b3" providerId="LiveId" clId="{BFA3574A-714B-4D42-BD39-17320CF74B87}" dt="2021-08-04T01:43:32.091" v="20" actId="20577"/>
          <ac:spMkLst>
            <pc:docMk/>
            <pc:sldMk cId="2401267023" sldId="2221"/>
            <ac:spMk id="16" creationId="{6C2BB713-9637-4B9B-938F-E9768876782A}"/>
          </ac:spMkLst>
        </pc:spChg>
        <pc:spChg chg="mod">
          <ac:chgData name="Aurelien Domont" userId="6da7715ce44349b3" providerId="LiveId" clId="{BFA3574A-714B-4D42-BD39-17320CF74B87}" dt="2021-08-04T01:43:43.927" v="21" actId="108"/>
          <ac:spMkLst>
            <pc:docMk/>
            <pc:sldMk cId="2401267023" sldId="2221"/>
            <ac:spMk id="44" creationId="{B37241D5-D790-45E8-BF55-A1BE78BE73CE}"/>
          </ac:spMkLst>
        </pc:spChg>
      </pc:sldChg>
      <pc:sldChg chg="addSp modSp add mod">
        <pc:chgData name="Aurelien Domont" userId="6da7715ce44349b3" providerId="LiveId" clId="{BFA3574A-714B-4D42-BD39-17320CF74B87}" dt="2021-08-04T01:47:52.749" v="95" actId="167"/>
        <pc:sldMkLst>
          <pc:docMk/>
          <pc:sldMk cId="921073650" sldId="2222"/>
        </pc:sldMkLst>
        <pc:spChg chg="add mod ord">
          <ac:chgData name="Aurelien Domont" userId="6da7715ce44349b3" providerId="LiveId" clId="{BFA3574A-714B-4D42-BD39-17320CF74B87}" dt="2021-08-04T01:47:52.749" v="95" actId="167"/>
          <ac:spMkLst>
            <pc:docMk/>
            <pc:sldMk cId="921073650" sldId="2222"/>
            <ac:spMk id="17" creationId="{3C43C462-9295-430C-A64A-248A49ED20DF}"/>
          </ac:spMkLst>
        </pc:spChg>
      </pc:sldChg>
      <pc:sldChg chg="del">
        <pc:chgData name="Aurelien Domont" userId="6da7715ce44349b3" providerId="LiveId" clId="{BFA3574A-714B-4D42-BD39-17320CF74B87}" dt="2021-08-04T01:42:44.559" v="14" actId="47"/>
        <pc:sldMkLst>
          <pc:docMk/>
          <pc:sldMk cId="3113089428" sldId="2222"/>
        </pc:sldMkLst>
      </pc:sldChg>
      <pc:sldChg chg="del">
        <pc:chgData name="Aurelien Domont" userId="6da7715ce44349b3" providerId="LiveId" clId="{BFA3574A-714B-4D42-BD39-17320CF74B87}" dt="2021-08-04T01:42:44.559" v="14" actId="47"/>
        <pc:sldMkLst>
          <pc:docMk/>
          <pc:sldMk cId="41853081" sldId="2223"/>
        </pc:sldMkLst>
      </pc:sldChg>
      <pc:sldChg chg="modSp add mod">
        <pc:chgData name="Aurelien Domont" userId="6da7715ce44349b3" providerId="LiveId" clId="{BFA3574A-714B-4D42-BD39-17320CF74B87}" dt="2021-08-04T01:48:34.688" v="112" actId="1036"/>
        <pc:sldMkLst>
          <pc:docMk/>
          <pc:sldMk cId="1399210170" sldId="2223"/>
        </pc:sldMkLst>
        <pc:spChg chg="mod">
          <ac:chgData name="Aurelien Domont" userId="6da7715ce44349b3" providerId="LiveId" clId="{BFA3574A-714B-4D42-BD39-17320CF74B87}" dt="2021-08-04T01:48:34.688" v="112" actId="1036"/>
          <ac:spMkLst>
            <pc:docMk/>
            <pc:sldMk cId="1399210170" sldId="2223"/>
            <ac:spMk id="17" creationId="{3C43C462-9295-430C-A64A-248A49ED20DF}"/>
          </ac:spMkLst>
        </pc:spChg>
      </pc:sldChg>
      <pc:sldChg chg="modSp add mod">
        <pc:chgData name="Aurelien Domont" userId="6da7715ce44349b3" providerId="LiveId" clId="{BFA3574A-714B-4D42-BD39-17320CF74B87}" dt="2021-08-04T01:49:48.568" v="136" actId="1036"/>
        <pc:sldMkLst>
          <pc:docMk/>
          <pc:sldMk cId="2925081276" sldId="2224"/>
        </pc:sldMkLst>
        <pc:spChg chg="mod">
          <ac:chgData name="Aurelien Domont" userId="6da7715ce44349b3" providerId="LiveId" clId="{BFA3574A-714B-4D42-BD39-17320CF74B87}" dt="2021-08-04T01:49:48.568" v="136" actId="1036"/>
          <ac:spMkLst>
            <pc:docMk/>
            <pc:sldMk cId="2925081276" sldId="2224"/>
            <ac:spMk id="17" creationId="{3C43C462-9295-430C-A64A-248A49ED20DF}"/>
          </ac:spMkLst>
        </pc:spChg>
      </pc:sldChg>
      <pc:sldChg chg="modSp add mod">
        <pc:chgData name="Aurelien Domont" userId="6da7715ce44349b3" providerId="LiveId" clId="{BFA3574A-714B-4D42-BD39-17320CF74B87}" dt="2021-08-04T01:49:59.758" v="149" actId="1036"/>
        <pc:sldMkLst>
          <pc:docMk/>
          <pc:sldMk cId="2380777894" sldId="2225"/>
        </pc:sldMkLst>
        <pc:spChg chg="mod">
          <ac:chgData name="Aurelien Domont" userId="6da7715ce44349b3" providerId="LiveId" clId="{BFA3574A-714B-4D42-BD39-17320CF74B87}" dt="2021-08-04T01:49:59.758" v="149" actId="1036"/>
          <ac:spMkLst>
            <pc:docMk/>
            <pc:sldMk cId="2380777894" sldId="2225"/>
            <ac:spMk id="17" creationId="{3C43C462-9295-430C-A64A-248A49ED20DF}"/>
          </ac:spMkLst>
        </pc:spChg>
      </pc:sldChg>
      <pc:sldChg chg="add del">
        <pc:chgData name="Aurelien Domont" userId="6da7715ce44349b3" providerId="LiveId" clId="{BFA3574A-714B-4D42-BD39-17320CF74B87}" dt="2021-08-04T01:50:09.484" v="151"/>
        <pc:sldMkLst>
          <pc:docMk/>
          <pc:sldMk cId="3976994834" sldId="2226"/>
        </pc:sldMkLst>
      </pc:sldChg>
      <pc:sldChg chg="modSp add mod">
        <pc:chgData name="Aurelien Domont" userId="6da7715ce44349b3" providerId="LiveId" clId="{BFA3574A-714B-4D42-BD39-17320CF74B87}" dt="2021-08-04T01:50:23.222" v="169" actId="1036"/>
        <pc:sldMkLst>
          <pc:docMk/>
          <pc:sldMk cId="4177594278" sldId="2226"/>
        </pc:sldMkLst>
        <pc:spChg chg="mod">
          <ac:chgData name="Aurelien Domont" userId="6da7715ce44349b3" providerId="LiveId" clId="{BFA3574A-714B-4D42-BD39-17320CF74B87}" dt="2021-08-04T01:50:23.222" v="169" actId="1036"/>
          <ac:spMkLst>
            <pc:docMk/>
            <pc:sldMk cId="4177594278" sldId="2226"/>
            <ac:spMk id="17" creationId="{3C43C462-9295-430C-A64A-248A49ED20DF}"/>
          </ac:spMkLst>
        </pc:spChg>
      </pc:sldChg>
      <pc:sldChg chg="modSp add mod">
        <pc:chgData name="Aurelien Domont" userId="6da7715ce44349b3" providerId="LiveId" clId="{BFA3574A-714B-4D42-BD39-17320CF74B87}" dt="2021-08-04T01:50:31.235" v="184" actId="1035"/>
        <pc:sldMkLst>
          <pc:docMk/>
          <pc:sldMk cId="3833958801" sldId="2227"/>
        </pc:sldMkLst>
        <pc:spChg chg="mod">
          <ac:chgData name="Aurelien Domont" userId="6da7715ce44349b3" providerId="LiveId" clId="{BFA3574A-714B-4D42-BD39-17320CF74B87}" dt="2021-08-04T01:50:31.235" v="184" actId="1035"/>
          <ac:spMkLst>
            <pc:docMk/>
            <pc:sldMk cId="3833958801" sldId="2227"/>
            <ac:spMk id="17" creationId="{3C43C462-9295-430C-A64A-248A49ED20DF}"/>
          </ac:spMkLst>
        </pc:spChg>
      </pc:sldChg>
      <pc:sldChg chg="modSp add mod">
        <pc:chgData name="Aurelien Domont" userId="6da7715ce44349b3" providerId="LiveId" clId="{BFA3574A-714B-4D42-BD39-17320CF74B87}" dt="2021-08-04T01:50:39.509" v="201" actId="1036"/>
        <pc:sldMkLst>
          <pc:docMk/>
          <pc:sldMk cId="1279023810" sldId="2228"/>
        </pc:sldMkLst>
        <pc:spChg chg="mod">
          <ac:chgData name="Aurelien Domont" userId="6da7715ce44349b3" providerId="LiveId" clId="{BFA3574A-714B-4D42-BD39-17320CF74B87}" dt="2021-08-04T01:50:39.509" v="201" actId="1036"/>
          <ac:spMkLst>
            <pc:docMk/>
            <pc:sldMk cId="1279023810" sldId="2228"/>
            <ac:spMk id="17" creationId="{3C43C462-9295-430C-A64A-248A49ED20DF}"/>
          </ac:spMkLst>
        </pc:spChg>
      </pc:sldChg>
    </pc:docChg>
  </pc:docChgLst>
  <pc:docChgLst>
    <pc:chgData name="Aurelien Domont" userId="6da7715ce44349b3" providerId="LiveId" clId="{BFF74DCD-256C-4E69-A218-625767FFD894}"/>
    <pc:docChg chg="undo custSel addSld modSld">
      <pc:chgData name="Aurelien Domont" userId="6da7715ce44349b3" providerId="LiveId" clId="{BFF74DCD-256C-4E69-A218-625767FFD894}" dt="2021-08-05T06:12:01.469" v="1381"/>
      <pc:docMkLst>
        <pc:docMk/>
      </pc:docMkLst>
      <pc:sldChg chg="addSp modSp">
        <pc:chgData name="Aurelien Domont" userId="6da7715ce44349b3" providerId="LiveId" clId="{BFF74DCD-256C-4E69-A218-625767FFD894}" dt="2021-08-05T03:43:14.138" v="1"/>
        <pc:sldMkLst>
          <pc:docMk/>
          <pc:sldMk cId="3131901387" sldId="256"/>
        </pc:sldMkLst>
        <pc:spChg chg="add mod">
          <ac:chgData name="Aurelien Domont" userId="6da7715ce44349b3" providerId="LiveId" clId="{BFF74DCD-256C-4E69-A218-625767FFD894}" dt="2021-08-05T03:43:14.138" v="1"/>
          <ac:spMkLst>
            <pc:docMk/>
            <pc:sldMk cId="3131901387" sldId="256"/>
            <ac:spMk id="12" creationId="{B2F5C760-EB37-4D8B-AF4B-35DCD04D5F04}"/>
          </ac:spMkLst>
        </pc:spChg>
      </pc:sldChg>
      <pc:sldChg chg="addSp modSp">
        <pc:chgData name="Aurelien Domont" userId="6da7715ce44349b3" providerId="LiveId" clId="{BFF74DCD-256C-4E69-A218-625767FFD894}" dt="2021-08-05T03:43:40.994" v="2"/>
        <pc:sldMkLst>
          <pc:docMk/>
          <pc:sldMk cId="2114802062" sldId="1649"/>
        </pc:sldMkLst>
        <pc:spChg chg="add mod">
          <ac:chgData name="Aurelien Domont" userId="6da7715ce44349b3" providerId="LiveId" clId="{BFF74DCD-256C-4E69-A218-625767FFD894}" dt="2021-08-05T03:43:40.994" v="2"/>
          <ac:spMkLst>
            <pc:docMk/>
            <pc:sldMk cId="2114802062" sldId="1649"/>
            <ac:spMk id="17" creationId="{18260830-3C9E-434A-9FF3-04977914FEC2}"/>
          </ac:spMkLst>
        </pc:spChg>
        <pc:spChg chg="add mod">
          <ac:chgData name="Aurelien Domont" userId="6da7715ce44349b3" providerId="LiveId" clId="{BFF74DCD-256C-4E69-A218-625767FFD894}" dt="2021-08-05T03:43:40.994" v="2"/>
          <ac:spMkLst>
            <pc:docMk/>
            <pc:sldMk cId="2114802062" sldId="1649"/>
            <ac:spMk id="18" creationId="{19E1B10D-3871-496C-808E-2E8B86293B64}"/>
          </ac:spMkLst>
        </pc:spChg>
      </pc:sldChg>
      <pc:sldChg chg="addSp modSp mod">
        <pc:chgData name="Aurelien Domont" userId="6da7715ce44349b3" providerId="LiveId" clId="{BFF74DCD-256C-4E69-A218-625767FFD894}" dt="2021-08-05T03:59:44.117" v="1228" actId="33524"/>
        <pc:sldMkLst>
          <pc:docMk/>
          <pc:sldMk cId="2064558966" sldId="1650"/>
        </pc:sldMkLst>
        <pc:spChg chg="add mod">
          <ac:chgData name="Aurelien Domont" userId="6da7715ce44349b3" providerId="LiveId" clId="{BFF74DCD-256C-4E69-A218-625767FFD894}" dt="2021-08-05T03:59:44.117" v="1228" actId="33524"/>
          <ac:spMkLst>
            <pc:docMk/>
            <pc:sldMk cId="2064558966" sldId="1650"/>
            <ac:spMk id="31" creationId="{C8B18CE9-80D3-42C9-A2D2-12945E77573C}"/>
          </ac:spMkLst>
        </pc:spChg>
      </pc:sldChg>
      <pc:sldChg chg="addSp modSp mod">
        <pc:chgData name="Aurelien Domont" userId="6da7715ce44349b3" providerId="LiveId" clId="{BFF74DCD-256C-4E69-A218-625767FFD894}" dt="2021-08-05T04:01:24.347" v="1248" actId="1076"/>
        <pc:sldMkLst>
          <pc:docMk/>
          <pc:sldMk cId="4173839463" sldId="1651"/>
        </pc:sldMkLst>
        <pc:spChg chg="add mod">
          <ac:chgData name="Aurelien Domont" userId="6da7715ce44349b3" providerId="LiveId" clId="{BFF74DCD-256C-4E69-A218-625767FFD894}" dt="2021-08-05T04:01:24.347" v="1248" actId="1076"/>
          <ac:spMkLst>
            <pc:docMk/>
            <pc:sldMk cId="4173839463" sldId="1651"/>
            <ac:spMk id="26" creationId="{10560839-1D12-4413-A70D-62EE2944F2C3}"/>
          </ac:spMkLst>
        </pc:spChg>
      </pc:sldChg>
      <pc:sldChg chg="addSp delSp modSp mod">
        <pc:chgData name="Aurelien Domont" userId="6da7715ce44349b3" providerId="LiveId" clId="{BFF74DCD-256C-4E69-A218-625767FFD894}" dt="2021-08-05T04:07:26.922" v="1275" actId="478"/>
        <pc:sldMkLst>
          <pc:docMk/>
          <pc:sldMk cId="1077011628" sldId="1652"/>
        </pc:sldMkLst>
        <pc:spChg chg="add del mod">
          <ac:chgData name="Aurelien Domont" userId="6da7715ce44349b3" providerId="LiveId" clId="{BFF74DCD-256C-4E69-A218-625767FFD894}" dt="2021-08-05T04:07:26.922" v="1275" actId="478"/>
          <ac:spMkLst>
            <pc:docMk/>
            <pc:sldMk cId="1077011628" sldId="1652"/>
            <ac:spMk id="31" creationId="{4C0634A1-DF88-4614-9D4C-D8496258CCEA}"/>
          </ac:spMkLst>
        </pc:spChg>
      </pc:sldChg>
      <pc:sldChg chg="addSp delSp modSp add mod">
        <pc:chgData name="Aurelien Domont" userId="6da7715ce44349b3" providerId="LiveId" clId="{BFF74DCD-256C-4E69-A218-625767FFD894}" dt="2021-08-05T03:45:32.137" v="49"/>
        <pc:sldMkLst>
          <pc:docMk/>
          <pc:sldMk cId="3800878474" sldId="1668"/>
        </pc:sldMkLst>
        <pc:spChg chg="add del mod">
          <ac:chgData name="Aurelien Domont" userId="6da7715ce44349b3" providerId="LiveId" clId="{BFF74DCD-256C-4E69-A218-625767FFD894}" dt="2021-08-05T03:45:31.826" v="48" actId="478"/>
          <ac:spMkLst>
            <pc:docMk/>
            <pc:sldMk cId="3800878474" sldId="1668"/>
            <ac:spMk id="36" creationId="{EA66EA22-ADE1-4843-B75E-54ADF6F4FCF5}"/>
          </ac:spMkLst>
        </pc:spChg>
        <pc:spChg chg="add mod">
          <ac:chgData name="Aurelien Domont" userId="6da7715ce44349b3" providerId="LiveId" clId="{BFF74DCD-256C-4E69-A218-625767FFD894}" dt="2021-08-05T03:45:32.137" v="49"/>
          <ac:spMkLst>
            <pc:docMk/>
            <pc:sldMk cId="3800878474" sldId="1668"/>
            <ac:spMk id="37" creationId="{6A491EEB-8D1F-4117-A312-557EDAC50B12}"/>
          </ac:spMkLst>
        </pc:spChg>
      </pc:sldChg>
      <pc:sldChg chg="addSp delSp modSp add mod">
        <pc:chgData name="Aurelien Domont" userId="6da7715ce44349b3" providerId="LiveId" clId="{BFF74DCD-256C-4E69-A218-625767FFD894}" dt="2021-08-05T03:45:35.174" v="51"/>
        <pc:sldMkLst>
          <pc:docMk/>
          <pc:sldMk cId="3527372700" sldId="1669"/>
        </pc:sldMkLst>
        <pc:spChg chg="add del mod">
          <ac:chgData name="Aurelien Domont" userId="6da7715ce44349b3" providerId="LiveId" clId="{BFF74DCD-256C-4E69-A218-625767FFD894}" dt="2021-08-05T03:45:34.999" v="50" actId="478"/>
          <ac:spMkLst>
            <pc:docMk/>
            <pc:sldMk cId="3527372700" sldId="1669"/>
            <ac:spMk id="37" creationId="{35542384-C172-42FD-9114-0B2CD001B175}"/>
          </ac:spMkLst>
        </pc:spChg>
        <pc:spChg chg="add mod">
          <ac:chgData name="Aurelien Domont" userId="6da7715ce44349b3" providerId="LiveId" clId="{BFF74DCD-256C-4E69-A218-625767FFD894}" dt="2021-08-05T03:45:35.174" v="51"/>
          <ac:spMkLst>
            <pc:docMk/>
            <pc:sldMk cId="3527372700" sldId="1669"/>
            <ac:spMk id="38" creationId="{35CF97DE-8569-457C-BB17-A9DD72D90AC3}"/>
          </ac:spMkLst>
        </pc:spChg>
      </pc:sldChg>
      <pc:sldChg chg="addSp delSp modSp add mod">
        <pc:chgData name="Aurelien Domont" userId="6da7715ce44349b3" providerId="LiveId" clId="{BFF74DCD-256C-4E69-A218-625767FFD894}" dt="2021-08-05T03:45:38.528" v="53"/>
        <pc:sldMkLst>
          <pc:docMk/>
          <pc:sldMk cId="1920170992" sldId="1670"/>
        </pc:sldMkLst>
        <pc:spChg chg="add del mod">
          <ac:chgData name="Aurelien Domont" userId="6da7715ce44349b3" providerId="LiveId" clId="{BFF74DCD-256C-4E69-A218-625767FFD894}" dt="2021-08-05T03:45:38.418" v="52" actId="478"/>
          <ac:spMkLst>
            <pc:docMk/>
            <pc:sldMk cId="1920170992" sldId="1670"/>
            <ac:spMk id="10" creationId="{0D55EDE4-92A4-4865-AB8A-CD63C575D2E6}"/>
          </ac:spMkLst>
        </pc:spChg>
        <pc:spChg chg="add mod">
          <ac:chgData name="Aurelien Domont" userId="6da7715ce44349b3" providerId="LiveId" clId="{BFF74DCD-256C-4E69-A218-625767FFD894}" dt="2021-08-05T03:45:38.528" v="53"/>
          <ac:spMkLst>
            <pc:docMk/>
            <pc:sldMk cId="1920170992" sldId="1670"/>
            <ac:spMk id="11" creationId="{5D1821D0-077C-4C91-AD1A-7DF5BC2EFF7E}"/>
          </ac:spMkLst>
        </pc:spChg>
      </pc:sldChg>
      <pc:sldChg chg="addSp delSp modSp add mod">
        <pc:chgData name="Aurelien Domont" userId="6da7715ce44349b3" providerId="LiveId" clId="{BFF74DCD-256C-4E69-A218-625767FFD894}" dt="2021-08-05T03:45:41.929" v="55"/>
        <pc:sldMkLst>
          <pc:docMk/>
          <pc:sldMk cId="1993088731" sldId="1671"/>
        </pc:sldMkLst>
        <pc:spChg chg="add del mod">
          <ac:chgData name="Aurelien Domont" userId="6da7715ce44349b3" providerId="LiveId" clId="{BFF74DCD-256C-4E69-A218-625767FFD894}" dt="2021-08-05T03:45:41.726" v="54" actId="478"/>
          <ac:spMkLst>
            <pc:docMk/>
            <pc:sldMk cId="1993088731" sldId="1671"/>
            <ac:spMk id="23" creationId="{78F62DEA-644C-42DA-B2C6-F25BF7B831CC}"/>
          </ac:spMkLst>
        </pc:spChg>
        <pc:spChg chg="add mod">
          <ac:chgData name="Aurelien Domont" userId="6da7715ce44349b3" providerId="LiveId" clId="{BFF74DCD-256C-4E69-A218-625767FFD894}" dt="2021-08-05T03:45:41.929" v="55"/>
          <ac:spMkLst>
            <pc:docMk/>
            <pc:sldMk cId="1993088731" sldId="1671"/>
            <ac:spMk id="24" creationId="{24580747-588C-45A9-B860-06A1C300071D}"/>
          </ac:spMkLst>
        </pc:spChg>
      </pc:sldChg>
      <pc:sldChg chg="addSp delSp modSp add mod">
        <pc:chgData name="Aurelien Domont" userId="6da7715ce44349b3" providerId="LiveId" clId="{BFF74DCD-256C-4E69-A218-625767FFD894}" dt="2021-08-05T03:45:45.271" v="57"/>
        <pc:sldMkLst>
          <pc:docMk/>
          <pc:sldMk cId="1575953849" sldId="1672"/>
        </pc:sldMkLst>
        <pc:spChg chg="add del mod">
          <ac:chgData name="Aurelien Domont" userId="6da7715ce44349b3" providerId="LiveId" clId="{BFF74DCD-256C-4E69-A218-625767FFD894}" dt="2021-08-05T03:45:45.169" v="56" actId="478"/>
          <ac:spMkLst>
            <pc:docMk/>
            <pc:sldMk cId="1575953849" sldId="1672"/>
            <ac:spMk id="23" creationId="{AF85F65B-3B75-4A23-B8EB-12D811471EA2}"/>
          </ac:spMkLst>
        </pc:spChg>
        <pc:spChg chg="add mod">
          <ac:chgData name="Aurelien Domont" userId="6da7715ce44349b3" providerId="LiveId" clId="{BFF74DCD-256C-4E69-A218-625767FFD894}" dt="2021-08-05T03:45:45.271" v="57"/>
          <ac:spMkLst>
            <pc:docMk/>
            <pc:sldMk cId="1575953849" sldId="1672"/>
            <ac:spMk id="24" creationId="{F064F178-7A00-4490-9FC0-7C8638DBD207}"/>
          </ac:spMkLst>
        </pc:spChg>
      </pc:sldChg>
      <pc:sldChg chg="addSp modSp add">
        <pc:chgData name="Aurelien Domont" userId="6da7715ce44349b3" providerId="LiveId" clId="{BFF74DCD-256C-4E69-A218-625767FFD894}" dt="2021-08-05T03:45:51.005" v="58"/>
        <pc:sldMkLst>
          <pc:docMk/>
          <pc:sldMk cId="1911082448" sldId="1673"/>
        </pc:sldMkLst>
        <pc:spChg chg="add mod">
          <ac:chgData name="Aurelien Domont" userId="6da7715ce44349b3" providerId="LiveId" clId="{BFF74DCD-256C-4E69-A218-625767FFD894}" dt="2021-08-05T03:45:51.005" v="58"/>
          <ac:spMkLst>
            <pc:docMk/>
            <pc:sldMk cId="1911082448" sldId="1673"/>
            <ac:spMk id="18" creationId="{A8DF7B9F-7DBA-45A7-B0B6-7E34FE66C382}"/>
          </ac:spMkLst>
        </pc:spChg>
      </pc:sldChg>
      <pc:sldChg chg="addSp modSp add">
        <pc:chgData name="Aurelien Domont" userId="6da7715ce44349b3" providerId="LiveId" clId="{BFF74DCD-256C-4E69-A218-625767FFD894}" dt="2021-08-05T03:45:52.860" v="59"/>
        <pc:sldMkLst>
          <pc:docMk/>
          <pc:sldMk cId="3979278789" sldId="1674"/>
        </pc:sldMkLst>
        <pc:spChg chg="add mod">
          <ac:chgData name="Aurelien Domont" userId="6da7715ce44349b3" providerId="LiveId" clId="{BFF74DCD-256C-4E69-A218-625767FFD894}" dt="2021-08-05T03:45:52.860" v="59"/>
          <ac:spMkLst>
            <pc:docMk/>
            <pc:sldMk cId="3979278789" sldId="1674"/>
            <ac:spMk id="18" creationId="{B8D2232F-D674-4596-9C4B-EC348103D3A9}"/>
          </ac:spMkLst>
        </pc:spChg>
      </pc:sldChg>
      <pc:sldChg chg="addSp delSp modSp add mod">
        <pc:chgData name="Aurelien Domont" userId="6da7715ce44349b3" providerId="LiveId" clId="{BFF74DCD-256C-4E69-A218-625767FFD894}" dt="2021-08-05T03:45:56.017" v="61" actId="478"/>
        <pc:sldMkLst>
          <pc:docMk/>
          <pc:sldMk cId="596656505" sldId="1675"/>
        </pc:sldMkLst>
        <pc:spChg chg="add del mod">
          <ac:chgData name="Aurelien Domont" userId="6da7715ce44349b3" providerId="LiveId" clId="{BFF74DCD-256C-4E69-A218-625767FFD894}" dt="2021-08-05T03:45:56.017" v="61" actId="478"/>
          <ac:spMkLst>
            <pc:docMk/>
            <pc:sldMk cId="596656505" sldId="1675"/>
            <ac:spMk id="23" creationId="{12EF825F-E156-411A-B427-623282977FCB}"/>
          </ac:spMkLst>
        </pc:spChg>
        <pc:spChg chg="add mod">
          <ac:chgData name="Aurelien Domont" userId="6da7715ce44349b3" providerId="LiveId" clId="{BFF74DCD-256C-4E69-A218-625767FFD894}" dt="2021-08-05T03:45:54.722" v="60"/>
          <ac:spMkLst>
            <pc:docMk/>
            <pc:sldMk cId="596656505" sldId="1675"/>
            <ac:spMk id="24" creationId="{DEB4C3C6-DA1C-4CA1-8E7C-FAFE59562391}"/>
          </ac:spMkLst>
        </pc:spChg>
      </pc:sldChg>
      <pc:sldChg chg="addSp modSp add mod">
        <pc:chgData name="Aurelien Domont" userId="6da7715ce44349b3" providerId="LiveId" clId="{BFF74DCD-256C-4E69-A218-625767FFD894}" dt="2021-08-05T03:45:05.186" v="41" actId="14100"/>
        <pc:sldMkLst>
          <pc:docMk/>
          <pc:sldMk cId="904598314" sldId="1676"/>
        </pc:sldMkLst>
        <pc:spChg chg="add mod">
          <ac:chgData name="Aurelien Domont" userId="6da7715ce44349b3" providerId="LiveId" clId="{BFF74DCD-256C-4E69-A218-625767FFD894}" dt="2021-08-05T03:45:05.186" v="41" actId="14100"/>
          <ac:spMkLst>
            <pc:docMk/>
            <pc:sldMk cId="904598314" sldId="1676"/>
            <ac:spMk id="47" creationId="{E46980B1-2FBE-46B0-BB7A-09479D6F01D5}"/>
          </ac:spMkLst>
        </pc:spChg>
      </pc:sldChg>
      <pc:sldChg chg="addSp modSp add">
        <pc:chgData name="Aurelien Domont" userId="6da7715ce44349b3" providerId="LiveId" clId="{BFF74DCD-256C-4E69-A218-625767FFD894}" dt="2021-08-05T03:45:09.291" v="42"/>
        <pc:sldMkLst>
          <pc:docMk/>
          <pc:sldMk cId="3863187025" sldId="1677"/>
        </pc:sldMkLst>
        <pc:spChg chg="add mod">
          <ac:chgData name="Aurelien Domont" userId="6da7715ce44349b3" providerId="LiveId" clId="{BFF74DCD-256C-4E69-A218-625767FFD894}" dt="2021-08-05T03:45:09.291" v="42"/>
          <ac:spMkLst>
            <pc:docMk/>
            <pc:sldMk cId="3863187025" sldId="1677"/>
            <ac:spMk id="37" creationId="{1653C172-1545-4D77-B66E-3270F2693F6A}"/>
          </ac:spMkLst>
        </pc:spChg>
      </pc:sldChg>
      <pc:sldChg chg="addSp modSp add">
        <pc:chgData name="Aurelien Domont" userId="6da7715ce44349b3" providerId="LiveId" clId="{BFF74DCD-256C-4E69-A218-625767FFD894}" dt="2021-08-05T03:45:11.449" v="43"/>
        <pc:sldMkLst>
          <pc:docMk/>
          <pc:sldMk cId="3917890172" sldId="1678"/>
        </pc:sldMkLst>
        <pc:spChg chg="add mod">
          <ac:chgData name="Aurelien Domont" userId="6da7715ce44349b3" providerId="LiveId" clId="{BFF74DCD-256C-4E69-A218-625767FFD894}" dt="2021-08-05T03:45:11.449" v="43"/>
          <ac:spMkLst>
            <pc:docMk/>
            <pc:sldMk cId="3917890172" sldId="1678"/>
            <ac:spMk id="27" creationId="{26A0BCA5-8BF3-4024-88C8-F0F02D3C8B99}"/>
          </ac:spMkLst>
        </pc:spChg>
      </pc:sldChg>
      <pc:sldChg chg="addSp modSp add">
        <pc:chgData name="Aurelien Domont" userId="6da7715ce44349b3" providerId="LiveId" clId="{BFF74DCD-256C-4E69-A218-625767FFD894}" dt="2021-08-05T03:45:12.734" v="44"/>
        <pc:sldMkLst>
          <pc:docMk/>
          <pc:sldMk cId="2920415411" sldId="1679"/>
        </pc:sldMkLst>
        <pc:spChg chg="add mod">
          <ac:chgData name="Aurelien Domont" userId="6da7715ce44349b3" providerId="LiveId" clId="{BFF74DCD-256C-4E69-A218-625767FFD894}" dt="2021-08-05T03:45:12.734" v="44"/>
          <ac:spMkLst>
            <pc:docMk/>
            <pc:sldMk cId="2920415411" sldId="1679"/>
            <ac:spMk id="22" creationId="{0623D736-D6DB-4CCE-9B88-A157DB9D6929}"/>
          </ac:spMkLst>
        </pc:spChg>
      </pc:sldChg>
      <pc:sldChg chg="addSp modSp add">
        <pc:chgData name="Aurelien Domont" userId="6da7715ce44349b3" providerId="LiveId" clId="{BFF74DCD-256C-4E69-A218-625767FFD894}" dt="2021-08-05T03:45:14.353" v="45"/>
        <pc:sldMkLst>
          <pc:docMk/>
          <pc:sldMk cId="297458219" sldId="1680"/>
        </pc:sldMkLst>
        <pc:spChg chg="add mod">
          <ac:chgData name="Aurelien Domont" userId="6da7715ce44349b3" providerId="LiveId" clId="{BFF74DCD-256C-4E69-A218-625767FFD894}" dt="2021-08-05T03:45:14.353" v="45"/>
          <ac:spMkLst>
            <pc:docMk/>
            <pc:sldMk cId="297458219" sldId="1680"/>
            <ac:spMk id="96" creationId="{DBDE1AEF-4614-4AFE-AC28-04ECAEC6ABC6}"/>
          </ac:spMkLst>
        </pc:spChg>
      </pc:sldChg>
      <pc:sldChg chg="addSp modSp add">
        <pc:chgData name="Aurelien Domont" userId="6da7715ce44349b3" providerId="LiveId" clId="{BFF74DCD-256C-4E69-A218-625767FFD894}" dt="2021-08-05T03:45:16.019" v="46"/>
        <pc:sldMkLst>
          <pc:docMk/>
          <pc:sldMk cId="1635324952" sldId="1681"/>
        </pc:sldMkLst>
        <pc:spChg chg="add mod">
          <ac:chgData name="Aurelien Domont" userId="6da7715ce44349b3" providerId="LiveId" clId="{BFF74DCD-256C-4E69-A218-625767FFD894}" dt="2021-08-05T03:45:16.019" v="46"/>
          <ac:spMkLst>
            <pc:docMk/>
            <pc:sldMk cId="1635324952" sldId="1681"/>
            <ac:spMk id="19" creationId="{4CE6E825-9A8F-4C0B-8D6C-C37447CD23B1}"/>
          </ac:spMkLst>
        </pc:spChg>
      </pc:sldChg>
      <pc:sldChg chg="addSp modSp add">
        <pc:chgData name="Aurelien Domont" userId="6da7715ce44349b3" providerId="LiveId" clId="{BFF74DCD-256C-4E69-A218-625767FFD894}" dt="2021-08-05T03:45:18.761" v="47"/>
        <pc:sldMkLst>
          <pc:docMk/>
          <pc:sldMk cId="3014197518" sldId="1682"/>
        </pc:sldMkLst>
        <pc:spChg chg="add mod">
          <ac:chgData name="Aurelien Domont" userId="6da7715ce44349b3" providerId="LiveId" clId="{BFF74DCD-256C-4E69-A218-625767FFD894}" dt="2021-08-05T03:45:18.761" v="47"/>
          <ac:spMkLst>
            <pc:docMk/>
            <pc:sldMk cId="3014197518" sldId="1682"/>
            <ac:spMk id="60" creationId="{FE410F44-E8DD-40E6-8FB8-C80159EFE7AC}"/>
          </ac:spMkLst>
        </pc:spChg>
      </pc:sldChg>
      <pc:sldChg chg="addSp modSp add mod">
        <pc:chgData name="Aurelien Domont" userId="6da7715ce44349b3" providerId="LiveId" clId="{BFF74DCD-256C-4E69-A218-625767FFD894}" dt="2021-08-05T06:09:46.686" v="1353" actId="20577"/>
        <pc:sldMkLst>
          <pc:docMk/>
          <pc:sldMk cId="1083128626" sldId="2010"/>
        </pc:sldMkLst>
        <pc:spChg chg="mod">
          <ac:chgData name="Aurelien Domont" userId="6da7715ce44349b3" providerId="LiveId" clId="{BFF74DCD-256C-4E69-A218-625767FFD894}" dt="2021-08-05T06:09:46.686" v="1353" actId="20577"/>
          <ac:spMkLst>
            <pc:docMk/>
            <pc:sldMk cId="1083128626" sldId="2010"/>
            <ac:spMk id="16" creationId="{6C2BB713-9637-4B9B-938F-E9768876782A}"/>
          </ac:spMkLst>
        </pc:spChg>
        <pc:spChg chg="add mod">
          <ac:chgData name="Aurelien Domont" userId="6da7715ce44349b3" providerId="LiveId" clId="{BFF74DCD-256C-4E69-A218-625767FFD894}" dt="2021-08-05T06:04:33.518" v="1312" actId="20577"/>
          <ac:spMkLst>
            <pc:docMk/>
            <pc:sldMk cId="1083128626" sldId="2010"/>
            <ac:spMk id="24" creationId="{55710458-5B78-4D33-946D-9E92D7302A91}"/>
          </ac:spMkLst>
        </pc:spChg>
      </pc:sldChg>
      <pc:sldChg chg="addSp modSp add mod">
        <pc:chgData name="Aurelien Domont" userId="6da7715ce44349b3" providerId="LiveId" clId="{BFF74DCD-256C-4E69-A218-625767FFD894}" dt="2021-08-05T06:11:03.281" v="1363" actId="20577"/>
        <pc:sldMkLst>
          <pc:docMk/>
          <pc:sldMk cId="4009456406" sldId="2011"/>
        </pc:sldMkLst>
        <pc:spChg chg="mod">
          <ac:chgData name="Aurelien Domont" userId="6da7715ce44349b3" providerId="LiveId" clId="{BFF74DCD-256C-4E69-A218-625767FFD894}" dt="2021-08-05T06:11:03.281" v="1363" actId="20577"/>
          <ac:spMkLst>
            <pc:docMk/>
            <pc:sldMk cId="4009456406" sldId="2011"/>
            <ac:spMk id="16" creationId="{6C2BB713-9637-4B9B-938F-E9768876782A}"/>
          </ac:spMkLst>
        </pc:spChg>
        <pc:spChg chg="add mod">
          <ac:chgData name="Aurelien Domont" userId="6da7715ce44349b3" providerId="LiveId" clId="{BFF74DCD-256C-4E69-A218-625767FFD894}" dt="2021-08-05T06:11:00.632" v="1361"/>
          <ac:spMkLst>
            <pc:docMk/>
            <pc:sldMk cId="4009456406" sldId="2011"/>
            <ac:spMk id="53" creationId="{8C3B52B6-CA41-4C83-A44A-ABCCA025B8F3}"/>
          </ac:spMkLst>
        </pc:spChg>
      </pc:sldChg>
      <pc:sldChg chg="addSp modSp add mod">
        <pc:chgData name="Aurelien Domont" userId="6da7715ce44349b3" providerId="LiveId" clId="{BFF74DCD-256C-4E69-A218-625767FFD894}" dt="2021-08-05T06:11:08.284" v="1366"/>
        <pc:sldMkLst>
          <pc:docMk/>
          <pc:sldMk cId="2007102026" sldId="2012"/>
        </pc:sldMkLst>
        <pc:spChg chg="add mod">
          <ac:chgData name="Aurelien Domont" userId="6da7715ce44349b3" providerId="LiveId" clId="{BFF74DCD-256C-4E69-A218-625767FFD894}" dt="2021-08-05T06:11:08.284" v="1366"/>
          <ac:spMkLst>
            <pc:docMk/>
            <pc:sldMk cId="2007102026" sldId="2012"/>
            <ac:spMk id="8" creationId="{4F9F443F-40D3-413F-A288-273EEF3ED483}"/>
          </ac:spMkLst>
        </pc:spChg>
        <pc:spChg chg="mod">
          <ac:chgData name="Aurelien Domont" userId="6da7715ce44349b3" providerId="LiveId" clId="{BFF74DCD-256C-4E69-A218-625767FFD894}" dt="2021-08-05T06:11:07.822" v="1365" actId="20577"/>
          <ac:spMkLst>
            <pc:docMk/>
            <pc:sldMk cId="2007102026" sldId="2012"/>
            <ac:spMk id="16" creationId="{6C2BB713-9637-4B9B-938F-E9768876782A}"/>
          </ac:spMkLst>
        </pc:spChg>
      </pc:sldChg>
      <pc:sldChg chg="addSp modSp add mod">
        <pc:chgData name="Aurelien Domont" userId="6da7715ce44349b3" providerId="LiveId" clId="{BFF74DCD-256C-4E69-A218-625767FFD894}" dt="2021-08-05T06:11:26.223" v="1369"/>
        <pc:sldMkLst>
          <pc:docMk/>
          <pc:sldMk cId="2062377538" sldId="2013"/>
        </pc:sldMkLst>
        <pc:spChg chg="add mod">
          <ac:chgData name="Aurelien Domont" userId="6da7715ce44349b3" providerId="LiveId" clId="{BFF74DCD-256C-4E69-A218-625767FFD894}" dt="2021-08-05T06:11:26.223" v="1369"/>
          <ac:spMkLst>
            <pc:docMk/>
            <pc:sldMk cId="2062377538" sldId="2013"/>
            <ac:spMk id="6" creationId="{FC1B404D-8864-4332-9F9F-1E10BC1B85DD}"/>
          </ac:spMkLst>
        </pc:spChg>
        <pc:spChg chg="mod">
          <ac:chgData name="Aurelien Domont" userId="6da7715ce44349b3" providerId="LiveId" clId="{BFF74DCD-256C-4E69-A218-625767FFD894}" dt="2021-08-05T06:11:11.545" v="1368" actId="20577"/>
          <ac:spMkLst>
            <pc:docMk/>
            <pc:sldMk cId="2062377538" sldId="2013"/>
            <ac:spMk id="16" creationId="{6C2BB713-9637-4B9B-938F-E9768876782A}"/>
          </ac:spMkLst>
        </pc:spChg>
      </pc:sldChg>
      <pc:sldChg chg="addSp modSp add mod">
        <pc:chgData name="Aurelien Domont" userId="6da7715ce44349b3" providerId="LiveId" clId="{BFF74DCD-256C-4E69-A218-625767FFD894}" dt="2021-08-05T06:11:32.468" v="1373"/>
        <pc:sldMkLst>
          <pc:docMk/>
          <pc:sldMk cId="3739508276" sldId="2014"/>
        </pc:sldMkLst>
        <pc:spChg chg="mod">
          <ac:chgData name="Aurelien Domont" userId="6da7715ce44349b3" providerId="LiveId" clId="{BFF74DCD-256C-4E69-A218-625767FFD894}" dt="2021-08-05T06:11:30.193" v="1372" actId="20577"/>
          <ac:spMkLst>
            <pc:docMk/>
            <pc:sldMk cId="3739508276" sldId="2014"/>
            <ac:spMk id="16" creationId="{6C2BB713-9637-4B9B-938F-E9768876782A}"/>
          </ac:spMkLst>
        </pc:spChg>
        <pc:spChg chg="add mod">
          <ac:chgData name="Aurelien Domont" userId="6da7715ce44349b3" providerId="LiveId" clId="{BFF74DCD-256C-4E69-A218-625767FFD894}" dt="2021-08-05T06:11:32.468" v="1373"/>
          <ac:spMkLst>
            <pc:docMk/>
            <pc:sldMk cId="3739508276" sldId="2014"/>
            <ac:spMk id="18" creationId="{199A908F-FD34-41CD-98FC-DEFFFC4A6AEA}"/>
          </ac:spMkLst>
        </pc:spChg>
      </pc:sldChg>
      <pc:sldChg chg="addSp modSp add mod">
        <pc:chgData name="Aurelien Domont" userId="6da7715ce44349b3" providerId="LiveId" clId="{BFF74DCD-256C-4E69-A218-625767FFD894}" dt="2021-08-05T06:09:51.933" v="1359" actId="20577"/>
        <pc:sldMkLst>
          <pc:docMk/>
          <pc:sldMk cId="2952105659" sldId="2015"/>
        </pc:sldMkLst>
        <pc:spChg chg="mod">
          <ac:chgData name="Aurelien Domont" userId="6da7715ce44349b3" providerId="LiveId" clId="{BFF74DCD-256C-4E69-A218-625767FFD894}" dt="2021-08-05T06:09:51.933" v="1359" actId="20577"/>
          <ac:spMkLst>
            <pc:docMk/>
            <pc:sldMk cId="2952105659" sldId="2015"/>
            <ac:spMk id="16" creationId="{6C2BB713-9637-4B9B-938F-E9768876782A}"/>
          </ac:spMkLst>
        </pc:spChg>
        <pc:spChg chg="add mod">
          <ac:chgData name="Aurelien Domont" userId="6da7715ce44349b3" providerId="LiveId" clId="{BFF74DCD-256C-4E69-A218-625767FFD894}" dt="2021-08-05T06:05:40.095" v="1347"/>
          <ac:spMkLst>
            <pc:docMk/>
            <pc:sldMk cId="2952105659" sldId="2015"/>
            <ac:spMk id="24" creationId="{3B2E9828-8830-44AF-A844-399CE45C2160}"/>
          </ac:spMkLst>
        </pc:spChg>
      </pc:sldChg>
      <pc:sldChg chg="addSp modSp add mod">
        <pc:chgData name="Aurelien Domont" userId="6da7715ce44349b3" providerId="LiveId" clId="{BFF74DCD-256C-4E69-A218-625767FFD894}" dt="2021-08-05T06:12:01.469" v="1381"/>
        <pc:sldMkLst>
          <pc:docMk/>
          <pc:sldMk cId="2933812518" sldId="2020"/>
        </pc:sldMkLst>
        <pc:spChg chg="mod">
          <ac:chgData name="Aurelien Domont" userId="6da7715ce44349b3" providerId="LiveId" clId="{BFF74DCD-256C-4E69-A218-625767FFD894}" dt="2021-08-05T06:11:43.849" v="1380" actId="20577"/>
          <ac:spMkLst>
            <pc:docMk/>
            <pc:sldMk cId="2933812518" sldId="2020"/>
            <ac:spMk id="16" creationId="{6C2BB713-9637-4B9B-938F-E9768876782A}"/>
          </ac:spMkLst>
        </pc:spChg>
        <pc:spChg chg="add mod">
          <ac:chgData name="Aurelien Domont" userId="6da7715ce44349b3" providerId="LiveId" clId="{BFF74DCD-256C-4E69-A218-625767FFD894}" dt="2021-08-05T06:12:01.469" v="1381"/>
          <ac:spMkLst>
            <pc:docMk/>
            <pc:sldMk cId="2933812518" sldId="2020"/>
            <ac:spMk id="20" creationId="{47F6968D-3182-40D1-B65D-8A0ABEDF042C}"/>
          </ac:spMkLst>
        </pc:spChg>
      </pc:sldChg>
      <pc:sldChg chg="addSp modSp add mod">
        <pc:chgData name="Aurelien Domont" userId="6da7715ce44349b3" providerId="LiveId" clId="{BFF74DCD-256C-4E69-A218-625767FFD894}" dt="2021-08-05T06:11:37.333" v="1377"/>
        <pc:sldMkLst>
          <pc:docMk/>
          <pc:sldMk cId="518180549" sldId="2021"/>
        </pc:sldMkLst>
        <pc:spChg chg="mod">
          <ac:chgData name="Aurelien Domont" userId="6da7715ce44349b3" providerId="LiveId" clId="{BFF74DCD-256C-4E69-A218-625767FFD894}" dt="2021-08-05T06:11:36.035" v="1376" actId="20577"/>
          <ac:spMkLst>
            <pc:docMk/>
            <pc:sldMk cId="518180549" sldId="2021"/>
            <ac:spMk id="16" creationId="{6C2BB713-9637-4B9B-938F-E9768876782A}"/>
          </ac:spMkLst>
        </pc:spChg>
        <pc:spChg chg="add mod">
          <ac:chgData name="Aurelien Domont" userId="6da7715ce44349b3" providerId="LiveId" clId="{BFF74DCD-256C-4E69-A218-625767FFD894}" dt="2021-08-05T06:11:37.333" v="1377"/>
          <ac:spMkLst>
            <pc:docMk/>
            <pc:sldMk cId="518180549" sldId="2021"/>
            <ac:spMk id="17" creationId="{DC092107-C00C-4018-ACE3-B0357AD87C19}"/>
          </ac:spMkLst>
        </pc:spChg>
      </pc:sldChg>
      <pc:sldChg chg="add">
        <pc:chgData name="Aurelien Domont" userId="6da7715ce44349b3" providerId="LiveId" clId="{BFF74DCD-256C-4E69-A218-625767FFD894}" dt="2021-08-05T03:43:08.670" v="0"/>
        <pc:sldMkLst>
          <pc:docMk/>
          <pc:sldMk cId="1435158864" sldId="2188"/>
        </pc:sldMkLst>
      </pc:sldChg>
      <pc:sldChg chg="modSp">
        <pc:chgData name="Aurelien Domont" userId="6da7715ce44349b3" providerId="LiveId" clId="{BFF74DCD-256C-4E69-A218-625767FFD894}" dt="2021-08-05T04:54:36.285" v="1277"/>
        <pc:sldMkLst>
          <pc:docMk/>
          <pc:sldMk cId="3387366193" sldId="2210"/>
        </pc:sldMkLst>
        <pc:spChg chg="mod">
          <ac:chgData name="Aurelien Domont" userId="6da7715ce44349b3" providerId="LiveId" clId="{BFF74DCD-256C-4E69-A218-625767FFD894}" dt="2021-08-05T04:54:36.285" v="1277"/>
          <ac:spMkLst>
            <pc:docMk/>
            <pc:sldMk cId="3387366193" sldId="2210"/>
            <ac:spMk id="11" creationId="{381FC75F-03AC-4E06-95A5-77AA464D139B}"/>
          </ac:spMkLst>
        </pc:spChg>
      </pc:sldChg>
      <pc:sldChg chg="modSp">
        <pc:chgData name="Aurelien Domont" userId="6da7715ce44349b3" providerId="LiveId" clId="{BFF74DCD-256C-4E69-A218-625767FFD894}" dt="2021-08-05T04:54:36.285" v="1277"/>
        <pc:sldMkLst>
          <pc:docMk/>
          <pc:sldMk cId="2401267023" sldId="2221"/>
        </pc:sldMkLst>
        <pc:spChg chg="mod">
          <ac:chgData name="Aurelien Domont" userId="6da7715ce44349b3" providerId="LiveId" clId="{BFF74DCD-256C-4E69-A218-625767FFD894}" dt="2021-08-05T04:54:36.285" v="1277"/>
          <ac:spMkLst>
            <pc:docMk/>
            <pc:sldMk cId="2401267023" sldId="2221"/>
            <ac:spMk id="11" creationId="{381FC75F-03AC-4E06-95A5-77AA464D139B}"/>
          </ac:spMkLst>
        </pc:spChg>
      </pc:sldChg>
      <pc:sldChg chg="addSp modSp mod">
        <pc:chgData name="Aurelien Domont" userId="6da7715ce44349b3" providerId="LiveId" clId="{BFF74DCD-256C-4E69-A218-625767FFD894}" dt="2021-08-05T04:54:36.285" v="1277"/>
        <pc:sldMkLst>
          <pc:docMk/>
          <pc:sldMk cId="43093531" sldId="2229"/>
        </pc:sldMkLst>
        <pc:spChg chg="mod">
          <ac:chgData name="Aurelien Domont" userId="6da7715ce44349b3" providerId="LiveId" clId="{BFF74DCD-256C-4E69-A218-625767FFD894}" dt="2021-08-05T04:54:36.285" v="1277"/>
          <ac:spMkLst>
            <pc:docMk/>
            <pc:sldMk cId="43093531" sldId="2229"/>
            <ac:spMk id="11" creationId="{381FC75F-03AC-4E06-95A5-77AA464D139B}"/>
          </ac:spMkLst>
        </pc:spChg>
        <pc:spChg chg="add mod">
          <ac:chgData name="Aurelien Domont" userId="6da7715ce44349b3" providerId="LiveId" clId="{BFF74DCD-256C-4E69-A218-625767FFD894}" dt="2021-08-05T03:55:18.176" v="855" actId="20577"/>
          <ac:spMkLst>
            <pc:docMk/>
            <pc:sldMk cId="43093531" sldId="2229"/>
            <ac:spMk id="18" creationId="{1C3FEF38-3F4E-449A-A343-C2E8B9E2E873}"/>
          </ac:spMkLst>
        </pc:spChg>
      </pc:sldChg>
      <pc:sldChg chg="addSp modSp mod">
        <pc:chgData name="Aurelien Domont" userId="6da7715ce44349b3" providerId="LiveId" clId="{BFF74DCD-256C-4E69-A218-625767FFD894}" dt="2021-08-05T03:58:43.856" v="1224" actId="14100"/>
        <pc:sldMkLst>
          <pc:docMk/>
          <pc:sldMk cId="4162893590" sldId="2230"/>
        </pc:sldMkLst>
        <pc:spChg chg="add mod">
          <ac:chgData name="Aurelien Domont" userId="6da7715ce44349b3" providerId="LiveId" clId="{BFF74DCD-256C-4E69-A218-625767FFD894}" dt="2021-08-05T03:58:43.856" v="1224" actId="14100"/>
          <ac:spMkLst>
            <pc:docMk/>
            <pc:sldMk cId="4162893590" sldId="2230"/>
            <ac:spMk id="6" creationId="{16C2923D-A6F4-4B21-AB51-B7A722DBBEE9}"/>
          </ac:spMkLst>
        </pc:spChg>
      </pc:sldChg>
      <pc:sldChg chg="modSp">
        <pc:chgData name="Aurelien Domont" userId="6da7715ce44349b3" providerId="LiveId" clId="{BFF74DCD-256C-4E69-A218-625767FFD894}" dt="2021-08-05T04:54:36.285" v="1277"/>
        <pc:sldMkLst>
          <pc:docMk/>
          <pc:sldMk cId="4001351399" sldId="2231"/>
        </pc:sldMkLst>
        <pc:spChg chg="mod">
          <ac:chgData name="Aurelien Domont" userId="6da7715ce44349b3" providerId="LiveId" clId="{BFF74DCD-256C-4E69-A218-625767FFD894}" dt="2021-08-05T04:54:36.285" v="1277"/>
          <ac:spMkLst>
            <pc:docMk/>
            <pc:sldMk cId="4001351399" sldId="2231"/>
            <ac:spMk id="11" creationId="{381FC75F-03AC-4E06-95A5-77AA464D139B}"/>
          </ac:spMkLst>
        </pc:spChg>
      </pc:sldChg>
      <pc:sldChg chg="modSp">
        <pc:chgData name="Aurelien Domont" userId="6da7715ce44349b3" providerId="LiveId" clId="{BFF74DCD-256C-4E69-A218-625767FFD894}" dt="2021-08-05T04:54:36.285" v="1277"/>
        <pc:sldMkLst>
          <pc:docMk/>
          <pc:sldMk cId="567194634" sldId="2234"/>
        </pc:sldMkLst>
        <pc:spChg chg="mod">
          <ac:chgData name="Aurelien Domont" userId="6da7715ce44349b3" providerId="LiveId" clId="{BFF74DCD-256C-4E69-A218-625767FFD894}" dt="2021-08-05T04:54:36.285" v="1277"/>
          <ac:spMkLst>
            <pc:docMk/>
            <pc:sldMk cId="567194634" sldId="2234"/>
            <ac:spMk id="11" creationId="{381FC75F-03AC-4E06-95A5-77AA464D139B}"/>
          </ac:spMkLst>
        </pc:spChg>
      </pc:sldChg>
      <pc:sldChg chg="modSp">
        <pc:chgData name="Aurelien Domont" userId="6da7715ce44349b3" providerId="LiveId" clId="{BFF74DCD-256C-4E69-A218-625767FFD894}" dt="2021-08-05T04:54:36.285" v="1277"/>
        <pc:sldMkLst>
          <pc:docMk/>
          <pc:sldMk cId="3203903634" sldId="2235"/>
        </pc:sldMkLst>
        <pc:spChg chg="mod">
          <ac:chgData name="Aurelien Domont" userId="6da7715ce44349b3" providerId="LiveId" clId="{BFF74DCD-256C-4E69-A218-625767FFD894}" dt="2021-08-05T04:54:36.285" v="1277"/>
          <ac:spMkLst>
            <pc:docMk/>
            <pc:sldMk cId="3203903634" sldId="2235"/>
            <ac:spMk id="11" creationId="{381FC75F-03AC-4E06-95A5-77AA464D139B}"/>
          </ac:spMkLst>
        </pc:spChg>
      </pc:sldChg>
      <pc:sldChg chg="modSp">
        <pc:chgData name="Aurelien Domont" userId="6da7715ce44349b3" providerId="LiveId" clId="{BFF74DCD-256C-4E69-A218-625767FFD894}" dt="2021-08-05T04:54:36.285" v="1277"/>
        <pc:sldMkLst>
          <pc:docMk/>
          <pc:sldMk cId="1850513730" sldId="2236"/>
        </pc:sldMkLst>
        <pc:spChg chg="mod">
          <ac:chgData name="Aurelien Domont" userId="6da7715ce44349b3" providerId="LiveId" clId="{BFF74DCD-256C-4E69-A218-625767FFD894}" dt="2021-08-05T04:54:36.285" v="1277"/>
          <ac:spMkLst>
            <pc:docMk/>
            <pc:sldMk cId="1850513730" sldId="2236"/>
            <ac:spMk id="11" creationId="{381FC75F-03AC-4E06-95A5-77AA464D139B}"/>
          </ac:spMkLst>
        </pc:spChg>
      </pc:sldChg>
      <pc:sldChg chg="modSp">
        <pc:chgData name="Aurelien Domont" userId="6da7715ce44349b3" providerId="LiveId" clId="{BFF74DCD-256C-4E69-A218-625767FFD894}" dt="2021-08-05T04:54:36.285" v="1277"/>
        <pc:sldMkLst>
          <pc:docMk/>
          <pc:sldMk cId="3648245117" sldId="2237"/>
        </pc:sldMkLst>
        <pc:spChg chg="mod">
          <ac:chgData name="Aurelien Domont" userId="6da7715ce44349b3" providerId="LiveId" clId="{BFF74DCD-256C-4E69-A218-625767FFD894}" dt="2021-08-05T04:54:36.285" v="1277"/>
          <ac:spMkLst>
            <pc:docMk/>
            <pc:sldMk cId="3648245117" sldId="2237"/>
            <ac:spMk id="11" creationId="{381FC75F-03AC-4E06-95A5-77AA464D139B}"/>
          </ac:spMkLst>
        </pc:spChg>
      </pc:sldChg>
      <pc:sldChg chg="addSp modSp mod">
        <pc:chgData name="Aurelien Domont" userId="6da7715ce44349b3" providerId="LiveId" clId="{BFF74DCD-256C-4E69-A218-625767FFD894}" dt="2021-08-05T04:00:52.781" v="1240" actId="1076"/>
        <pc:sldMkLst>
          <pc:docMk/>
          <pc:sldMk cId="2972229365" sldId="2246"/>
        </pc:sldMkLst>
        <pc:spChg chg="add mod">
          <ac:chgData name="Aurelien Domont" userId="6da7715ce44349b3" providerId="LiveId" clId="{BFF74DCD-256C-4E69-A218-625767FFD894}" dt="2021-08-05T04:00:52.781" v="1240" actId="1076"/>
          <ac:spMkLst>
            <pc:docMk/>
            <pc:sldMk cId="2972229365" sldId="2246"/>
            <ac:spMk id="7" creationId="{103F8573-D550-42DA-A0A3-31A678077F48}"/>
          </ac:spMkLst>
        </pc:spChg>
      </pc:sldChg>
      <pc:sldChg chg="addSp modSp">
        <pc:chgData name="Aurelien Domont" userId="6da7715ce44349b3" providerId="LiveId" clId="{BFF74DCD-256C-4E69-A218-625767FFD894}" dt="2021-08-05T04:00:57.086" v="1241"/>
        <pc:sldMkLst>
          <pc:docMk/>
          <pc:sldMk cId="3418237307" sldId="2247"/>
        </pc:sldMkLst>
        <pc:spChg chg="add mod">
          <ac:chgData name="Aurelien Domont" userId="6da7715ce44349b3" providerId="LiveId" clId="{BFF74DCD-256C-4E69-A218-625767FFD894}" dt="2021-08-05T04:00:57.086" v="1241"/>
          <ac:spMkLst>
            <pc:docMk/>
            <pc:sldMk cId="3418237307" sldId="2247"/>
            <ac:spMk id="7" creationId="{E16FAEC8-5164-4300-A173-943CD8E430FD}"/>
          </ac:spMkLst>
        </pc:spChg>
      </pc:sldChg>
      <pc:sldChg chg="addSp modSp">
        <pc:chgData name="Aurelien Domont" userId="6da7715ce44349b3" providerId="LiveId" clId="{BFF74DCD-256C-4E69-A218-625767FFD894}" dt="2021-08-05T04:01:00.820" v="1242"/>
        <pc:sldMkLst>
          <pc:docMk/>
          <pc:sldMk cId="2144659112" sldId="2249"/>
        </pc:sldMkLst>
        <pc:spChg chg="add mod">
          <ac:chgData name="Aurelien Domont" userId="6da7715ce44349b3" providerId="LiveId" clId="{BFF74DCD-256C-4E69-A218-625767FFD894}" dt="2021-08-05T04:01:00.820" v="1242"/>
          <ac:spMkLst>
            <pc:docMk/>
            <pc:sldMk cId="2144659112" sldId="2249"/>
            <ac:spMk id="7" creationId="{59F4BC8B-203F-4059-BFDB-668E8A7B73BA}"/>
          </ac:spMkLst>
        </pc:spChg>
      </pc:sldChg>
      <pc:sldChg chg="addSp modSp">
        <pc:chgData name="Aurelien Domont" userId="6da7715ce44349b3" providerId="LiveId" clId="{BFF74DCD-256C-4E69-A218-625767FFD894}" dt="2021-08-05T04:01:03.930" v="1243"/>
        <pc:sldMkLst>
          <pc:docMk/>
          <pc:sldMk cId="3437807892" sldId="2251"/>
        </pc:sldMkLst>
        <pc:spChg chg="add mod">
          <ac:chgData name="Aurelien Domont" userId="6da7715ce44349b3" providerId="LiveId" clId="{BFF74DCD-256C-4E69-A218-625767FFD894}" dt="2021-08-05T04:01:03.930" v="1243"/>
          <ac:spMkLst>
            <pc:docMk/>
            <pc:sldMk cId="3437807892" sldId="2251"/>
            <ac:spMk id="7" creationId="{B2B70791-2F22-4B40-B4DF-A8D947C81F34}"/>
          </ac:spMkLst>
        </pc:spChg>
      </pc:sldChg>
    </pc:docChg>
  </pc:docChgLst>
  <pc:docChgLst>
    <pc:chgData name="Aurelien Domont" userId="6da7715ce44349b3" providerId="LiveId" clId="{B00D2795-A783-4827-B7F0-3CA19960AFE1}"/>
    <pc:docChg chg="undo custSel addSld delSld modSld modMainMaster">
      <pc:chgData name="Aurelien Domont" userId="6da7715ce44349b3" providerId="LiveId" clId="{B00D2795-A783-4827-B7F0-3CA19960AFE1}" dt="2022-09-27T00:20:50.909" v="342" actId="207"/>
      <pc:docMkLst>
        <pc:docMk/>
      </pc:docMkLst>
      <pc:sldChg chg="modSp">
        <pc:chgData name="Aurelien Domont" userId="6da7715ce44349b3" providerId="LiveId" clId="{B00D2795-A783-4827-B7F0-3CA19960AFE1}" dt="2022-09-27T00:16:31.471" v="317"/>
        <pc:sldMkLst>
          <pc:docMk/>
          <pc:sldMk cId="3131901387" sldId="256"/>
        </pc:sldMkLst>
        <pc:spChg chg="mod">
          <ac:chgData name="Aurelien Domont" userId="6da7715ce44349b3" providerId="LiveId" clId="{B00D2795-A783-4827-B7F0-3CA19960AFE1}" dt="2022-09-27T00:16:31.471" v="317"/>
          <ac:spMkLst>
            <pc:docMk/>
            <pc:sldMk cId="3131901387" sldId="256"/>
            <ac:spMk id="2" creationId="{5261080C-C60C-4746-B6B1-A9A4FFA86785}"/>
          </ac:spMkLst>
        </pc:spChg>
      </pc:sldChg>
      <pc:sldChg chg="delSp modSp mod">
        <pc:chgData name="Aurelien Domont" userId="6da7715ce44349b3" providerId="LiveId" clId="{B00D2795-A783-4827-B7F0-3CA19960AFE1}" dt="2022-09-27T00:16:54.228" v="318" actId="207"/>
        <pc:sldMkLst>
          <pc:docMk/>
          <pc:sldMk cId="2114802062" sldId="1649"/>
        </pc:sldMkLst>
        <pc:spChg chg="mod">
          <ac:chgData name="Aurelien Domont" userId="6da7715ce44349b3" providerId="LiveId" clId="{B00D2795-A783-4827-B7F0-3CA19960AFE1}" dt="2022-09-27T00:16:31.471" v="317"/>
          <ac:spMkLst>
            <pc:docMk/>
            <pc:sldMk cId="2114802062" sldId="1649"/>
            <ac:spMk id="3" creationId="{CE2529A3-BA97-486F-9E02-8DFAAA7D8D38}"/>
          </ac:spMkLst>
        </pc:spChg>
        <pc:spChg chg="mod">
          <ac:chgData name="Aurelien Domont" userId="6da7715ce44349b3" providerId="LiveId" clId="{B00D2795-A783-4827-B7F0-3CA19960AFE1}" dt="2022-09-27T00:16:31.471" v="317"/>
          <ac:spMkLst>
            <pc:docMk/>
            <pc:sldMk cId="2114802062" sldId="1649"/>
            <ac:spMk id="16" creationId="{6C2BB713-9637-4B9B-938F-E9768876782A}"/>
          </ac:spMkLst>
        </pc:spChg>
        <pc:spChg chg="del">
          <ac:chgData name="Aurelien Domont" userId="6da7715ce44349b3" providerId="LiveId" clId="{B00D2795-A783-4827-B7F0-3CA19960AFE1}" dt="2022-09-27T00:05:27.433" v="22" actId="478"/>
          <ac:spMkLst>
            <pc:docMk/>
            <pc:sldMk cId="2114802062" sldId="1649"/>
            <ac:spMk id="17" creationId="{18260830-3C9E-434A-9FF3-04977914FEC2}"/>
          </ac:spMkLst>
        </pc:spChg>
        <pc:spChg chg="del">
          <ac:chgData name="Aurelien Domont" userId="6da7715ce44349b3" providerId="LiveId" clId="{B00D2795-A783-4827-B7F0-3CA19960AFE1}" dt="2022-09-27T00:05:27.433" v="22" actId="478"/>
          <ac:spMkLst>
            <pc:docMk/>
            <pc:sldMk cId="2114802062" sldId="1649"/>
            <ac:spMk id="18" creationId="{19E1B10D-3871-496C-808E-2E8B86293B64}"/>
          </ac:spMkLst>
        </pc:spChg>
        <pc:spChg chg="mod">
          <ac:chgData name="Aurelien Domont" userId="6da7715ce44349b3" providerId="LiveId" clId="{B00D2795-A783-4827-B7F0-3CA19960AFE1}" dt="2022-09-27T00:16:54.228" v="318" actId="207"/>
          <ac:spMkLst>
            <pc:docMk/>
            <pc:sldMk cId="2114802062" sldId="1649"/>
            <ac:spMk id="39" creationId="{82D871D3-3E43-4C8B-B400-AF95DF7EBACF}"/>
          </ac:spMkLst>
        </pc:spChg>
        <pc:spChg chg="mod">
          <ac:chgData name="Aurelien Domont" userId="6da7715ce44349b3" providerId="LiveId" clId="{B00D2795-A783-4827-B7F0-3CA19960AFE1}" dt="2022-09-27T00:16:54.228" v="318" actId="207"/>
          <ac:spMkLst>
            <pc:docMk/>
            <pc:sldMk cId="2114802062" sldId="1649"/>
            <ac:spMk id="40" creationId="{BE66D6FD-2100-427E-B88B-E7F6D6D174CE}"/>
          </ac:spMkLst>
        </pc:spChg>
        <pc:spChg chg="mod">
          <ac:chgData name="Aurelien Domont" userId="6da7715ce44349b3" providerId="LiveId" clId="{B00D2795-A783-4827-B7F0-3CA19960AFE1}" dt="2022-09-27T00:16:54.228" v="318" actId="207"/>
          <ac:spMkLst>
            <pc:docMk/>
            <pc:sldMk cId="2114802062" sldId="1649"/>
            <ac:spMk id="41" creationId="{DF4B53A2-01EB-4D6D-937B-0795B8163253}"/>
          </ac:spMkLst>
        </pc:spChg>
        <pc:spChg chg="mod">
          <ac:chgData name="Aurelien Domont" userId="6da7715ce44349b3" providerId="LiveId" clId="{B00D2795-A783-4827-B7F0-3CA19960AFE1}" dt="2022-09-27T00:16:54.228" v="318" actId="207"/>
          <ac:spMkLst>
            <pc:docMk/>
            <pc:sldMk cId="2114802062" sldId="1649"/>
            <ac:spMk id="59" creationId="{77C4986A-501F-49B6-868B-8E0D429328E8}"/>
          </ac:spMkLst>
        </pc:spChg>
        <pc:spChg chg="mod">
          <ac:chgData name="Aurelien Domont" userId="6da7715ce44349b3" providerId="LiveId" clId="{B00D2795-A783-4827-B7F0-3CA19960AFE1}" dt="2022-09-27T00:16:54.228" v="318" actId="207"/>
          <ac:spMkLst>
            <pc:docMk/>
            <pc:sldMk cId="2114802062" sldId="1649"/>
            <ac:spMk id="60" creationId="{75FC6706-32AF-4E80-A03B-DABA9C6837E1}"/>
          </ac:spMkLst>
        </pc:spChg>
        <pc:spChg chg="mod">
          <ac:chgData name="Aurelien Domont" userId="6da7715ce44349b3" providerId="LiveId" clId="{B00D2795-A783-4827-B7F0-3CA19960AFE1}" dt="2022-09-27T00:16:54.228" v="318" actId="207"/>
          <ac:spMkLst>
            <pc:docMk/>
            <pc:sldMk cId="2114802062" sldId="1649"/>
            <ac:spMk id="61" creationId="{470E58F3-3DF4-4A3B-9ABC-5D8EA4B37C71}"/>
          </ac:spMkLst>
        </pc:spChg>
        <pc:spChg chg="mod">
          <ac:chgData name="Aurelien Domont" userId="6da7715ce44349b3" providerId="LiveId" clId="{B00D2795-A783-4827-B7F0-3CA19960AFE1}" dt="2022-09-27T00:16:54.228" v="318" actId="207"/>
          <ac:spMkLst>
            <pc:docMk/>
            <pc:sldMk cId="2114802062" sldId="1649"/>
            <ac:spMk id="62" creationId="{D418F7C2-F8DF-4C80-BBCB-5B28A7641956}"/>
          </ac:spMkLst>
        </pc:spChg>
        <pc:spChg chg="mod">
          <ac:chgData name="Aurelien Domont" userId="6da7715ce44349b3" providerId="LiveId" clId="{B00D2795-A783-4827-B7F0-3CA19960AFE1}" dt="2022-09-27T00:16:54.228" v="318" actId="207"/>
          <ac:spMkLst>
            <pc:docMk/>
            <pc:sldMk cId="2114802062" sldId="1649"/>
            <ac:spMk id="63" creationId="{AACE2542-3AB2-4919-A686-612D279DA965}"/>
          </ac:spMkLst>
        </pc:spChg>
        <pc:spChg chg="mod">
          <ac:chgData name="Aurelien Domont" userId="6da7715ce44349b3" providerId="LiveId" clId="{B00D2795-A783-4827-B7F0-3CA19960AFE1}" dt="2022-09-27T00:16:54.228" v="318" actId="207"/>
          <ac:spMkLst>
            <pc:docMk/>
            <pc:sldMk cId="2114802062" sldId="1649"/>
            <ac:spMk id="64" creationId="{48BA92E7-9ED8-4E72-9F1C-F2DEF838E461}"/>
          </ac:spMkLst>
        </pc:spChg>
        <pc:spChg chg="mod">
          <ac:chgData name="Aurelien Domont" userId="6da7715ce44349b3" providerId="LiveId" clId="{B00D2795-A783-4827-B7F0-3CA19960AFE1}" dt="2022-09-27T00:16:54.228" v="318" actId="207"/>
          <ac:spMkLst>
            <pc:docMk/>
            <pc:sldMk cId="2114802062" sldId="1649"/>
            <ac:spMk id="65" creationId="{DD2A0D6C-8D00-4EE1-BA77-D646EC028E8F}"/>
          </ac:spMkLst>
        </pc:spChg>
        <pc:spChg chg="mod">
          <ac:chgData name="Aurelien Domont" userId="6da7715ce44349b3" providerId="LiveId" clId="{B00D2795-A783-4827-B7F0-3CA19960AFE1}" dt="2022-09-27T00:16:54.228" v="318" actId="207"/>
          <ac:spMkLst>
            <pc:docMk/>
            <pc:sldMk cId="2114802062" sldId="1649"/>
            <ac:spMk id="66" creationId="{72BFA308-394F-42E0-89BF-BBB3DE65B748}"/>
          </ac:spMkLst>
        </pc:spChg>
      </pc:sldChg>
      <pc:sldChg chg="delSp modSp mod">
        <pc:chgData name="Aurelien Domont" userId="6da7715ce44349b3" providerId="LiveId" clId="{B00D2795-A783-4827-B7F0-3CA19960AFE1}" dt="2022-09-27T00:16:31.471" v="317"/>
        <pc:sldMkLst>
          <pc:docMk/>
          <pc:sldMk cId="2064558966" sldId="1650"/>
        </pc:sldMkLst>
        <pc:spChg chg="mod">
          <ac:chgData name="Aurelien Domont" userId="6da7715ce44349b3" providerId="LiveId" clId="{B00D2795-A783-4827-B7F0-3CA19960AFE1}" dt="2022-09-27T00:16:31.471" v="317"/>
          <ac:spMkLst>
            <pc:docMk/>
            <pc:sldMk cId="2064558966" sldId="1650"/>
            <ac:spMk id="3" creationId="{CE2529A3-BA97-486F-9E02-8DFAAA7D8D38}"/>
          </ac:spMkLst>
        </pc:spChg>
        <pc:spChg chg="mod">
          <ac:chgData name="Aurelien Domont" userId="6da7715ce44349b3" providerId="LiveId" clId="{B00D2795-A783-4827-B7F0-3CA19960AFE1}" dt="2022-09-27T00:16:31.471" v="317"/>
          <ac:spMkLst>
            <pc:docMk/>
            <pc:sldMk cId="2064558966" sldId="1650"/>
            <ac:spMk id="16" creationId="{6C2BB713-9637-4B9B-938F-E9768876782A}"/>
          </ac:spMkLst>
        </pc:spChg>
        <pc:spChg chg="del">
          <ac:chgData name="Aurelien Domont" userId="6da7715ce44349b3" providerId="LiveId" clId="{B00D2795-A783-4827-B7F0-3CA19960AFE1}" dt="2022-09-27T00:13:03.498" v="269" actId="478"/>
          <ac:spMkLst>
            <pc:docMk/>
            <pc:sldMk cId="2064558966" sldId="1650"/>
            <ac:spMk id="31" creationId="{C8B18CE9-80D3-42C9-A2D2-12945E77573C}"/>
          </ac:spMkLst>
        </pc:spChg>
      </pc:sldChg>
      <pc:sldChg chg="delSp modSp mod">
        <pc:chgData name="Aurelien Domont" userId="6da7715ce44349b3" providerId="LiveId" clId="{B00D2795-A783-4827-B7F0-3CA19960AFE1}" dt="2022-09-27T00:16:31.471" v="317"/>
        <pc:sldMkLst>
          <pc:docMk/>
          <pc:sldMk cId="4173839463" sldId="1651"/>
        </pc:sldMkLst>
        <pc:spChg chg="mod">
          <ac:chgData name="Aurelien Domont" userId="6da7715ce44349b3" providerId="LiveId" clId="{B00D2795-A783-4827-B7F0-3CA19960AFE1}" dt="2022-09-27T00:16:31.471" v="317"/>
          <ac:spMkLst>
            <pc:docMk/>
            <pc:sldMk cId="4173839463" sldId="1651"/>
            <ac:spMk id="3" creationId="{CE2529A3-BA97-486F-9E02-8DFAAA7D8D38}"/>
          </ac:spMkLst>
        </pc:spChg>
        <pc:spChg chg="mod">
          <ac:chgData name="Aurelien Domont" userId="6da7715ce44349b3" providerId="LiveId" clId="{B00D2795-A783-4827-B7F0-3CA19960AFE1}" dt="2022-09-27T00:16:31.471" v="317"/>
          <ac:spMkLst>
            <pc:docMk/>
            <pc:sldMk cId="4173839463" sldId="1651"/>
            <ac:spMk id="16" creationId="{6C2BB713-9637-4B9B-938F-E9768876782A}"/>
          </ac:spMkLst>
        </pc:spChg>
        <pc:spChg chg="del">
          <ac:chgData name="Aurelien Domont" userId="6da7715ce44349b3" providerId="LiveId" clId="{B00D2795-A783-4827-B7F0-3CA19960AFE1}" dt="2022-09-27T00:13:31.220" v="282" actId="478"/>
          <ac:spMkLst>
            <pc:docMk/>
            <pc:sldMk cId="4173839463" sldId="1651"/>
            <ac:spMk id="26" creationId="{10560839-1D12-4413-A70D-62EE2944F2C3}"/>
          </ac:spMkLst>
        </pc:spChg>
      </pc:sldChg>
      <pc:sldChg chg="modSp">
        <pc:chgData name="Aurelien Domont" userId="6da7715ce44349b3" providerId="LiveId" clId="{B00D2795-A783-4827-B7F0-3CA19960AFE1}" dt="2022-09-27T00:16:31.471" v="317"/>
        <pc:sldMkLst>
          <pc:docMk/>
          <pc:sldMk cId="1077011628" sldId="1652"/>
        </pc:sldMkLst>
        <pc:spChg chg="mod">
          <ac:chgData name="Aurelien Domont" userId="6da7715ce44349b3" providerId="LiveId" clId="{B00D2795-A783-4827-B7F0-3CA19960AFE1}" dt="2022-09-27T00:16:31.471" v="317"/>
          <ac:spMkLst>
            <pc:docMk/>
            <pc:sldMk cId="1077011628" sldId="1652"/>
            <ac:spMk id="3" creationId="{CE2529A3-BA97-486F-9E02-8DFAAA7D8D38}"/>
          </ac:spMkLst>
        </pc:spChg>
        <pc:spChg chg="mod">
          <ac:chgData name="Aurelien Domont" userId="6da7715ce44349b3" providerId="LiveId" clId="{B00D2795-A783-4827-B7F0-3CA19960AFE1}" dt="2022-09-27T00:16:31.471" v="317"/>
          <ac:spMkLst>
            <pc:docMk/>
            <pc:sldMk cId="1077011628" sldId="1652"/>
            <ac:spMk id="16" creationId="{6C2BB713-9637-4B9B-938F-E9768876782A}"/>
          </ac:spMkLst>
        </pc:spChg>
      </pc:sldChg>
      <pc:sldChg chg="modSp">
        <pc:chgData name="Aurelien Domont" userId="6da7715ce44349b3" providerId="LiveId" clId="{B00D2795-A783-4827-B7F0-3CA19960AFE1}" dt="2022-09-27T00:16:31.471" v="317"/>
        <pc:sldMkLst>
          <pc:docMk/>
          <pc:sldMk cId="3717044928" sldId="1653"/>
        </pc:sldMkLst>
        <pc:spChg chg="mod">
          <ac:chgData name="Aurelien Domont" userId="6da7715ce44349b3" providerId="LiveId" clId="{B00D2795-A783-4827-B7F0-3CA19960AFE1}" dt="2022-09-27T00:16:31.471" v="317"/>
          <ac:spMkLst>
            <pc:docMk/>
            <pc:sldMk cId="3717044928" sldId="1653"/>
            <ac:spMk id="3" creationId="{CE2529A3-BA97-486F-9E02-8DFAAA7D8D38}"/>
          </ac:spMkLst>
        </pc:spChg>
        <pc:spChg chg="mod">
          <ac:chgData name="Aurelien Domont" userId="6da7715ce44349b3" providerId="LiveId" clId="{B00D2795-A783-4827-B7F0-3CA19960AFE1}" dt="2022-09-27T00:16:31.471" v="317"/>
          <ac:spMkLst>
            <pc:docMk/>
            <pc:sldMk cId="3717044928" sldId="1653"/>
            <ac:spMk id="16" creationId="{6C2BB713-9637-4B9B-938F-E9768876782A}"/>
          </ac:spMkLst>
        </pc:spChg>
      </pc:sldChg>
      <pc:sldChg chg="modSp">
        <pc:chgData name="Aurelien Domont" userId="6da7715ce44349b3" providerId="LiveId" clId="{B00D2795-A783-4827-B7F0-3CA19960AFE1}" dt="2022-09-27T00:16:31.471" v="317"/>
        <pc:sldMkLst>
          <pc:docMk/>
          <pc:sldMk cId="1655331304" sldId="1654"/>
        </pc:sldMkLst>
        <pc:spChg chg="mod">
          <ac:chgData name="Aurelien Domont" userId="6da7715ce44349b3" providerId="LiveId" clId="{B00D2795-A783-4827-B7F0-3CA19960AFE1}" dt="2022-09-27T00:16:31.471" v="317"/>
          <ac:spMkLst>
            <pc:docMk/>
            <pc:sldMk cId="1655331304" sldId="1654"/>
            <ac:spMk id="3" creationId="{CE2529A3-BA97-486F-9E02-8DFAAA7D8D38}"/>
          </ac:spMkLst>
        </pc:spChg>
        <pc:spChg chg="mod">
          <ac:chgData name="Aurelien Domont" userId="6da7715ce44349b3" providerId="LiveId" clId="{B00D2795-A783-4827-B7F0-3CA19960AFE1}" dt="2022-09-27T00:16:31.471" v="317"/>
          <ac:spMkLst>
            <pc:docMk/>
            <pc:sldMk cId="1655331304" sldId="1654"/>
            <ac:spMk id="16" creationId="{6C2BB713-9637-4B9B-938F-E9768876782A}"/>
          </ac:spMkLst>
        </pc:spChg>
      </pc:sldChg>
      <pc:sldChg chg="addSp delSp modSp mod">
        <pc:chgData name="Aurelien Domont" userId="6da7715ce44349b3" providerId="LiveId" clId="{B00D2795-A783-4827-B7F0-3CA19960AFE1}" dt="2022-09-27T00:16:31.471" v="317"/>
        <pc:sldMkLst>
          <pc:docMk/>
          <pc:sldMk cId="3800878474" sldId="1668"/>
        </pc:sldMkLst>
        <pc:spChg chg="add mod">
          <ac:chgData name="Aurelien Domont" userId="6da7715ce44349b3" providerId="LiveId" clId="{B00D2795-A783-4827-B7F0-3CA19960AFE1}" dt="2022-09-27T00:05:47.277" v="44" actId="20577"/>
          <ac:spMkLst>
            <pc:docMk/>
            <pc:sldMk cId="3800878474" sldId="1668"/>
            <ac:spMk id="2" creationId="{59EB470B-470A-1049-A9F7-ECDEA486CE7B}"/>
          </ac:spMkLst>
        </pc:spChg>
        <pc:spChg chg="mod">
          <ac:chgData name="Aurelien Domont" userId="6da7715ce44349b3" providerId="LiveId" clId="{B00D2795-A783-4827-B7F0-3CA19960AFE1}" dt="2022-09-27T00:16:31.471" v="317"/>
          <ac:spMkLst>
            <pc:docMk/>
            <pc:sldMk cId="3800878474" sldId="1668"/>
            <ac:spMk id="3" creationId="{CE2529A3-BA97-486F-9E02-8DFAAA7D8D38}"/>
          </ac:spMkLst>
        </pc:spChg>
        <pc:spChg chg="mod">
          <ac:chgData name="Aurelien Domont" userId="6da7715ce44349b3" providerId="LiveId" clId="{B00D2795-A783-4827-B7F0-3CA19960AFE1}" dt="2022-09-27T00:16:31.471" v="317"/>
          <ac:spMkLst>
            <pc:docMk/>
            <pc:sldMk cId="3800878474" sldId="1668"/>
            <ac:spMk id="16" creationId="{6C2BB713-9637-4B9B-938F-E9768876782A}"/>
          </ac:spMkLst>
        </pc:spChg>
        <pc:spChg chg="del">
          <ac:chgData name="Aurelien Domont" userId="6da7715ce44349b3" providerId="LiveId" clId="{B00D2795-A783-4827-B7F0-3CA19960AFE1}" dt="2022-09-27T00:05:40.913" v="24" actId="478"/>
          <ac:spMkLst>
            <pc:docMk/>
            <pc:sldMk cId="3800878474" sldId="1668"/>
            <ac:spMk id="37" creationId="{6A491EEB-8D1F-4117-A312-557EDAC50B12}"/>
          </ac:spMkLst>
        </pc:spChg>
      </pc:sldChg>
      <pc:sldChg chg="addSp delSp modSp mod">
        <pc:chgData name="Aurelien Domont" userId="6da7715ce44349b3" providerId="LiveId" clId="{B00D2795-A783-4827-B7F0-3CA19960AFE1}" dt="2022-09-27T00:16:31.471" v="317"/>
        <pc:sldMkLst>
          <pc:docMk/>
          <pc:sldMk cId="3527372700" sldId="1669"/>
        </pc:sldMkLst>
        <pc:spChg chg="add mod">
          <ac:chgData name="Aurelien Domont" userId="6da7715ce44349b3" providerId="LiveId" clId="{B00D2795-A783-4827-B7F0-3CA19960AFE1}" dt="2022-09-27T00:05:56.700" v="46"/>
          <ac:spMkLst>
            <pc:docMk/>
            <pc:sldMk cId="3527372700" sldId="1669"/>
            <ac:spMk id="2" creationId="{08DF9165-6198-1396-95F5-21850B30BD96}"/>
          </ac:spMkLst>
        </pc:spChg>
        <pc:spChg chg="mod">
          <ac:chgData name="Aurelien Domont" userId="6da7715ce44349b3" providerId="LiveId" clId="{B00D2795-A783-4827-B7F0-3CA19960AFE1}" dt="2022-09-27T00:16:31.471" v="317"/>
          <ac:spMkLst>
            <pc:docMk/>
            <pc:sldMk cId="3527372700" sldId="1669"/>
            <ac:spMk id="3" creationId="{CE2529A3-BA97-486F-9E02-8DFAAA7D8D38}"/>
          </ac:spMkLst>
        </pc:spChg>
        <pc:spChg chg="mod">
          <ac:chgData name="Aurelien Domont" userId="6da7715ce44349b3" providerId="LiveId" clId="{B00D2795-A783-4827-B7F0-3CA19960AFE1}" dt="2022-09-27T00:16:31.471" v="317"/>
          <ac:spMkLst>
            <pc:docMk/>
            <pc:sldMk cId="3527372700" sldId="1669"/>
            <ac:spMk id="16" creationId="{6C2BB713-9637-4B9B-938F-E9768876782A}"/>
          </ac:spMkLst>
        </pc:spChg>
        <pc:spChg chg="del">
          <ac:chgData name="Aurelien Domont" userId="6da7715ce44349b3" providerId="LiveId" clId="{B00D2795-A783-4827-B7F0-3CA19960AFE1}" dt="2022-09-27T00:05:56.438" v="45" actId="478"/>
          <ac:spMkLst>
            <pc:docMk/>
            <pc:sldMk cId="3527372700" sldId="1669"/>
            <ac:spMk id="38" creationId="{35CF97DE-8569-457C-BB17-A9DD72D90AC3}"/>
          </ac:spMkLst>
        </pc:spChg>
      </pc:sldChg>
      <pc:sldChg chg="addSp delSp modSp mod">
        <pc:chgData name="Aurelien Domont" userId="6da7715ce44349b3" providerId="LiveId" clId="{B00D2795-A783-4827-B7F0-3CA19960AFE1}" dt="2022-09-27T00:16:31.471" v="317"/>
        <pc:sldMkLst>
          <pc:docMk/>
          <pc:sldMk cId="1920170992" sldId="1670"/>
        </pc:sldMkLst>
        <pc:spChg chg="add mod">
          <ac:chgData name="Aurelien Domont" userId="6da7715ce44349b3" providerId="LiveId" clId="{B00D2795-A783-4827-B7F0-3CA19960AFE1}" dt="2022-09-27T00:05:59.990" v="48"/>
          <ac:spMkLst>
            <pc:docMk/>
            <pc:sldMk cId="1920170992" sldId="1670"/>
            <ac:spMk id="2" creationId="{B38A76A8-2FC2-3347-3118-58FCD53D979A}"/>
          </ac:spMkLst>
        </pc:spChg>
        <pc:spChg chg="mod">
          <ac:chgData name="Aurelien Domont" userId="6da7715ce44349b3" providerId="LiveId" clId="{B00D2795-A783-4827-B7F0-3CA19960AFE1}" dt="2022-09-27T00:16:31.471" v="317"/>
          <ac:spMkLst>
            <pc:docMk/>
            <pc:sldMk cId="1920170992" sldId="1670"/>
            <ac:spMk id="3" creationId="{CE2529A3-BA97-486F-9E02-8DFAAA7D8D38}"/>
          </ac:spMkLst>
        </pc:spChg>
        <pc:spChg chg="del">
          <ac:chgData name="Aurelien Domont" userId="6da7715ce44349b3" providerId="LiveId" clId="{B00D2795-A783-4827-B7F0-3CA19960AFE1}" dt="2022-09-27T00:05:59.790" v="47" actId="478"/>
          <ac:spMkLst>
            <pc:docMk/>
            <pc:sldMk cId="1920170992" sldId="1670"/>
            <ac:spMk id="11" creationId="{5D1821D0-077C-4C91-AD1A-7DF5BC2EFF7E}"/>
          </ac:spMkLst>
        </pc:spChg>
        <pc:spChg chg="mod">
          <ac:chgData name="Aurelien Domont" userId="6da7715ce44349b3" providerId="LiveId" clId="{B00D2795-A783-4827-B7F0-3CA19960AFE1}" dt="2022-09-27T00:16:31.471" v="317"/>
          <ac:spMkLst>
            <pc:docMk/>
            <pc:sldMk cId="1920170992" sldId="1670"/>
            <ac:spMk id="16" creationId="{6C2BB713-9637-4B9B-938F-E9768876782A}"/>
          </ac:spMkLst>
        </pc:spChg>
      </pc:sldChg>
      <pc:sldChg chg="addSp delSp modSp mod">
        <pc:chgData name="Aurelien Domont" userId="6da7715ce44349b3" providerId="LiveId" clId="{B00D2795-A783-4827-B7F0-3CA19960AFE1}" dt="2022-09-27T00:16:31.471" v="317"/>
        <pc:sldMkLst>
          <pc:docMk/>
          <pc:sldMk cId="1993088731" sldId="1671"/>
        </pc:sldMkLst>
        <pc:spChg chg="add mod">
          <ac:chgData name="Aurelien Domont" userId="6da7715ce44349b3" providerId="LiveId" clId="{B00D2795-A783-4827-B7F0-3CA19960AFE1}" dt="2022-09-27T00:06:06.194" v="51" actId="1076"/>
          <ac:spMkLst>
            <pc:docMk/>
            <pc:sldMk cId="1993088731" sldId="1671"/>
            <ac:spMk id="2" creationId="{3CF11B57-B631-2B81-43F1-C206F4E31D41}"/>
          </ac:spMkLst>
        </pc:spChg>
        <pc:spChg chg="mod">
          <ac:chgData name="Aurelien Domont" userId="6da7715ce44349b3" providerId="LiveId" clId="{B00D2795-A783-4827-B7F0-3CA19960AFE1}" dt="2022-09-27T00:16:31.471" v="317"/>
          <ac:spMkLst>
            <pc:docMk/>
            <pc:sldMk cId="1993088731" sldId="1671"/>
            <ac:spMk id="3" creationId="{CE2529A3-BA97-486F-9E02-8DFAAA7D8D38}"/>
          </ac:spMkLst>
        </pc:spChg>
        <pc:spChg chg="mod">
          <ac:chgData name="Aurelien Domont" userId="6da7715ce44349b3" providerId="LiveId" clId="{B00D2795-A783-4827-B7F0-3CA19960AFE1}" dt="2022-09-27T00:16:31.471" v="317"/>
          <ac:spMkLst>
            <pc:docMk/>
            <pc:sldMk cId="1993088731" sldId="1671"/>
            <ac:spMk id="16" creationId="{6C2BB713-9637-4B9B-938F-E9768876782A}"/>
          </ac:spMkLst>
        </pc:spChg>
        <pc:spChg chg="del">
          <ac:chgData name="Aurelien Domont" userId="6da7715ce44349b3" providerId="LiveId" clId="{B00D2795-A783-4827-B7F0-3CA19960AFE1}" dt="2022-09-27T00:06:02.963" v="49" actId="478"/>
          <ac:spMkLst>
            <pc:docMk/>
            <pc:sldMk cId="1993088731" sldId="1671"/>
            <ac:spMk id="24" creationId="{24580747-588C-45A9-B860-06A1C300071D}"/>
          </ac:spMkLst>
        </pc:spChg>
      </pc:sldChg>
      <pc:sldChg chg="addSp delSp modSp del mod">
        <pc:chgData name="Aurelien Domont" userId="6da7715ce44349b3" providerId="LiveId" clId="{B00D2795-A783-4827-B7F0-3CA19960AFE1}" dt="2022-09-27T00:17:32.647" v="320" actId="47"/>
        <pc:sldMkLst>
          <pc:docMk/>
          <pc:sldMk cId="1575953849" sldId="1672"/>
        </pc:sldMkLst>
        <pc:spChg chg="add mod">
          <ac:chgData name="Aurelien Domont" userId="6da7715ce44349b3" providerId="LiveId" clId="{B00D2795-A783-4827-B7F0-3CA19960AFE1}" dt="2022-09-27T00:06:11.905" v="54" actId="1076"/>
          <ac:spMkLst>
            <pc:docMk/>
            <pc:sldMk cId="1575953849" sldId="1672"/>
            <ac:spMk id="2" creationId="{0AC0B6F3-01DC-2E62-B3A5-4A71BA4070A2}"/>
          </ac:spMkLst>
        </pc:spChg>
        <pc:spChg chg="mod">
          <ac:chgData name="Aurelien Domont" userId="6da7715ce44349b3" providerId="LiveId" clId="{B00D2795-A783-4827-B7F0-3CA19960AFE1}" dt="2022-09-27T00:16:31.471" v="317"/>
          <ac:spMkLst>
            <pc:docMk/>
            <pc:sldMk cId="1575953849" sldId="1672"/>
            <ac:spMk id="3" creationId="{CE2529A3-BA97-486F-9E02-8DFAAA7D8D38}"/>
          </ac:spMkLst>
        </pc:spChg>
        <pc:spChg chg="mod">
          <ac:chgData name="Aurelien Domont" userId="6da7715ce44349b3" providerId="LiveId" clId="{B00D2795-A783-4827-B7F0-3CA19960AFE1}" dt="2022-09-27T00:16:31.471" v="317"/>
          <ac:spMkLst>
            <pc:docMk/>
            <pc:sldMk cId="1575953849" sldId="1672"/>
            <ac:spMk id="16" creationId="{6C2BB713-9637-4B9B-938F-E9768876782A}"/>
          </ac:spMkLst>
        </pc:spChg>
        <pc:spChg chg="del">
          <ac:chgData name="Aurelien Domont" userId="6da7715ce44349b3" providerId="LiveId" clId="{B00D2795-A783-4827-B7F0-3CA19960AFE1}" dt="2022-09-27T00:06:08.994" v="52" actId="478"/>
          <ac:spMkLst>
            <pc:docMk/>
            <pc:sldMk cId="1575953849" sldId="1672"/>
            <ac:spMk id="24" creationId="{F064F178-7A00-4490-9FC0-7C8638DBD207}"/>
          </ac:spMkLst>
        </pc:spChg>
      </pc:sldChg>
      <pc:sldChg chg="addSp delSp modSp mod">
        <pc:chgData name="Aurelien Domont" userId="6da7715ce44349b3" providerId="LiveId" clId="{B00D2795-A783-4827-B7F0-3CA19960AFE1}" dt="2022-09-27T00:16:31.471" v="317"/>
        <pc:sldMkLst>
          <pc:docMk/>
          <pc:sldMk cId="1911082448" sldId="1673"/>
        </pc:sldMkLst>
        <pc:spChg chg="add mod">
          <ac:chgData name="Aurelien Domont" userId="6da7715ce44349b3" providerId="LiveId" clId="{B00D2795-A783-4827-B7F0-3CA19960AFE1}" dt="2022-09-27T00:06:23.361" v="58"/>
          <ac:spMkLst>
            <pc:docMk/>
            <pc:sldMk cId="1911082448" sldId="1673"/>
            <ac:spMk id="2" creationId="{BBD2645C-3624-BE12-9CD7-E0338D453118}"/>
          </ac:spMkLst>
        </pc:spChg>
        <pc:spChg chg="mod">
          <ac:chgData name="Aurelien Domont" userId="6da7715ce44349b3" providerId="LiveId" clId="{B00D2795-A783-4827-B7F0-3CA19960AFE1}" dt="2022-09-27T00:16:31.471" v="317"/>
          <ac:spMkLst>
            <pc:docMk/>
            <pc:sldMk cId="1911082448" sldId="1673"/>
            <ac:spMk id="3" creationId="{CE2529A3-BA97-486F-9E02-8DFAAA7D8D38}"/>
          </ac:spMkLst>
        </pc:spChg>
        <pc:spChg chg="mod">
          <ac:chgData name="Aurelien Domont" userId="6da7715ce44349b3" providerId="LiveId" clId="{B00D2795-A783-4827-B7F0-3CA19960AFE1}" dt="2022-09-27T00:16:31.471" v="317"/>
          <ac:spMkLst>
            <pc:docMk/>
            <pc:sldMk cId="1911082448" sldId="1673"/>
            <ac:spMk id="16" creationId="{6C2BB713-9637-4B9B-938F-E9768876782A}"/>
          </ac:spMkLst>
        </pc:spChg>
        <pc:spChg chg="del">
          <ac:chgData name="Aurelien Domont" userId="6da7715ce44349b3" providerId="LiveId" clId="{B00D2795-A783-4827-B7F0-3CA19960AFE1}" dt="2022-09-27T00:06:23.216" v="57" actId="478"/>
          <ac:spMkLst>
            <pc:docMk/>
            <pc:sldMk cId="1911082448" sldId="1673"/>
            <ac:spMk id="18" creationId="{A8DF7B9F-7DBA-45A7-B0B6-7E34FE66C382}"/>
          </ac:spMkLst>
        </pc:spChg>
        <pc:spChg chg="mod">
          <ac:chgData name="Aurelien Domont" userId="6da7715ce44349b3" providerId="LiveId" clId="{B00D2795-A783-4827-B7F0-3CA19960AFE1}" dt="2022-09-27T00:06:21.313" v="56" actId="14100"/>
          <ac:spMkLst>
            <pc:docMk/>
            <pc:sldMk cId="1911082448" sldId="1673"/>
            <ac:spMk id="53" creationId="{89D9D082-8BCA-4577-944D-556261C78D83}"/>
          </ac:spMkLst>
        </pc:spChg>
      </pc:sldChg>
      <pc:sldChg chg="addSp delSp modSp mod">
        <pc:chgData name="Aurelien Domont" userId="6da7715ce44349b3" providerId="LiveId" clId="{B00D2795-A783-4827-B7F0-3CA19960AFE1}" dt="2022-09-27T00:16:31.471" v="317"/>
        <pc:sldMkLst>
          <pc:docMk/>
          <pc:sldMk cId="3979278789" sldId="1674"/>
        </pc:sldMkLst>
        <pc:spChg chg="add mod">
          <ac:chgData name="Aurelien Domont" userId="6da7715ce44349b3" providerId="LiveId" clId="{B00D2795-A783-4827-B7F0-3CA19960AFE1}" dt="2022-09-27T00:06:28.150" v="60"/>
          <ac:spMkLst>
            <pc:docMk/>
            <pc:sldMk cId="3979278789" sldId="1674"/>
            <ac:spMk id="2" creationId="{839C9257-EA37-A13F-E342-D83F529919D8}"/>
          </ac:spMkLst>
        </pc:spChg>
        <pc:spChg chg="mod">
          <ac:chgData name="Aurelien Domont" userId="6da7715ce44349b3" providerId="LiveId" clId="{B00D2795-A783-4827-B7F0-3CA19960AFE1}" dt="2022-09-27T00:16:31.471" v="317"/>
          <ac:spMkLst>
            <pc:docMk/>
            <pc:sldMk cId="3979278789" sldId="1674"/>
            <ac:spMk id="3" creationId="{CE2529A3-BA97-486F-9E02-8DFAAA7D8D38}"/>
          </ac:spMkLst>
        </pc:spChg>
        <pc:spChg chg="mod">
          <ac:chgData name="Aurelien Domont" userId="6da7715ce44349b3" providerId="LiveId" clId="{B00D2795-A783-4827-B7F0-3CA19960AFE1}" dt="2022-09-27T00:16:31.471" v="317"/>
          <ac:spMkLst>
            <pc:docMk/>
            <pc:sldMk cId="3979278789" sldId="1674"/>
            <ac:spMk id="16" creationId="{6C2BB713-9637-4B9B-938F-E9768876782A}"/>
          </ac:spMkLst>
        </pc:spChg>
        <pc:spChg chg="del">
          <ac:chgData name="Aurelien Domont" userId="6da7715ce44349b3" providerId="LiveId" clId="{B00D2795-A783-4827-B7F0-3CA19960AFE1}" dt="2022-09-27T00:06:27.962" v="59" actId="478"/>
          <ac:spMkLst>
            <pc:docMk/>
            <pc:sldMk cId="3979278789" sldId="1674"/>
            <ac:spMk id="18" creationId="{B8D2232F-D674-4596-9C4B-EC348103D3A9}"/>
          </ac:spMkLst>
        </pc:spChg>
        <pc:spChg chg="mod">
          <ac:chgData name="Aurelien Domont" userId="6da7715ce44349b3" providerId="LiveId" clId="{B00D2795-A783-4827-B7F0-3CA19960AFE1}" dt="2022-09-27T00:06:36.917" v="62" actId="14100"/>
          <ac:spMkLst>
            <pc:docMk/>
            <pc:sldMk cId="3979278789" sldId="1674"/>
            <ac:spMk id="53" creationId="{89D9D082-8BCA-4577-944D-556261C78D83}"/>
          </ac:spMkLst>
        </pc:spChg>
      </pc:sldChg>
      <pc:sldChg chg="addSp delSp modSp mod">
        <pc:chgData name="Aurelien Domont" userId="6da7715ce44349b3" providerId="LiveId" clId="{B00D2795-A783-4827-B7F0-3CA19960AFE1}" dt="2022-09-27T00:16:31.471" v="317"/>
        <pc:sldMkLst>
          <pc:docMk/>
          <pc:sldMk cId="596656505" sldId="1675"/>
        </pc:sldMkLst>
        <pc:spChg chg="add mod">
          <ac:chgData name="Aurelien Domont" userId="6da7715ce44349b3" providerId="LiveId" clId="{B00D2795-A783-4827-B7F0-3CA19960AFE1}" dt="2022-09-27T00:06:40.486" v="64"/>
          <ac:spMkLst>
            <pc:docMk/>
            <pc:sldMk cId="596656505" sldId="1675"/>
            <ac:spMk id="2" creationId="{DEF45235-8107-C722-9515-CDAD7C9CA4D2}"/>
          </ac:spMkLst>
        </pc:spChg>
        <pc:spChg chg="mod">
          <ac:chgData name="Aurelien Domont" userId="6da7715ce44349b3" providerId="LiveId" clId="{B00D2795-A783-4827-B7F0-3CA19960AFE1}" dt="2022-09-27T00:16:31.471" v="317"/>
          <ac:spMkLst>
            <pc:docMk/>
            <pc:sldMk cId="596656505" sldId="1675"/>
            <ac:spMk id="3" creationId="{CE2529A3-BA97-486F-9E02-8DFAAA7D8D38}"/>
          </ac:spMkLst>
        </pc:spChg>
        <pc:spChg chg="mod">
          <ac:chgData name="Aurelien Domont" userId="6da7715ce44349b3" providerId="LiveId" clId="{B00D2795-A783-4827-B7F0-3CA19960AFE1}" dt="2022-09-27T00:16:31.471" v="317"/>
          <ac:spMkLst>
            <pc:docMk/>
            <pc:sldMk cId="596656505" sldId="1675"/>
            <ac:spMk id="16" creationId="{6C2BB713-9637-4B9B-938F-E9768876782A}"/>
          </ac:spMkLst>
        </pc:spChg>
        <pc:spChg chg="del">
          <ac:chgData name="Aurelien Domont" userId="6da7715ce44349b3" providerId="LiveId" clId="{B00D2795-A783-4827-B7F0-3CA19960AFE1}" dt="2022-09-27T00:06:40.359" v="63" actId="478"/>
          <ac:spMkLst>
            <pc:docMk/>
            <pc:sldMk cId="596656505" sldId="1675"/>
            <ac:spMk id="24" creationId="{DEB4C3C6-DA1C-4CA1-8E7C-FAFE59562391}"/>
          </ac:spMkLst>
        </pc:spChg>
      </pc:sldChg>
      <pc:sldChg chg="addSp delSp modSp mod">
        <pc:chgData name="Aurelien Domont" userId="6da7715ce44349b3" providerId="LiveId" clId="{B00D2795-A783-4827-B7F0-3CA19960AFE1}" dt="2022-09-27T00:16:31.471" v="317"/>
        <pc:sldMkLst>
          <pc:docMk/>
          <pc:sldMk cId="904598314" sldId="1676"/>
        </pc:sldMkLst>
        <pc:spChg chg="add mod">
          <ac:chgData name="Aurelien Domont" userId="6da7715ce44349b3" providerId="LiveId" clId="{B00D2795-A783-4827-B7F0-3CA19960AFE1}" dt="2022-09-27T00:06:48.358" v="67" actId="1076"/>
          <ac:spMkLst>
            <pc:docMk/>
            <pc:sldMk cId="904598314" sldId="1676"/>
            <ac:spMk id="2" creationId="{9558E880-BB1B-1C66-8D79-B77B9386C11A}"/>
          </ac:spMkLst>
        </pc:spChg>
        <pc:spChg chg="mod">
          <ac:chgData name="Aurelien Domont" userId="6da7715ce44349b3" providerId="LiveId" clId="{B00D2795-A783-4827-B7F0-3CA19960AFE1}" dt="2022-09-27T00:16:31.471" v="317"/>
          <ac:spMkLst>
            <pc:docMk/>
            <pc:sldMk cId="904598314" sldId="1676"/>
            <ac:spMk id="3" creationId="{CE2529A3-BA97-486F-9E02-8DFAAA7D8D38}"/>
          </ac:spMkLst>
        </pc:spChg>
        <pc:spChg chg="mod">
          <ac:chgData name="Aurelien Domont" userId="6da7715ce44349b3" providerId="LiveId" clId="{B00D2795-A783-4827-B7F0-3CA19960AFE1}" dt="2022-09-27T00:16:31.471" v="317"/>
          <ac:spMkLst>
            <pc:docMk/>
            <pc:sldMk cId="904598314" sldId="1676"/>
            <ac:spMk id="16" creationId="{6C2BB713-9637-4B9B-938F-E9768876782A}"/>
          </ac:spMkLst>
        </pc:spChg>
        <pc:spChg chg="del">
          <ac:chgData name="Aurelien Domont" userId="6da7715ce44349b3" providerId="LiveId" clId="{B00D2795-A783-4827-B7F0-3CA19960AFE1}" dt="2022-09-27T00:06:44.274" v="65" actId="478"/>
          <ac:spMkLst>
            <pc:docMk/>
            <pc:sldMk cId="904598314" sldId="1676"/>
            <ac:spMk id="47" creationId="{E46980B1-2FBE-46B0-BB7A-09479D6F01D5}"/>
          </ac:spMkLst>
        </pc:spChg>
      </pc:sldChg>
      <pc:sldChg chg="addSp delSp modSp mod">
        <pc:chgData name="Aurelien Domont" userId="6da7715ce44349b3" providerId="LiveId" clId="{B00D2795-A783-4827-B7F0-3CA19960AFE1}" dt="2022-09-27T00:16:31.471" v="317"/>
        <pc:sldMkLst>
          <pc:docMk/>
          <pc:sldMk cId="3863187025" sldId="1677"/>
        </pc:sldMkLst>
        <pc:spChg chg="add mod">
          <ac:chgData name="Aurelien Domont" userId="6da7715ce44349b3" providerId="LiveId" clId="{B00D2795-A783-4827-B7F0-3CA19960AFE1}" dt="2022-09-27T00:06:53.034" v="69"/>
          <ac:spMkLst>
            <pc:docMk/>
            <pc:sldMk cId="3863187025" sldId="1677"/>
            <ac:spMk id="2" creationId="{D8F07D49-A898-987C-2C23-1DA924975AF3}"/>
          </ac:spMkLst>
        </pc:spChg>
        <pc:spChg chg="mod">
          <ac:chgData name="Aurelien Domont" userId="6da7715ce44349b3" providerId="LiveId" clId="{B00D2795-A783-4827-B7F0-3CA19960AFE1}" dt="2022-09-27T00:16:31.471" v="317"/>
          <ac:spMkLst>
            <pc:docMk/>
            <pc:sldMk cId="3863187025" sldId="1677"/>
            <ac:spMk id="3" creationId="{CE2529A3-BA97-486F-9E02-8DFAAA7D8D38}"/>
          </ac:spMkLst>
        </pc:spChg>
        <pc:spChg chg="mod">
          <ac:chgData name="Aurelien Domont" userId="6da7715ce44349b3" providerId="LiveId" clId="{B00D2795-A783-4827-B7F0-3CA19960AFE1}" dt="2022-09-27T00:16:31.471" v="317"/>
          <ac:spMkLst>
            <pc:docMk/>
            <pc:sldMk cId="3863187025" sldId="1677"/>
            <ac:spMk id="16" creationId="{6C2BB713-9637-4B9B-938F-E9768876782A}"/>
          </ac:spMkLst>
        </pc:spChg>
        <pc:spChg chg="del">
          <ac:chgData name="Aurelien Domont" userId="6da7715ce44349b3" providerId="LiveId" clId="{B00D2795-A783-4827-B7F0-3CA19960AFE1}" dt="2022-09-27T00:06:52.937" v="68" actId="478"/>
          <ac:spMkLst>
            <pc:docMk/>
            <pc:sldMk cId="3863187025" sldId="1677"/>
            <ac:spMk id="37" creationId="{1653C172-1545-4D77-B66E-3270F2693F6A}"/>
          </ac:spMkLst>
        </pc:spChg>
      </pc:sldChg>
      <pc:sldChg chg="addSp delSp modSp mod">
        <pc:chgData name="Aurelien Domont" userId="6da7715ce44349b3" providerId="LiveId" clId="{B00D2795-A783-4827-B7F0-3CA19960AFE1}" dt="2022-09-27T00:16:31.471" v="317"/>
        <pc:sldMkLst>
          <pc:docMk/>
          <pc:sldMk cId="3917890172" sldId="1678"/>
        </pc:sldMkLst>
        <pc:spChg chg="add mod">
          <ac:chgData name="Aurelien Domont" userId="6da7715ce44349b3" providerId="LiveId" clId="{B00D2795-A783-4827-B7F0-3CA19960AFE1}" dt="2022-09-27T00:06:57.764" v="71"/>
          <ac:spMkLst>
            <pc:docMk/>
            <pc:sldMk cId="3917890172" sldId="1678"/>
            <ac:spMk id="2" creationId="{63DE41EA-42E5-A4E7-E84F-B6CB13BC9CBA}"/>
          </ac:spMkLst>
        </pc:spChg>
        <pc:spChg chg="mod">
          <ac:chgData name="Aurelien Domont" userId="6da7715ce44349b3" providerId="LiveId" clId="{B00D2795-A783-4827-B7F0-3CA19960AFE1}" dt="2022-09-27T00:16:31.471" v="317"/>
          <ac:spMkLst>
            <pc:docMk/>
            <pc:sldMk cId="3917890172" sldId="1678"/>
            <ac:spMk id="3" creationId="{CE2529A3-BA97-486F-9E02-8DFAAA7D8D38}"/>
          </ac:spMkLst>
        </pc:spChg>
        <pc:spChg chg="mod">
          <ac:chgData name="Aurelien Domont" userId="6da7715ce44349b3" providerId="LiveId" clId="{B00D2795-A783-4827-B7F0-3CA19960AFE1}" dt="2022-09-27T00:16:31.471" v="317"/>
          <ac:spMkLst>
            <pc:docMk/>
            <pc:sldMk cId="3917890172" sldId="1678"/>
            <ac:spMk id="16" creationId="{6C2BB713-9637-4B9B-938F-E9768876782A}"/>
          </ac:spMkLst>
        </pc:spChg>
        <pc:spChg chg="del">
          <ac:chgData name="Aurelien Domont" userId="6da7715ce44349b3" providerId="LiveId" clId="{B00D2795-A783-4827-B7F0-3CA19960AFE1}" dt="2022-09-27T00:06:57.688" v="70" actId="478"/>
          <ac:spMkLst>
            <pc:docMk/>
            <pc:sldMk cId="3917890172" sldId="1678"/>
            <ac:spMk id="27" creationId="{26A0BCA5-8BF3-4024-88C8-F0F02D3C8B99}"/>
          </ac:spMkLst>
        </pc:spChg>
      </pc:sldChg>
      <pc:sldChg chg="addSp delSp modSp del mod">
        <pc:chgData name="Aurelien Domont" userId="6da7715ce44349b3" providerId="LiveId" clId="{B00D2795-A783-4827-B7F0-3CA19960AFE1}" dt="2022-09-27T00:18:42.571" v="331" actId="47"/>
        <pc:sldMkLst>
          <pc:docMk/>
          <pc:sldMk cId="2920415411" sldId="1679"/>
        </pc:sldMkLst>
        <pc:spChg chg="add mod">
          <ac:chgData name="Aurelien Domont" userId="6da7715ce44349b3" providerId="LiveId" clId="{B00D2795-A783-4827-B7F0-3CA19960AFE1}" dt="2022-09-27T00:07:01.274" v="73"/>
          <ac:spMkLst>
            <pc:docMk/>
            <pc:sldMk cId="2920415411" sldId="1679"/>
            <ac:spMk id="2" creationId="{C48E6769-5769-6DAF-C460-9CDF50C94FA6}"/>
          </ac:spMkLst>
        </pc:spChg>
        <pc:spChg chg="mod">
          <ac:chgData name="Aurelien Domont" userId="6da7715ce44349b3" providerId="LiveId" clId="{B00D2795-A783-4827-B7F0-3CA19960AFE1}" dt="2022-09-27T00:16:31.471" v="317"/>
          <ac:spMkLst>
            <pc:docMk/>
            <pc:sldMk cId="2920415411" sldId="1679"/>
            <ac:spMk id="3" creationId="{CE2529A3-BA97-486F-9E02-8DFAAA7D8D38}"/>
          </ac:spMkLst>
        </pc:spChg>
        <pc:spChg chg="mod">
          <ac:chgData name="Aurelien Domont" userId="6da7715ce44349b3" providerId="LiveId" clId="{B00D2795-A783-4827-B7F0-3CA19960AFE1}" dt="2022-09-27T00:16:31.471" v="317"/>
          <ac:spMkLst>
            <pc:docMk/>
            <pc:sldMk cId="2920415411" sldId="1679"/>
            <ac:spMk id="16" creationId="{6C2BB713-9637-4B9B-938F-E9768876782A}"/>
          </ac:spMkLst>
        </pc:spChg>
        <pc:spChg chg="del">
          <ac:chgData name="Aurelien Domont" userId="6da7715ce44349b3" providerId="LiveId" clId="{B00D2795-A783-4827-B7F0-3CA19960AFE1}" dt="2022-09-27T00:07:01.196" v="72" actId="478"/>
          <ac:spMkLst>
            <pc:docMk/>
            <pc:sldMk cId="2920415411" sldId="1679"/>
            <ac:spMk id="22" creationId="{0623D736-D6DB-4CCE-9B88-A157DB9D6929}"/>
          </ac:spMkLst>
        </pc:spChg>
        <pc:graphicFrameChg chg="add del mod">
          <ac:chgData name="Aurelien Domont" userId="6da7715ce44349b3" providerId="LiveId" clId="{B00D2795-A783-4827-B7F0-3CA19960AFE1}" dt="2022-09-27T00:18:21.479" v="327"/>
          <ac:graphicFrameMkLst>
            <pc:docMk/>
            <pc:sldMk cId="2920415411" sldId="1679"/>
            <ac:graphicFrameMk id="4" creationId="{3EDC6D87-D074-58CB-9081-857572B4E3EF}"/>
          </ac:graphicFrameMkLst>
        </pc:graphicFrameChg>
        <pc:graphicFrameChg chg="add del mod">
          <ac:chgData name="Aurelien Domont" userId="6da7715ce44349b3" providerId="LiveId" clId="{B00D2795-A783-4827-B7F0-3CA19960AFE1}" dt="2022-09-27T00:18:35.058" v="330"/>
          <ac:graphicFrameMkLst>
            <pc:docMk/>
            <pc:sldMk cId="2920415411" sldId="1679"/>
            <ac:graphicFrameMk id="5" creationId="{47584DBF-15C5-8CAA-B505-9C468CEA785C}"/>
          </ac:graphicFrameMkLst>
        </pc:graphicFrameChg>
        <pc:graphicFrameChg chg="mod modGraphic">
          <ac:chgData name="Aurelien Domont" userId="6da7715ce44349b3" providerId="LiveId" clId="{B00D2795-A783-4827-B7F0-3CA19960AFE1}" dt="2022-09-27T00:18:27.693" v="328" actId="572"/>
          <ac:graphicFrameMkLst>
            <pc:docMk/>
            <pc:sldMk cId="2920415411" sldId="1679"/>
            <ac:graphicFrameMk id="27" creationId="{685F1AB3-119E-4D5C-9F29-11584065E930}"/>
          </ac:graphicFrameMkLst>
        </pc:graphicFrameChg>
      </pc:sldChg>
      <pc:sldChg chg="addSp delSp modSp mod">
        <pc:chgData name="Aurelien Domont" userId="6da7715ce44349b3" providerId="LiveId" clId="{B00D2795-A783-4827-B7F0-3CA19960AFE1}" dt="2022-09-27T00:18:56.485" v="333" actId="207"/>
        <pc:sldMkLst>
          <pc:docMk/>
          <pc:sldMk cId="297458219" sldId="1680"/>
        </pc:sldMkLst>
        <pc:spChg chg="add mod">
          <ac:chgData name="Aurelien Domont" userId="6da7715ce44349b3" providerId="LiveId" clId="{B00D2795-A783-4827-B7F0-3CA19960AFE1}" dt="2022-09-27T00:07:04.773" v="75"/>
          <ac:spMkLst>
            <pc:docMk/>
            <pc:sldMk cId="297458219" sldId="1680"/>
            <ac:spMk id="2" creationId="{C1E89911-D2B4-56D1-C1B7-30914AF10B0F}"/>
          </ac:spMkLst>
        </pc:spChg>
        <pc:spChg chg="mod">
          <ac:chgData name="Aurelien Domont" userId="6da7715ce44349b3" providerId="LiveId" clId="{B00D2795-A783-4827-B7F0-3CA19960AFE1}" dt="2022-09-27T00:16:31.471" v="317"/>
          <ac:spMkLst>
            <pc:docMk/>
            <pc:sldMk cId="297458219" sldId="1680"/>
            <ac:spMk id="3" creationId="{CE2529A3-BA97-486F-9E02-8DFAAA7D8D38}"/>
          </ac:spMkLst>
        </pc:spChg>
        <pc:spChg chg="mod">
          <ac:chgData name="Aurelien Domont" userId="6da7715ce44349b3" providerId="LiveId" clId="{B00D2795-A783-4827-B7F0-3CA19960AFE1}" dt="2022-09-27T00:16:31.471" v="317"/>
          <ac:spMkLst>
            <pc:docMk/>
            <pc:sldMk cId="297458219" sldId="1680"/>
            <ac:spMk id="16" creationId="{6C2BB713-9637-4B9B-938F-E9768876782A}"/>
          </ac:spMkLst>
        </pc:spChg>
        <pc:spChg chg="mod">
          <ac:chgData name="Aurelien Domont" userId="6da7715ce44349b3" providerId="LiveId" clId="{B00D2795-A783-4827-B7F0-3CA19960AFE1}" dt="2022-09-27T00:18:54.449" v="332" actId="207"/>
          <ac:spMkLst>
            <pc:docMk/>
            <pc:sldMk cId="297458219" sldId="1680"/>
            <ac:spMk id="24" creationId="{78CC15EE-437E-4AAD-B549-8C9DDF347B97}"/>
          </ac:spMkLst>
        </pc:spChg>
        <pc:spChg chg="mod">
          <ac:chgData name="Aurelien Domont" userId="6da7715ce44349b3" providerId="LiveId" clId="{B00D2795-A783-4827-B7F0-3CA19960AFE1}" dt="2022-09-27T00:18:56.485" v="333" actId="207"/>
          <ac:spMkLst>
            <pc:docMk/>
            <pc:sldMk cId="297458219" sldId="1680"/>
            <ac:spMk id="46" creationId="{8755760A-8DD6-4D6D-8CFF-E00AE6F3C32A}"/>
          </ac:spMkLst>
        </pc:spChg>
        <pc:spChg chg="mod">
          <ac:chgData name="Aurelien Domont" userId="6da7715ce44349b3" providerId="LiveId" clId="{B00D2795-A783-4827-B7F0-3CA19960AFE1}" dt="2022-09-27T00:18:54.449" v="332" actId="207"/>
          <ac:spMkLst>
            <pc:docMk/>
            <pc:sldMk cId="297458219" sldId="1680"/>
            <ac:spMk id="47" creationId="{8E22B649-7320-41BE-BDE6-1990810B4CAC}"/>
          </ac:spMkLst>
        </pc:spChg>
        <pc:spChg chg="mod">
          <ac:chgData name="Aurelien Domont" userId="6da7715ce44349b3" providerId="LiveId" clId="{B00D2795-A783-4827-B7F0-3CA19960AFE1}" dt="2022-09-27T00:18:54.449" v="332" actId="207"/>
          <ac:spMkLst>
            <pc:docMk/>
            <pc:sldMk cId="297458219" sldId="1680"/>
            <ac:spMk id="48" creationId="{5E5B9537-9B51-4FC4-8A5B-D33A4154ADC8}"/>
          </ac:spMkLst>
        </pc:spChg>
        <pc:spChg chg="mod">
          <ac:chgData name="Aurelien Domont" userId="6da7715ce44349b3" providerId="LiveId" clId="{B00D2795-A783-4827-B7F0-3CA19960AFE1}" dt="2022-09-27T00:18:54.449" v="332" actId="207"/>
          <ac:spMkLst>
            <pc:docMk/>
            <pc:sldMk cId="297458219" sldId="1680"/>
            <ac:spMk id="49" creationId="{C9D1E12F-520C-42B9-AEF0-A4728CD792C3}"/>
          </ac:spMkLst>
        </pc:spChg>
        <pc:spChg chg="mod">
          <ac:chgData name="Aurelien Domont" userId="6da7715ce44349b3" providerId="LiveId" clId="{B00D2795-A783-4827-B7F0-3CA19960AFE1}" dt="2022-09-27T00:18:54.449" v="332" actId="207"/>
          <ac:spMkLst>
            <pc:docMk/>
            <pc:sldMk cId="297458219" sldId="1680"/>
            <ac:spMk id="50" creationId="{C94F7C42-C58E-4523-9185-61EA4FF0D529}"/>
          </ac:spMkLst>
        </pc:spChg>
        <pc:spChg chg="del">
          <ac:chgData name="Aurelien Domont" userId="6da7715ce44349b3" providerId="LiveId" clId="{B00D2795-A783-4827-B7F0-3CA19960AFE1}" dt="2022-09-27T00:07:04.682" v="74" actId="478"/>
          <ac:spMkLst>
            <pc:docMk/>
            <pc:sldMk cId="297458219" sldId="1680"/>
            <ac:spMk id="96" creationId="{DBDE1AEF-4614-4AFE-AC28-04ECAEC6ABC6}"/>
          </ac:spMkLst>
        </pc:spChg>
      </pc:sldChg>
      <pc:sldChg chg="addSp delSp modSp mod">
        <pc:chgData name="Aurelien Domont" userId="6da7715ce44349b3" providerId="LiveId" clId="{B00D2795-A783-4827-B7F0-3CA19960AFE1}" dt="2022-09-27T00:16:31.471" v="317"/>
        <pc:sldMkLst>
          <pc:docMk/>
          <pc:sldMk cId="1635324952" sldId="1681"/>
        </pc:sldMkLst>
        <pc:spChg chg="add mod">
          <ac:chgData name="Aurelien Domont" userId="6da7715ce44349b3" providerId="LiveId" clId="{B00D2795-A783-4827-B7F0-3CA19960AFE1}" dt="2022-09-27T00:07:08.383" v="77"/>
          <ac:spMkLst>
            <pc:docMk/>
            <pc:sldMk cId="1635324952" sldId="1681"/>
            <ac:spMk id="2" creationId="{42CCC3EE-6778-8B4B-2C35-1559F226745A}"/>
          </ac:spMkLst>
        </pc:spChg>
        <pc:spChg chg="mod">
          <ac:chgData name="Aurelien Domont" userId="6da7715ce44349b3" providerId="LiveId" clId="{B00D2795-A783-4827-B7F0-3CA19960AFE1}" dt="2022-09-27T00:16:31.471" v="317"/>
          <ac:spMkLst>
            <pc:docMk/>
            <pc:sldMk cId="1635324952" sldId="1681"/>
            <ac:spMk id="3" creationId="{CE2529A3-BA97-486F-9E02-8DFAAA7D8D38}"/>
          </ac:spMkLst>
        </pc:spChg>
        <pc:spChg chg="mod">
          <ac:chgData name="Aurelien Domont" userId="6da7715ce44349b3" providerId="LiveId" clId="{B00D2795-A783-4827-B7F0-3CA19960AFE1}" dt="2022-09-27T00:16:31.471" v="317"/>
          <ac:spMkLst>
            <pc:docMk/>
            <pc:sldMk cId="1635324952" sldId="1681"/>
            <ac:spMk id="16" creationId="{6C2BB713-9637-4B9B-938F-E9768876782A}"/>
          </ac:spMkLst>
        </pc:spChg>
        <pc:spChg chg="del">
          <ac:chgData name="Aurelien Domont" userId="6da7715ce44349b3" providerId="LiveId" clId="{B00D2795-A783-4827-B7F0-3CA19960AFE1}" dt="2022-09-27T00:07:08.309" v="76" actId="478"/>
          <ac:spMkLst>
            <pc:docMk/>
            <pc:sldMk cId="1635324952" sldId="1681"/>
            <ac:spMk id="19" creationId="{4CE6E825-9A8F-4C0B-8D6C-C37447CD23B1}"/>
          </ac:spMkLst>
        </pc:spChg>
      </pc:sldChg>
      <pc:sldChg chg="addSp delSp modSp mod">
        <pc:chgData name="Aurelien Domont" userId="6da7715ce44349b3" providerId="LiveId" clId="{B00D2795-A783-4827-B7F0-3CA19960AFE1}" dt="2022-09-27T00:19:39.803" v="337" actId="207"/>
        <pc:sldMkLst>
          <pc:docMk/>
          <pc:sldMk cId="3014197518" sldId="1682"/>
        </pc:sldMkLst>
        <pc:spChg chg="add mod">
          <ac:chgData name="Aurelien Domont" userId="6da7715ce44349b3" providerId="LiveId" clId="{B00D2795-A783-4827-B7F0-3CA19960AFE1}" dt="2022-09-27T00:07:11.932" v="79"/>
          <ac:spMkLst>
            <pc:docMk/>
            <pc:sldMk cId="3014197518" sldId="1682"/>
            <ac:spMk id="2" creationId="{4F1A5E86-9979-3CBF-C9C5-BB234BF4DBBB}"/>
          </ac:spMkLst>
        </pc:spChg>
        <pc:spChg chg="mod">
          <ac:chgData name="Aurelien Domont" userId="6da7715ce44349b3" providerId="LiveId" clId="{B00D2795-A783-4827-B7F0-3CA19960AFE1}" dt="2022-09-27T00:16:31.471" v="317"/>
          <ac:spMkLst>
            <pc:docMk/>
            <pc:sldMk cId="3014197518" sldId="1682"/>
            <ac:spMk id="3" creationId="{CE2529A3-BA97-486F-9E02-8DFAAA7D8D38}"/>
          </ac:spMkLst>
        </pc:spChg>
        <pc:spChg chg="mod">
          <ac:chgData name="Aurelien Domont" userId="6da7715ce44349b3" providerId="LiveId" clId="{B00D2795-A783-4827-B7F0-3CA19960AFE1}" dt="2022-09-27T00:16:31.471" v="317"/>
          <ac:spMkLst>
            <pc:docMk/>
            <pc:sldMk cId="3014197518" sldId="1682"/>
            <ac:spMk id="16" creationId="{6C2BB713-9637-4B9B-938F-E9768876782A}"/>
          </ac:spMkLst>
        </pc:spChg>
        <pc:spChg chg="mod">
          <ac:chgData name="Aurelien Domont" userId="6da7715ce44349b3" providerId="LiveId" clId="{B00D2795-A783-4827-B7F0-3CA19960AFE1}" dt="2022-09-27T00:19:17.574" v="334" actId="207"/>
          <ac:spMkLst>
            <pc:docMk/>
            <pc:sldMk cId="3014197518" sldId="1682"/>
            <ac:spMk id="21" creationId="{6717F6F1-6C17-46DE-903F-EF6CF20250B8}"/>
          </ac:spMkLst>
        </pc:spChg>
        <pc:spChg chg="mod">
          <ac:chgData name="Aurelien Domont" userId="6da7715ce44349b3" providerId="LiveId" clId="{B00D2795-A783-4827-B7F0-3CA19960AFE1}" dt="2022-09-27T00:19:39.803" v="337" actId="207"/>
          <ac:spMkLst>
            <pc:docMk/>
            <pc:sldMk cId="3014197518" sldId="1682"/>
            <ac:spMk id="26" creationId="{A0BBCF43-34D7-48E1-AFF8-C46DAC70AE62}"/>
          </ac:spMkLst>
        </pc:spChg>
        <pc:spChg chg="mod">
          <ac:chgData name="Aurelien Domont" userId="6da7715ce44349b3" providerId="LiveId" clId="{B00D2795-A783-4827-B7F0-3CA19960AFE1}" dt="2022-09-27T00:19:25.368" v="335" actId="207"/>
          <ac:spMkLst>
            <pc:docMk/>
            <pc:sldMk cId="3014197518" sldId="1682"/>
            <ac:spMk id="27" creationId="{0346C7EE-9A76-4580-9237-36FC2CE31CB2}"/>
          </ac:spMkLst>
        </pc:spChg>
        <pc:spChg chg="mod">
          <ac:chgData name="Aurelien Domont" userId="6da7715ce44349b3" providerId="LiveId" clId="{B00D2795-A783-4827-B7F0-3CA19960AFE1}" dt="2022-09-27T00:19:25.368" v="335" actId="207"/>
          <ac:spMkLst>
            <pc:docMk/>
            <pc:sldMk cId="3014197518" sldId="1682"/>
            <ac:spMk id="28" creationId="{89C9A97C-CD76-4E12-8DF8-88C05138C16A}"/>
          </ac:spMkLst>
        </pc:spChg>
        <pc:spChg chg="mod">
          <ac:chgData name="Aurelien Domont" userId="6da7715ce44349b3" providerId="LiveId" clId="{B00D2795-A783-4827-B7F0-3CA19960AFE1}" dt="2022-09-27T00:19:25.368" v="335" actId="207"/>
          <ac:spMkLst>
            <pc:docMk/>
            <pc:sldMk cId="3014197518" sldId="1682"/>
            <ac:spMk id="30" creationId="{3A2FF774-A6C9-4530-A902-937E2FBE920A}"/>
          </ac:spMkLst>
        </pc:spChg>
        <pc:spChg chg="mod">
          <ac:chgData name="Aurelien Domont" userId="6da7715ce44349b3" providerId="LiveId" clId="{B00D2795-A783-4827-B7F0-3CA19960AFE1}" dt="2022-09-27T00:19:25.368" v="335" actId="207"/>
          <ac:spMkLst>
            <pc:docMk/>
            <pc:sldMk cId="3014197518" sldId="1682"/>
            <ac:spMk id="31" creationId="{A516EEBC-7775-4FFC-96A7-E777FD6A5324}"/>
          </ac:spMkLst>
        </pc:spChg>
        <pc:spChg chg="mod">
          <ac:chgData name="Aurelien Domont" userId="6da7715ce44349b3" providerId="LiveId" clId="{B00D2795-A783-4827-B7F0-3CA19960AFE1}" dt="2022-09-27T00:19:25.368" v="335" actId="207"/>
          <ac:spMkLst>
            <pc:docMk/>
            <pc:sldMk cId="3014197518" sldId="1682"/>
            <ac:spMk id="32" creationId="{6E1BC0E5-F5B1-464F-8B26-3F4B7EA809FA}"/>
          </ac:spMkLst>
        </pc:spChg>
        <pc:spChg chg="mod">
          <ac:chgData name="Aurelien Domont" userId="6da7715ce44349b3" providerId="LiveId" clId="{B00D2795-A783-4827-B7F0-3CA19960AFE1}" dt="2022-09-27T00:19:25.368" v="335" actId="207"/>
          <ac:spMkLst>
            <pc:docMk/>
            <pc:sldMk cId="3014197518" sldId="1682"/>
            <ac:spMk id="33" creationId="{43AB5A1B-2680-4A79-B3EF-6ED0BC02ECE2}"/>
          </ac:spMkLst>
        </pc:spChg>
        <pc:spChg chg="mod">
          <ac:chgData name="Aurelien Domont" userId="6da7715ce44349b3" providerId="LiveId" clId="{B00D2795-A783-4827-B7F0-3CA19960AFE1}" dt="2022-09-27T00:19:25.368" v="335" actId="207"/>
          <ac:spMkLst>
            <pc:docMk/>
            <pc:sldMk cId="3014197518" sldId="1682"/>
            <ac:spMk id="34" creationId="{2B150E59-70F5-4DAE-AEA6-83A24C317C87}"/>
          </ac:spMkLst>
        </pc:spChg>
        <pc:spChg chg="mod">
          <ac:chgData name="Aurelien Domont" userId="6da7715ce44349b3" providerId="LiveId" clId="{B00D2795-A783-4827-B7F0-3CA19960AFE1}" dt="2022-09-27T00:19:25.368" v="335" actId="207"/>
          <ac:spMkLst>
            <pc:docMk/>
            <pc:sldMk cId="3014197518" sldId="1682"/>
            <ac:spMk id="35" creationId="{59E9946B-2E5C-4D19-8875-8BDBE4DBAB01}"/>
          </ac:spMkLst>
        </pc:spChg>
        <pc:spChg chg="mod">
          <ac:chgData name="Aurelien Domont" userId="6da7715ce44349b3" providerId="LiveId" clId="{B00D2795-A783-4827-B7F0-3CA19960AFE1}" dt="2022-09-27T00:19:25.368" v="335" actId="207"/>
          <ac:spMkLst>
            <pc:docMk/>
            <pc:sldMk cId="3014197518" sldId="1682"/>
            <ac:spMk id="36" creationId="{C8B67819-EB06-40B9-A5AE-0548AB8C89F6}"/>
          </ac:spMkLst>
        </pc:spChg>
        <pc:spChg chg="mod">
          <ac:chgData name="Aurelien Domont" userId="6da7715ce44349b3" providerId="LiveId" clId="{B00D2795-A783-4827-B7F0-3CA19960AFE1}" dt="2022-09-27T00:19:25.368" v="335" actId="207"/>
          <ac:spMkLst>
            <pc:docMk/>
            <pc:sldMk cId="3014197518" sldId="1682"/>
            <ac:spMk id="37" creationId="{0DB00C17-0C67-4FA2-A198-177D31AC2E36}"/>
          </ac:spMkLst>
        </pc:spChg>
        <pc:spChg chg="mod">
          <ac:chgData name="Aurelien Domont" userId="6da7715ce44349b3" providerId="LiveId" clId="{B00D2795-A783-4827-B7F0-3CA19960AFE1}" dt="2022-09-27T00:19:25.368" v="335" actId="207"/>
          <ac:spMkLst>
            <pc:docMk/>
            <pc:sldMk cId="3014197518" sldId="1682"/>
            <ac:spMk id="38" creationId="{D8BBBE97-E4CF-4FC7-9E9C-941628496DC9}"/>
          </ac:spMkLst>
        </pc:spChg>
        <pc:spChg chg="mod">
          <ac:chgData name="Aurelien Domont" userId="6da7715ce44349b3" providerId="LiveId" clId="{B00D2795-A783-4827-B7F0-3CA19960AFE1}" dt="2022-09-27T00:19:25.368" v="335" actId="207"/>
          <ac:spMkLst>
            <pc:docMk/>
            <pc:sldMk cId="3014197518" sldId="1682"/>
            <ac:spMk id="39" creationId="{652967D5-76AA-4981-B379-5C737A320B97}"/>
          </ac:spMkLst>
        </pc:spChg>
        <pc:spChg chg="mod">
          <ac:chgData name="Aurelien Domont" userId="6da7715ce44349b3" providerId="LiveId" clId="{B00D2795-A783-4827-B7F0-3CA19960AFE1}" dt="2022-09-27T00:19:39.803" v="337" actId="207"/>
          <ac:spMkLst>
            <pc:docMk/>
            <pc:sldMk cId="3014197518" sldId="1682"/>
            <ac:spMk id="40" creationId="{0EA5C73C-AC6D-488E-8BAB-8EC7AA9C8B9F}"/>
          </ac:spMkLst>
        </pc:spChg>
        <pc:spChg chg="mod">
          <ac:chgData name="Aurelien Domont" userId="6da7715ce44349b3" providerId="LiveId" clId="{B00D2795-A783-4827-B7F0-3CA19960AFE1}" dt="2022-09-27T00:19:25.368" v="335" actId="207"/>
          <ac:spMkLst>
            <pc:docMk/>
            <pc:sldMk cId="3014197518" sldId="1682"/>
            <ac:spMk id="41" creationId="{B66D62B0-FF6A-439D-92F2-557D7E4195EF}"/>
          </ac:spMkLst>
        </pc:spChg>
        <pc:spChg chg="mod">
          <ac:chgData name="Aurelien Domont" userId="6da7715ce44349b3" providerId="LiveId" clId="{B00D2795-A783-4827-B7F0-3CA19960AFE1}" dt="2022-09-27T00:19:39.803" v="337" actId="207"/>
          <ac:spMkLst>
            <pc:docMk/>
            <pc:sldMk cId="3014197518" sldId="1682"/>
            <ac:spMk id="42" creationId="{C569C94F-26C6-4489-BD83-77ACA25539E0}"/>
          </ac:spMkLst>
        </pc:spChg>
        <pc:spChg chg="mod">
          <ac:chgData name="Aurelien Domont" userId="6da7715ce44349b3" providerId="LiveId" clId="{B00D2795-A783-4827-B7F0-3CA19960AFE1}" dt="2022-09-27T00:19:25.368" v="335" actId="207"/>
          <ac:spMkLst>
            <pc:docMk/>
            <pc:sldMk cId="3014197518" sldId="1682"/>
            <ac:spMk id="43" creationId="{AD9EB863-E1C8-4A1A-A77A-3A9B11DC542E}"/>
          </ac:spMkLst>
        </pc:spChg>
        <pc:spChg chg="mod">
          <ac:chgData name="Aurelien Domont" userId="6da7715ce44349b3" providerId="LiveId" clId="{B00D2795-A783-4827-B7F0-3CA19960AFE1}" dt="2022-09-27T00:19:25.368" v="335" actId="207"/>
          <ac:spMkLst>
            <pc:docMk/>
            <pc:sldMk cId="3014197518" sldId="1682"/>
            <ac:spMk id="44" creationId="{0AF87A32-D262-48DA-8310-72F59D34D775}"/>
          </ac:spMkLst>
        </pc:spChg>
        <pc:spChg chg="mod">
          <ac:chgData name="Aurelien Domont" userId="6da7715ce44349b3" providerId="LiveId" clId="{B00D2795-A783-4827-B7F0-3CA19960AFE1}" dt="2022-09-27T00:19:25.368" v="335" actId="207"/>
          <ac:spMkLst>
            <pc:docMk/>
            <pc:sldMk cId="3014197518" sldId="1682"/>
            <ac:spMk id="45" creationId="{49F765D1-81EC-43FC-9A00-7C0DA0FD5CFD}"/>
          </ac:spMkLst>
        </pc:spChg>
        <pc:spChg chg="mod">
          <ac:chgData name="Aurelien Domont" userId="6da7715ce44349b3" providerId="LiveId" clId="{B00D2795-A783-4827-B7F0-3CA19960AFE1}" dt="2022-09-27T00:19:25.368" v="335" actId="207"/>
          <ac:spMkLst>
            <pc:docMk/>
            <pc:sldMk cId="3014197518" sldId="1682"/>
            <ac:spMk id="46" creationId="{83DAD569-64C1-4643-AB35-B76986FE23DC}"/>
          </ac:spMkLst>
        </pc:spChg>
        <pc:spChg chg="mod">
          <ac:chgData name="Aurelien Domont" userId="6da7715ce44349b3" providerId="LiveId" clId="{B00D2795-A783-4827-B7F0-3CA19960AFE1}" dt="2022-09-27T00:19:25.368" v="335" actId="207"/>
          <ac:spMkLst>
            <pc:docMk/>
            <pc:sldMk cId="3014197518" sldId="1682"/>
            <ac:spMk id="47" creationId="{DCB989EB-27F5-4EFA-91B3-030051561F04}"/>
          </ac:spMkLst>
        </pc:spChg>
        <pc:spChg chg="mod">
          <ac:chgData name="Aurelien Domont" userId="6da7715ce44349b3" providerId="LiveId" clId="{B00D2795-A783-4827-B7F0-3CA19960AFE1}" dt="2022-09-27T00:19:25.368" v="335" actId="207"/>
          <ac:spMkLst>
            <pc:docMk/>
            <pc:sldMk cId="3014197518" sldId="1682"/>
            <ac:spMk id="48" creationId="{77F1D27D-93F5-4EE2-AEAF-59BB906FE8C0}"/>
          </ac:spMkLst>
        </pc:spChg>
        <pc:spChg chg="mod">
          <ac:chgData name="Aurelien Domont" userId="6da7715ce44349b3" providerId="LiveId" clId="{B00D2795-A783-4827-B7F0-3CA19960AFE1}" dt="2022-09-27T00:19:25.368" v="335" actId="207"/>
          <ac:spMkLst>
            <pc:docMk/>
            <pc:sldMk cId="3014197518" sldId="1682"/>
            <ac:spMk id="49" creationId="{4C52842C-E18E-49DB-8C72-0D68B4BABC09}"/>
          </ac:spMkLst>
        </pc:spChg>
        <pc:spChg chg="mod">
          <ac:chgData name="Aurelien Domont" userId="6da7715ce44349b3" providerId="LiveId" clId="{B00D2795-A783-4827-B7F0-3CA19960AFE1}" dt="2022-09-27T00:19:25.368" v="335" actId="207"/>
          <ac:spMkLst>
            <pc:docMk/>
            <pc:sldMk cId="3014197518" sldId="1682"/>
            <ac:spMk id="50" creationId="{3EF54BFA-7567-47CA-A3E8-992B4D974982}"/>
          </ac:spMkLst>
        </pc:spChg>
        <pc:spChg chg="mod">
          <ac:chgData name="Aurelien Domont" userId="6da7715ce44349b3" providerId="LiveId" clId="{B00D2795-A783-4827-B7F0-3CA19960AFE1}" dt="2022-09-27T00:19:25.368" v="335" actId="207"/>
          <ac:spMkLst>
            <pc:docMk/>
            <pc:sldMk cId="3014197518" sldId="1682"/>
            <ac:spMk id="51" creationId="{DAEBD224-A3FD-47AA-9C95-8D267A6C1A7F}"/>
          </ac:spMkLst>
        </pc:spChg>
        <pc:spChg chg="mod">
          <ac:chgData name="Aurelien Domont" userId="6da7715ce44349b3" providerId="LiveId" clId="{B00D2795-A783-4827-B7F0-3CA19960AFE1}" dt="2022-09-27T00:19:25.368" v="335" actId="207"/>
          <ac:spMkLst>
            <pc:docMk/>
            <pc:sldMk cId="3014197518" sldId="1682"/>
            <ac:spMk id="52" creationId="{75F9D0C0-BF69-4055-92EB-A435AE0DDA6E}"/>
          </ac:spMkLst>
        </pc:spChg>
        <pc:spChg chg="mod">
          <ac:chgData name="Aurelien Domont" userId="6da7715ce44349b3" providerId="LiveId" clId="{B00D2795-A783-4827-B7F0-3CA19960AFE1}" dt="2022-09-27T00:19:25.368" v="335" actId="207"/>
          <ac:spMkLst>
            <pc:docMk/>
            <pc:sldMk cId="3014197518" sldId="1682"/>
            <ac:spMk id="53" creationId="{CD281278-4AA2-4E9F-BD57-40552C087D1C}"/>
          </ac:spMkLst>
        </pc:spChg>
        <pc:spChg chg="mod">
          <ac:chgData name="Aurelien Domont" userId="6da7715ce44349b3" providerId="LiveId" clId="{B00D2795-A783-4827-B7F0-3CA19960AFE1}" dt="2022-09-27T00:19:25.368" v="335" actId="207"/>
          <ac:spMkLst>
            <pc:docMk/>
            <pc:sldMk cId="3014197518" sldId="1682"/>
            <ac:spMk id="54" creationId="{51035EE2-0386-48CD-BD2E-BB690B2FB79F}"/>
          </ac:spMkLst>
        </pc:spChg>
        <pc:spChg chg="mod">
          <ac:chgData name="Aurelien Domont" userId="6da7715ce44349b3" providerId="LiveId" clId="{B00D2795-A783-4827-B7F0-3CA19960AFE1}" dt="2022-09-27T00:19:25.368" v="335" actId="207"/>
          <ac:spMkLst>
            <pc:docMk/>
            <pc:sldMk cId="3014197518" sldId="1682"/>
            <ac:spMk id="55" creationId="{19BF7F33-0B46-4AD7-B347-480D79407688}"/>
          </ac:spMkLst>
        </pc:spChg>
        <pc:spChg chg="mod">
          <ac:chgData name="Aurelien Domont" userId="6da7715ce44349b3" providerId="LiveId" clId="{B00D2795-A783-4827-B7F0-3CA19960AFE1}" dt="2022-09-27T00:19:32.029" v="336" actId="207"/>
          <ac:spMkLst>
            <pc:docMk/>
            <pc:sldMk cId="3014197518" sldId="1682"/>
            <ac:spMk id="56" creationId="{DC1D984A-43E3-451B-B91A-CE5AAE14F4FF}"/>
          </ac:spMkLst>
        </pc:spChg>
        <pc:spChg chg="del">
          <ac:chgData name="Aurelien Domont" userId="6da7715ce44349b3" providerId="LiveId" clId="{B00D2795-A783-4827-B7F0-3CA19960AFE1}" dt="2022-09-27T00:07:11.864" v="78" actId="478"/>
          <ac:spMkLst>
            <pc:docMk/>
            <pc:sldMk cId="3014197518" sldId="1682"/>
            <ac:spMk id="60" creationId="{FE410F44-E8DD-40E6-8FB8-C80159EFE7AC}"/>
          </ac:spMkLst>
        </pc:spChg>
      </pc:sldChg>
      <pc:sldChg chg="modSp">
        <pc:chgData name="Aurelien Domont" userId="6da7715ce44349b3" providerId="LiveId" clId="{B00D2795-A783-4827-B7F0-3CA19960AFE1}" dt="2022-09-27T00:16:31.471" v="317"/>
        <pc:sldMkLst>
          <pc:docMk/>
          <pc:sldMk cId="2068665984" sldId="1988"/>
        </pc:sldMkLst>
        <pc:spChg chg="mod">
          <ac:chgData name="Aurelien Domont" userId="6da7715ce44349b3" providerId="LiveId" clId="{B00D2795-A783-4827-B7F0-3CA19960AFE1}" dt="2022-09-27T00:16:31.471" v="317"/>
          <ac:spMkLst>
            <pc:docMk/>
            <pc:sldMk cId="2068665984" sldId="1988"/>
            <ac:spMk id="3" creationId="{CE2529A3-BA97-486F-9E02-8DFAAA7D8D38}"/>
          </ac:spMkLst>
        </pc:spChg>
        <pc:spChg chg="mod">
          <ac:chgData name="Aurelien Domont" userId="6da7715ce44349b3" providerId="LiveId" clId="{B00D2795-A783-4827-B7F0-3CA19960AFE1}" dt="2022-09-27T00:16:31.471" v="317"/>
          <ac:spMkLst>
            <pc:docMk/>
            <pc:sldMk cId="2068665984" sldId="1988"/>
            <ac:spMk id="16" creationId="{6C2BB713-9637-4B9B-938F-E9768876782A}"/>
          </ac:spMkLst>
        </pc:spChg>
      </pc:sldChg>
      <pc:sldChg chg="modSp">
        <pc:chgData name="Aurelien Domont" userId="6da7715ce44349b3" providerId="LiveId" clId="{B00D2795-A783-4827-B7F0-3CA19960AFE1}" dt="2022-09-27T00:16:31.471" v="317"/>
        <pc:sldMkLst>
          <pc:docMk/>
          <pc:sldMk cId="4140853747" sldId="1997"/>
        </pc:sldMkLst>
        <pc:spChg chg="mod">
          <ac:chgData name="Aurelien Domont" userId="6da7715ce44349b3" providerId="LiveId" clId="{B00D2795-A783-4827-B7F0-3CA19960AFE1}" dt="2022-09-27T00:16:31.471" v="317"/>
          <ac:spMkLst>
            <pc:docMk/>
            <pc:sldMk cId="4140853747" sldId="1997"/>
            <ac:spMk id="3" creationId="{CE2529A3-BA97-486F-9E02-8DFAAA7D8D38}"/>
          </ac:spMkLst>
        </pc:spChg>
        <pc:spChg chg="mod">
          <ac:chgData name="Aurelien Domont" userId="6da7715ce44349b3" providerId="LiveId" clId="{B00D2795-A783-4827-B7F0-3CA19960AFE1}" dt="2022-09-27T00:16:31.471" v="317"/>
          <ac:spMkLst>
            <pc:docMk/>
            <pc:sldMk cId="4140853747" sldId="1997"/>
            <ac:spMk id="16" creationId="{6C2BB713-9637-4B9B-938F-E9768876782A}"/>
          </ac:spMkLst>
        </pc:spChg>
      </pc:sldChg>
      <pc:sldChg chg="del">
        <pc:chgData name="Aurelien Domont" userId="6da7715ce44349b3" providerId="LiveId" clId="{B00D2795-A783-4827-B7F0-3CA19960AFE1}" dt="2022-09-27T00:01:41.386" v="2" actId="2696"/>
        <pc:sldMkLst>
          <pc:docMk/>
          <pc:sldMk cId="1083128626" sldId="2010"/>
        </pc:sldMkLst>
      </pc:sldChg>
      <pc:sldChg chg="modSp add mod">
        <pc:chgData name="Aurelien Domont" userId="6da7715ce44349b3" providerId="LiveId" clId="{B00D2795-A783-4827-B7F0-3CA19960AFE1}" dt="2022-09-27T00:20:42.664" v="341" actId="207"/>
        <pc:sldMkLst>
          <pc:docMk/>
          <pc:sldMk cId="2253096957" sldId="2010"/>
        </pc:sldMkLst>
        <pc:spChg chg="mod">
          <ac:chgData name="Aurelien Domont" userId="6da7715ce44349b3" providerId="LiveId" clId="{B00D2795-A783-4827-B7F0-3CA19960AFE1}" dt="2022-09-27T00:20:42.664" v="341" actId="207"/>
          <ac:spMkLst>
            <pc:docMk/>
            <pc:sldMk cId="2253096957" sldId="2010"/>
            <ac:spMk id="3" creationId="{640D5A11-F727-4C14-B097-3786404B2374}"/>
          </ac:spMkLst>
        </pc:spChg>
        <pc:spChg chg="mod">
          <ac:chgData name="Aurelien Domont" userId="6da7715ce44349b3" providerId="LiveId" clId="{B00D2795-A783-4827-B7F0-3CA19960AFE1}" dt="2022-09-27T00:20:42.664" v="341" actId="207"/>
          <ac:spMkLst>
            <pc:docMk/>
            <pc:sldMk cId="2253096957" sldId="2010"/>
            <ac:spMk id="5" creationId="{11C8B0E7-A1CC-4EE2-884D-0A35D016C9EB}"/>
          </ac:spMkLst>
        </pc:spChg>
        <pc:spChg chg="mod">
          <ac:chgData name="Aurelien Domont" userId="6da7715ce44349b3" providerId="LiveId" clId="{B00D2795-A783-4827-B7F0-3CA19960AFE1}" dt="2022-09-27T00:12:06.488" v="252" actId="20577"/>
          <ac:spMkLst>
            <pc:docMk/>
            <pc:sldMk cId="2253096957" sldId="2010"/>
            <ac:spMk id="10" creationId="{4F222C56-2925-6B52-345C-9385DF527D4C}"/>
          </ac:spMkLst>
        </pc:spChg>
        <pc:spChg chg="mod">
          <ac:chgData name="Aurelien Domont" userId="6da7715ce44349b3" providerId="LiveId" clId="{B00D2795-A783-4827-B7F0-3CA19960AFE1}" dt="2022-09-27T00:16:31.471" v="317"/>
          <ac:spMkLst>
            <pc:docMk/>
            <pc:sldMk cId="2253096957" sldId="2010"/>
            <ac:spMk id="16" creationId="{6C2BB713-9637-4B9B-938F-E9768876782A}"/>
          </ac:spMkLst>
        </pc:spChg>
        <pc:spChg chg="mod">
          <ac:chgData name="Aurelien Domont" userId="6da7715ce44349b3" providerId="LiveId" clId="{B00D2795-A783-4827-B7F0-3CA19960AFE1}" dt="2022-09-27T00:20:42.664" v="341" actId="207"/>
          <ac:spMkLst>
            <pc:docMk/>
            <pc:sldMk cId="2253096957" sldId="2010"/>
            <ac:spMk id="23" creationId="{AAD0811F-8105-41E7-A2D5-F5989BE39EBB}"/>
          </ac:spMkLst>
        </pc:spChg>
      </pc:sldChg>
      <pc:sldChg chg="addSp delSp modSp add del mod">
        <pc:chgData name="Aurelien Domont" userId="6da7715ce44349b3" providerId="LiveId" clId="{B00D2795-A783-4827-B7F0-3CA19960AFE1}" dt="2022-09-27T00:11:10.554" v="201" actId="2696"/>
        <pc:sldMkLst>
          <pc:docMk/>
          <pc:sldMk cId="2653141221" sldId="2010"/>
        </pc:sldMkLst>
        <pc:spChg chg="add mod">
          <ac:chgData name="Aurelien Domont" userId="6da7715ce44349b3" providerId="LiveId" clId="{B00D2795-A783-4827-B7F0-3CA19960AFE1}" dt="2022-09-27T00:10:18.235" v="185" actId="1076"/>
          <ac:spMkLst>
            <pc:docMk/>
            <pc:sldMk cId="2653141221" sldId="2010"/>
            <ac:spMk id="10" creationId="{4F222C56-2925-6B52-345C-9385DF527D4C}"/>
          </ac:spMkLst>
        </pc:spChg>
        <pc:spChg chg="del mod">
          <ac:chgData name="Aurelien Domont" userId="6da7715ce44349b3" providerId="LiveId" clId="{B00D2795-A783-4827-B7F0-3CA19960AFE1}" dt="2022-09-27T00:09:15.350" v="112" actId="478"/>
          <ac:spMkLst>
            <pc:docMk/>
            <pc:sldMk cId="2653141221" sldId="2010"/>
            <ac:spMk id="24" creationId="{55710458-5B78-4D33-946D-9E92D7302A91}"/>
          </ac:spMkLst>
        </pc:spChg>
      </pc:sldChg>
      <pc:sldChg chg="addSp delSp modSp add mod">
        <pc:chgData name="Aurelien Domont" userId="6da7715ce44349b3" providerId="LiveId" clId="{B00D2795-A783-4827-B7F0-3CA19960AFE1}" dt="2022-09-27T00:16:31.471" v="317"/>
        <pc:sldMkLst>
          <pc:docMk/>
          <pc:sldMk cId="1144514483" sldId="2011"/>
        </pc:sldMkLst>
        <pc:spChg chg="del">
          <ac:chgData name="Aurelien Domont" userId="6da7715ce44349b3" providerId="LiveId" clId="{B00D2795-A783-4827-B7F0-3CA19960AFE1}" dt="2022-09-27T00:11:51.339" v="244" actId="478"/>
          <ac:spMkLst>
            <pc:docMk/>
            <pc:sldMk cId="1144514483" sldId="2011"/>
            <ac:spMk id="2" creationId="{758E0A81-DE9A-A75F-1FB4-3683EF417B8A}"/>
          </ac:spMkLst>
        </pc:spChg>
        <pc:spChg chg="add del mod">
          <ac:chgData name="Aurelien Domont" userId="6da7715ce44349b3" providerId="LiveId" clId="{B00D2795-A783-4827-B7F0-3CA19960AFE1}" dt="2022-09-27T00:12:14.785" v="255" actId="478"/>
          <ac:spMkLst>
            <pc:docMk/>
            <pc:sldMk cId="1144514483" sldId="2011"/>
            <ac:spMk id="3" creationId="{6CA5A115-3DA3-FD46-FAB0-1E293C8DE597}"/>
          </ac:spMkLst>
        </pc:spChg>
        <pc:spChg chg="mod">
          <ac:chgData name="Aurelien Domont" userId="6da7715ce44349b3" providerId="LiveId" clId="{B00D2795-A783-4827-B7F0-3CA19960AFE1}" dt="2022-09-27T00:16:31.471" v="317"/>
          <ac:spMkLst>
            <pc:docMk/>
            <pc:sldMk cId="1144514483" sldId="2011"/>
            <ac:spMk id="16" creationId="{6C2BB713-9637-4B9B-938F-E9768876782A}"/>
          </ac:spMkLst>
        </pc:spChg>
        <pc:spChg chg="add mod">
          <ac:chgData name="Aurelien Domont" userId="6da7715ce44349b3" providerId="LiveId" clId="{B00D2795-A783-4827-B7F0-3CA19960AFE1}" dt="2022-09-27T00:12:14.861" v="256"/>
          <ac:spMkLst>
            <pc:docMk/>
            <pc:sldMk cId="1144514483" sldId="2011"/>
            <ac:spMk id="53" creationId="{6EE7228D-6217-1DFB-E14E-59DC9102D438}"/>
          </ac:spMkLst>
        </pc:spChg>
      </pc:sldChg>
      <pc:sldChg chg="addSp delSp modSp add del mod">
        <pc:chgData name="Aurelien Domont" userId="6da7715ce44349b3" providerId="LiveId" clId="{B00D2795-A783-4827-B7F0-3CA19960AFE1}" dt="2022-09-27T00:11:10.554" v="201" actId="2696"/>
        <pc:sldMkLst>
          <pc:docMk/>
          <pc:sldMk cId="2784532562" sldId="2011"/>
        </pc:sldMkLst>
        <pc:spChg chg="add mod">
          <ac:chgData name="Aurelien Domont" userId="6da7715ce44349b3" providerId="LiveId" clId="{B00D2795-A783-4827-B7F0-3CA19960AFE1}" dt="2022-09-27T00:10:30.334" v="189"/>
          <ac:spMkLst>
            <pc:docMk/>
            <pc:sldMk cId="2784532562" sldId="2011"/>
            <ac:spMk id="2" creationId="{758E0A81-DE9A-A75F-1FB4-3683EF417B8A}"/>
          </ac:spMkLst>
        </pc:spChg>
        <pc:spChg chg="del">
          <ac:chgData name="Aurelien Domont" userId="6da7715ce44349b3" providerId="LiveId" clId="{B00D2795-A783-4827-B7F0-3CA19960AFE1}" dt="2022-09-27T00:10:30.181" v="188" actId="478"/>
          <ac:spMkLst>
            <pc:docMk/>
            <pc:sldMk cId="2784532562" sldId="2011"/>
            <ac:spMk id="53" creationId="{8C3B52B6-CA41-4C83-A44A-ABCCA025B8F3}"/>
          </ac:spMkLst>
        </pc:spChg>
      </pc:sldChg>
      <pc:sldChg chg="del">
        <pc:chgData name="Aurelien Domont" userId="6da7715ce44349b3" providerId="LiveId" clId="{B00D2795-A783-4827-B7F0-3CA19960AFE1}" dt="2022-09-27T00:01:41.386" v="2" actId="2696"/>
        <pc:sldMkLst>
          <pc:docMk/>
          <pc:sldMk cId="4009456406" sldId="2011"/>
        </pc:sldMkLst>
      </pc:sldChg>
      <pc:sldChg chg="del">
        <pc:chgData name="Aurelien Domont" userId="6da7715ce44349b3" providerId="LiveId" clId="{B00D2795-A783-4827-B7F0-3CA19960AFE1}" dt="2022-09-27T00:01:41.386" v="2" actId="2696"/>
        <pc:sldMkLst>
          <pc:docMk/>
          <pc:sldMk cId="2007102026" sldId="2012"/>
        </pc:sldMkLst>
      </pc:sldChg>
      <pc:sldChg chg="addSp delSp modSp add mod">
        <pc:chgData name="Aurelien Domont" userId="6da7715ce44349b3" providerId="LiveId" clId="{B00D2795-A783-4827-B7F0-3CA19960AFE1}" dt="2022-09-27T00:16:31.471" v="317"/>
        <pc:sldMkLst>
          <pc:docMk/>
          <pc:sldMk cId="2575155766" sldId="2012"/>
        </pc:sldMkLst>
        <pc:spChg chg="del">
          <ac:chgData name="Aurelien Domont" userId="6da7715ce44349b3" providerId="LiveId" clId="{B00D2795-A783-4827-B7F0-3CA19960AFE1}" dt="2022-09-27T00:12:17.619" v="257" actId="478"/>
          <ac:spMkLst>
            <pc:docMk/>
            <pc:sldMk cId="2575155766" sldId="2012"/>
            <ac:spMk id="4" creationId="{623FAF3D-6CCD-CBB4-3D28-AE8482127BE7}"/>
          </ac:spMkLst>
        </pc:spChg>
        <pc:spChg chg="add mod">
          <ac:chgData name="Aurelien Domont" userId="6da7715ce44349b3" providerId="LiveId" clId="{B00D2795-A783-4827-B7F0-3CA19960AFE1}" dt="2022-09-27T00:12:17.682" v="258"/>
          <ac:spMkLst>
            <pc:docMk/>
            <pc:sldMk cId="2575155766" sldId="2012"/>
            <ac:spMk id="6" creationId="{147B6C69-5257-46AF-7465-0B22716F7110}"/>
          </ac:spMkLst>
        </pc:spChg>
        <pc:spChg chg="mod">
          <ac:chgData name="Aurelien Domont" userId="6da7715ce44349b3" providerId="LiveId" clId="{B00D2795-A783-4827-B7F0-3CA19960AFE1}" dt="2022-09-27T00:16:31.471" v="317"/>
          <ac:spMkLst>
            <pc:docMk/>
            <pc:sldMk cId="2575155766" sldId="2012"/>
            <ac:spMk id="16" creationId="{6C2BB713-9637-4B9B-938F-E9768876782A}"/>
          </ac:spMkLst>
        </pc:spChg>
      </pc:sldChg>
      <pc:sldChg chg="addSp delSp modSp add del mod">
        <pc:chgData name="Aurelien Domont" userId="6da7715ce44349b3" providerId="LiveId" clId="{B00D2795-A783-4827-B7F0-3CA19960AFE1}" dt="2022-09-27T00:11:10.554" v="201" actId="2696"/>
        <pc:sldMkLst>
          <pc:docMk/>
          <pc:sldMk cId="3113704543" sldId="2012"/>
        </pc:sldMkLst>
        <pc:spChg chg="add mod">
          <ac:chgData name="Aurelien Domont" userId="6da7715ce44349b3" providerId="LiveId" clId="{B00D2795-A783-4827-B7F0-3CA19960AFE1}" dt="2022-09-27T00:10:36.633" v="191"/>
          <ac:spMkLst>
            <pc:docMk/>
            <pc:sldMk cId="3113704543" sldId="2012"/>
            <ac:spMk id="4" creationId="{623FAF3D-6CCD-CBB4-3D28-AE8482127BE7}"/>
          </ac:spMkLst>
        </pc:spChg>
        <pc:spChg chg="del">
          <ac:chgData name="Aurelien Domont" userId="6da7715ce44349b3" providerId="LiveId" clId="{B00D2795-A783-4827-B7F0-3CA19960AFE1}" dt="2022-09-27T00:10:36.502" v="190" actId="478"/>
          <ac:spMkLst>
            <pc:docMk/>
            <pc:sldMk cId="3113704543" sldId="2012"/>
            <ac:spMk id="8" creationId="{4F9F443F-40D3-413F-A288-273EEF3ED483}"/>
          </ac:spMkLst>
        </pc:spChg>
      </pc:sldChg>
      <pc:sldChg chg="addSp delSp modSp add del mod">
        <pc:chgData name="Aurelien Domont" userId="6da7715ce44349b3" providerId="LiveId" clId="{B00D2795-A783-4827-B7F0-3CA19960AFE1}" dt="2022-09-27T00:11:10.554" v="201" actId="2696"/>
        <pc:sldMkLst>
          <pc:docMk/>
          <pc:sldMk cId="1953014516" sldId="2013"/>
        </pc:sldMkLst>
        <pc:spChg chg="add mod">
          <ac:chgData name="Aurelien Domont" userId="6da7715ce44349b3" providerId="LiveId" clId="{B00D2795-A783-4827-B7F0-3CA19960AFE1}" dt="2022-09-27T00:10:46.917" v="194" actId="1076"/>
          <ac:spMkLst>
            <pc:docMk/>
            <pc:sldMk cId="1953014516" sldId="2013"/>
            <ac:spMk id="4" creationId="{EDCABBC1-AD29-13D4-9BF5-C376A4B88B76}"/>
          </ac:spMkLst>
        </pc:spChg>
        <pc:spChg chg="del">
          <ac:chgData name="Aurelien Domont" userId="6da7715ce44349b3" providerId="LiveId" clId="{B00D2795-A783-4827-B7F0-3CA19960AFE1}" dt="2022-09-27T00:10:43.410" v="192" actId="478"/>
          <ac:spMkLst>
            <pc:docMk/>
            <pc:sldMk cId="1953014516" sldId="2013"/>
            <ac:spMk id="6" creationId="{FC1B404D-8864-4332-9F9F-1E10BC1B85DD}"/>
          </ac:spMkLst>
        </pc:spChg>
      </pc:sldChg>
      <pc:sldChg chg="del">
        <pc:chgData name="Aurelien Domont" userId="6da7715ce44349b3" providerId="LiveId" clId="{B00D2795-A783-4827-B7F0-3CA19960AFE1}" dt="2022-09-27T00:01:41.386" v="2" actId="2696"/>
        <pc:sldMkLst>
          <pc:docMk/>
          <pc:sldMk cId="2062377538" sldId="2013"/>
        </pc:sldMkLst>
      </pc:sldChg>
      <pc:sldChg chg="addSp delSp modSp add mod">
        <pc:chgData name="Aurelien Domont" userId="6da7715ce44349b3" providerId="LiveId" clId="{B00D2795-A783-4827-B7F0-3CA19960AFE1}" dt="2022-09-27T00:16:31.471" v="317"/>
        <pc:sldMkLst>
          <pc:docMk/>
          <pc:sldMk cId="3498080677" sldId="2013"/>
        </pc:sldMkLst>
        <pc:spChg chg="del">
          <ac:chgData name="Aurelien Domont" userId="6da7715ce44349b3" providerId="LiveId" clId="{B00D2795-A783-4827-B7F0-3CA19960AFE1}" dt="2022-09-27T00:12:20.634" v="259" actId="478"/>
          <ac:spMkLst>
            <pc:docMk/>
            <pc:sldMk cId="3498080677" sldId="2013"/>
            <ac:spMk id="4" creationId="{EDCABBC1-AD29-13D4-9BF5-C376A4B88B76}"/>
          </ac:spMkLst>
        </pc:spChg>
        <pc:spChg chg="add mod">
          <ac:chgData name="Aurelien Domont" userId="6da7715ce44349b3" providerId="LiveId" clId="{B00D2795-A783-4827-B7F0-3CA19960AFE1}" dt="2022-09-27T00:12:24.707" v="261" actId="1076"/>
          <ac:spMkLst>
            <pc:docMk/>
            <pc:sldMk cId="3498080677" sldId="2013"/>
            <ac:spMk id="5" creationId="{B10ABC61-F5D1-290A-D2EF-B5D9F05F58B4}"/>
          </ac:spMkLst>
        </pc:spChg>
        <pc:spChg chg="mod">
          <ac:chgData name="Aurelien Domont" userId="6da7715ce44349b3" providerId="LiveId" clId="{B00D2795-A783-4827-B7F0-3CA19960AFE1}" dt="2022-09-27T00:16:31.471" v="317"/>
          <ac:spMkLst>
            <pc:docMk/>
            <pc:sldMk cId="3498080677" sldId="2013"/>
            <ac:spMk id="16" creationId="{6C2BB713-9637-4B9B-938F-E9768876782A}"/>
          </ac:spMkLst>
        </pc:spChg>
      </pc:sldChg>
      <pc:sldChg chg="addSp delSp modSp add del mod">
        <pc:chgData name="Aurelien Domont" userId="6da7715ce44349b3" providerId="LiveId" clId="{B00D2795-A783-4827-B7F0-3CA19960AFE1}" dt="2022-09-27T00:11:10.554" v="201" actId="2696"/>
        <pc:sldMkLst>
          <pc:docMk/>
          <pc:sldMk cId="997127537" sldId="2014"/>
        </pc:sldMkLst>
        <pc:spChg chg="add mod">
          <ac:chgData name="Aurelien Domont" userId="6da7715ce44349b3" providerId="LiveId" clId="{B00D2795-A783-4827-B7F0-3CA19960AFE1}" dt="2022-09-27T00:10:52.759" v="196"/>
          <ac:spMkLst>
            <pc:docMk/>
            <pc:sldMk cId="997127537" sldId="2014"/>
            <ac:spMk id="3" creationId="{A6CE3FC2-AF2A-1B0C-FF11-6DF00F36546E}"/>
          </ac:spMkLst>
        </pc:spChg>
        <pc:spChg chg="del">
          <ac:chgData name="Aurelien Domont" userId="6da7715ce44349b3" providerId="LiveId" clId="{B00D2795-A783-4827-B7F0-3CA19960AFE1}" dt="2022-09-27T00:10:52.658" v="195" actId="478"/>
          <ac:spMkLst>
            <pc:docMk/>
            <pc:sldMk cId="997127537" sldId="2014"/>
            <ac:spMk id="18" creationId="{199A908F-FD34-41CD-98FC-DEFFFC4A6AEA}"/>
          </ac:spMkLst>
        </pc:spChg>
      </pc:sldChg>
      <pc:sldChg chg="addSp delSp modSp add mod">
        <pc:chgData name="Aurelien Domont" userId="6da7715ce44349b3" providerId="LiveId" clId="{B00D2795-A783-4827-B7F0-3CA19960AFE1}" dt="2022-09-27T00:16:31.471" v="317"/>
        <pc:sldMkLst>
          <pc:docMk/>
          <pc:sldMk cId="3707869392" sldId="2014"/>
        </pc:sldMkLst>
        <pc:spChg chg="del">
          <ac:chgData name="Aurelien Domont" userId="6da7715ce44349b3" providerId="LiveId" clId="{B00D2795-A783-4827-B7F0-3CA19960AFE1}" dt="2022-09-27T00:12:27.544" v="262" actId="478"/>
          <ac:spMkLst>
            <pc:docMk/>
            <pc:sldMk cId="3707869392" sldId="2014"/>
            <ac:spMk id="3" creationId="{A6CE3FC2-AF2A-1B0C-FF11-6DF00F36546E}"/>
          </ac:spMkLst>
        </pc:spChg>
        <pc:spChg chg="add mod">
          <ac:chgData name="Aurelien Domont" userId="6da7715ce44349b3" providerId="LiveId" clId="{B00D2795-A783-4827-B7F0-3CA19960AFE1}" dt="2022-09-27T00:12:27.623" v="263"/>
          <ac:spMkLst>
            <pc:docMk/>
            <pc:sldMk cId="3707869392" sldId="2014"/>
            <ac:spMk id="4" creationId="{BBFA1DB4-28AC-A883-8607-E3B427D8DA67}"/>
          </ac:spMkLst>
        </pc:spChg>
        <pc:spChg chg="mod">
          <ac:chgData name="Aurelien Domont" userId="6da7715ce44349b3" providerId="LiveId" clId="{B00D2795-A783-4827-B7F0-3CA19960AFE1}" dt="2022-09-27T00:16:31.471" v="317"/>
          <ac:spMkLst>
            <pc:docMk/>
            <pc:sldMk cId="3707869392" sldId="2014"/>
            <ac:spMk id="16" creationId="{6C2BB713-9637-4B9B-938F-E9768876782A}"/>
          </ac:spMkLst>
        </pc:spChg>
      </pc:sldChg>
      <pc:sldChg chg="del">
        <pc:chgData name="Aurelien Domont" userId="6da7715ce44349b3" providerId="LiveId" clId="{B00D2795-A783-4827-B7F0-3CA19960AFE1}" dt="2022-09-27T00:01:41.386" v="2" actId="2696"/>
        <pc:sldMkLst>
          <pc:docMk/>
          <pc:sldMk cId="3739508276" sldId="2014"/>
        </pc:sldMkLst>
      </pc:sldChg>
      <pc:sldChg chg="del">
        <pc:chgData name="Aurelien Domont" userId="6da7715ce44349b3" providerId="LiveId" clId="{B00D2795-A783-4827-B7F0-3CA19960AFE1}" dt="2022-09-27T00:01:41.386" v="2" actId="2696"/>
        <pc:sldMkLst>
          <pc:docMk/>
          <pc:sldMk cId="2952105659" sldId="2015"/>
        </pc:sldMkLst>
      </pc:sldChg>
      <pc:sldChg chg="addSp delSp modSp add mod">
        <pc:chgData name="Aurelien Domont" userId="6da7715ce44349b3" providerId="LiveId" clId="{B00D2795-A783-4827-B7F0-3CA19960AFE1}" dt="2022-09-27T00:20:50.909" v="342" actId="207"/>
        <pc:sldMkLst>
          <pc:docMk/>
          <pc:sldMk cId="3675307544" sldId="2015"/>
        </pc:sldMkLst>
        <pc:spChg chg="mod">
          <ac:chgData name="Aurelien Domont" userId="6da7715ce44349b3" providerId="LiveId" clId="{B00D2795-A783-4827-B7F0-3CA19960AFE1}" dt="2022-09-27T00:20:50.909" v="342" actId="207"/>
          <ac:spMkLst>
            <pc:docMk/>
            <pc:sldMk cId="3675307544" sldId="2015"/>
            <ac:spMk id="3" creationId="{640D5A11-F727-4C14-B097-3786404B2374}"/>
          </ac:spMkLst>
        </pc:spChg>
        <pc:spChg chg="mod">
          <ac:chgData name="Aurelien Domont" userId="6da7715ce44349b3" providerId="LiveId" clId="{B00D2795-A783-4827-B7F0-3CA19960AFE1}" dt="2022-09-27T00:20:50.909" v="342" actId="207"/>
          <ac:spMkLst>
            <pc:docMk/>
            <pc:sldMk cId="3675307544" sldId="2015"/>
            <ac:spMk id="5" creationId="{11C8B0E7-A1CC-4EE2-884D-0A35D016C9EB}"/>
          </ac:spMkLst>
        </pc:spChg>
        <pc:spChg chg="del">
          <ac:chgData name="Aurelien Domont" userId="6da7715ce44349b3" providerId="LiveId" clId="{B00D2795-A783-4827-B7F0-3CA19960AFE1}" dt="2022-09-27T00:11:48.436" v="242" actId="478"/>
          <ac:spMkLst>
            <pc:docMk/>
            <pc:sldMk cId="3675307544" sldId="2015"/>
            <ac:spMk id="10" creationId="{2E5225A7-5430-89D3-84B7-24473C9DB0E2}"/>
          </ac:spMkLst>
        </pc:spChg>
        <pc:spChg chg="add del mod">
          <ac:chgData name="Aurelien Domont" userId="6da7715ce44349b3" providerId="LiveId" clId="{B00D2795-A783-4827-B7F0-3CA19960AFE1}" dt="2022-09-27T00:12:11.635" v="253" actId="478"/>
          <ac:spMkLst>
            <pc:docMk/>
            <pc:sldMk cId="3675307544" sldId="2015"/>
            <ac:spMk id="12" creationId="{22961001-E062-8CC0-8E23-C19F51CF3206}"/>
          </ac:spMkLst>
        </pc:spChg>
        <pc:spChg chg="add mod">
          <ac:chgData name="Aurelien Domont" userId="6da7715ce44349b3" providerId="LiveId" clId="{B00D2795-A783-4827-B7F0-3CA19960AFE1}" dt="2022-09-27T00:12:11.716" v="254"/>
          <ac:spMkLst>
            <pc:docMk/>
            <pc:sldMk cId="3675307544" sldId="2015"/>
            <ac:spMk id="14" creationId="{FB0984E7-644F-3FC9-47E7-92909DA74CEC}"/>
          </ac:spMkLst>
        </pc:spChg>
        <pc:spChg chg="mod">
          <ac:chgData name="Aurelien Domont" userId="6da7715ce44349b3" providerId="LiveId" clId="{B00D2795-A783-4827-B7F0-3CA19960AFE1}" dt="2022-09-27T00:16:31.471" v="317"/>
          <ac:spMkLst>
            <pc:docMk/>
            <pc:sldMk cId="3675307544" sldId="2015"/>
            <ac:spMk id="16" creationId="{6C2BB713-9637-4B9B-938F-E9768876782A}"/>
          </ac:spMkLst>
        </pc:spChg>
        <pc:spChg chg="mod">
          <ac:chgData name="Aurelien Domont" userId="6da7715ce44349b3" providerId="LiveId" clId="{B00D2795-A783-4827-B7F0-3CA19960AFE1}" dt="2022-09-27T00:20:50.909" v="342" actId="207"/>
          <ac:spMkLst>
            <pc:docMk/>
            <pc:sldMk cId="3675307544" sldId="2015"/>
            <ac:spMk id="23" creationId="{AAD0811F-8105-41E7-A2D5-F5989BE39EBB}"/>
          </ac:spMkLst>
        </pc:spChg>
      </pc:sldChg>
      <pc:sldChg chg="addSp delSp modSp add del mod">
        <pc:chgData name="Aurelien Domont" userId="6da7715ce44349b3" providerId="LiveId" clId="{B00D2795-A783-4827-B7F0-3CA19960AFE1}" dt="2022-09-27T00:11:10.554" v="201" actId="2696"/>
        <pc:sldMkLst>
          <pc:docMk/>
          <pc:sldMk cId="3908792506" sldId="2015"/>
        </pc:sldMkLst>
        <pc:spChg chg="add mod">
          <ac:chgData name="Aurelien Domont" userId="6da7715ce44349b3" providerId="LiveId" clId="{B00D2795-A783-4827-B7F0-3CA19960AFE1}" dt="2022-09-27T00:10:24.001" v="187"/>
          <ac:spMkLst>
            <pc:docMk/>
            <pc:sldMk cId="3908792506" sldId="2015"/>
            <ac:spMk id="10" creationId="{2E5225A7-5430-89D3-84B7-24473C9DB0E2}"/>
          </ac:spMkLst>
        </pc:spChg>
        <pc:spChg chg="del">
          <ac:chgData name="Aurelien Domont" userId="6da7715ce44349b3" providerId="LiveId" clId="{B00D2795-A783-4827-B7F0-3CA19960AFE1}" dt="2022-09-27T00:10:23.930" v="186" actId="478"/>
          <ac:spMkLst>
            <pc:docMk/>
            <pc:sldMk cId="3908792506" sldId="2015"/>
            <ac:spMk id="24" creationId="{3B2E9828-8830-44AF-A844-399CE45C2160}"/>
          </ac:spMkLst>
        </pc:spChg>
      </pc:sldChg>
      <pc:sldChg chg="addSp delSp modSp add del mod">
        <pc:chgData name="Aurelien Domont" userId="6da7715ce44349b3" providerId="LiveId" clId="{B00D2795-A783-4827-B7F0-3CA19960AFE1}" dt="2022-09-27T00:11:10.554" v="201" actId="2696"/>
        <pc:sldMkLst>
          <pc:docMk/>
          <pc:sldMk cId="464074597" sldId="2020"/>
        </pc:sldMkLst>
        <pc:spChg chg="add mod">
          <ac:chgData name="Aurelien Domont" userId="6da7715ce44349b3" providerId="LiveId" clId="{B00D2795-A783-4827-B7F0-3CA19960AFE1}" dt="2022-09-27T00:11:03.064" v="200"/>
          <ac:spMkLst>
            <pc:docMk/>
            <pc:sldMk cId="464074597" sldId="2020"/>
            <ac:spMk id="4" creationId="{54CDA377-3B1F-E411-057D-3568EE4C9BE6}"/>
          </ac:spMkLst>
        </pc:spChg>
        <pc:spChg chg="del">
          <ac:chgData name="Aurelien Domont" userId="6da7715ce44349b3" providerId="LiveId" clId="{B00D2795-A783-4827-B7F0-3CA19960AFE1}" dt="2022-09-27T00:11:02.963" v="199" actId="478"/>
          <ac:spMkLst>
            <pc:docMk/>
            <pc:sldMk cId="464074597" sldId="2020"/>
            <ac:spMk id="20" creationId="{47F6968D-3182-40D1-B65D-8A0ABEDF042C}"/>
          </ac:spMkLst>
        </pc:spChg>
      </pc:sldChg>
      <pc:sldChg chg="addSp delSp modSp add mod">
        <pc:chgData name="Aurelien Domont" userId="6da7715ce44349b3" providerId="LiveId" clId="{B00D2795-A783-4827-B7F0-3CA19960AFE1}" dt="2022-09-27T00:16:31.471" v="317"/>
        <pc:sldMkLst>
          <pc:docMk/>
          <pc:sldMk cId="2000161017" sldId="2020"/>
        </pc:sldMkLst>
        <pc:spChg chg="del">
          <ac:chgData name="Aurelien Domont" userId="6da7715ce44349b3" providerId="LiveId" clId="{B00D2795-A783-4827-B7F0-3CA19960AFE1}" dt="2022-09-27T00:12:34.297" v="266" actId="478"/>
          <ac:spMkLst>
            <pc:docMk/>
            <pc:sldMk cId="2000161017" sldId="2020"/>
            <ac:spMk id="4" creationId="{54CDA377-3B1F-E411-057D-3568EE4C9BE6}"/>
          </ac:spMkLst>
        </pc:spChg>
        <pc:spChg chg="add mod">
          <ac:chgData name="Aurelien Domont" userId="6da7715ce44349b3" providerId="LiveId" clId="{B00D2795-A783-4827-B7F0-3CA19960AFE1}" dt="2022-09-27T00:12:34.355" v="267"/>
          <ac:spMkLst>
            <pc:docMk/>
            <pc:sldMk cId="2000161017" sldId="2020"/>
            <ac:spMk id="6" creationId="{01AC1830-CBAD-B06E-FA86-860226064845}"/>
          </ac:spMkLst>
        </pc:spChg>
        <pc:spChg chg="mod">
          <ac:chgData name="Aurelien Domont" userId="6da7715ce44349b3" providerId="LiveId" clId="{B00D2795-A783-4827-B7F0-3CA19960AFE1}" dt="2022-09-27T00:16:31.471" v="317"/>
          <ac:spMkLst>
            <pc:docMk/>
            <pc:sldMk cId="2000161017" sldId="2020"/>
            <ac:spMk id="16" creationId="{6C2BB713-9637-4B9B-938F-E9768876782A}"/>
          </ac:spMkLst>
        </pc:spChg>
      </pc:sldChg>
      <pc:sldChg chg="del">
        <pc:chgData name="Aurelien Domont" userId="6da7715ce44349b3" providerId="LiveId" clId="{B00D2795-A783-4827-B7F0-3CA19960AFE1}" dt="2022-09-27T00:01:41.386" v="2" actId="2696"/>
        <pc:sldMkLst>
          <pc:docMk/>
          <pc:sldMk cId="2933812518" sldId="2020"/>
        </pc:sldMkLst>
      </pc:sldChg>
      <pc:sldChg chg="del">
        <pc:chgData name="Aurelien Domont" userId="6da7715ce44349b3" providerId="LiveId" clId="{B00D2795-A783-4827-B7F0-3CA19960AFE1}" dt="2022-09-27T00:01:41.386" v="2" actId="2696"/>
        <pc:sldMkLst>
          <pc:docMk/>
          <pc:sldMk cId="518180549" sldId="2021"/>
        </pc:sldMkLst>
      </pc:sldChg>
      <pc:sldChg chg="addSp delSp modSp add del mod">
        <pc:chgData name="Aurelien Domont" userId="6da7715ce44349b3" providerId="LiveId" clId="{B00D2795-A783-4827-B7F0-3CA19960AFE1}" dt="2022-09-27T00:11:10.554" v="201" actId="2696"/>
        <pc:sldMkLst>
          <pc:docMk/>
          <pc:sldMk cId="971367201" sldId="2021"/>
        </pc:sldMkLst>
        <pc:spChg chg="add mod">
          <ac:chgData name="Aurelien Domont" userId="6da7715ce44349b3" providerId="LiveId" clId="{B00D2795-A783-4827-B7F0-3CA19960AFE1}" dt="2022-09-27T00:10:56.857" v="198"/>
          <ac:spMkLst>
            <pc:docMk/>
            <pc:sldMk cId="971367201" sldId="2021"/>
            <ac:spMk id="3" creationId="{AF7DFC01-930D-5886-AC78-C4991B28BB9C}"/>
          </ac:spMkLst>
        </pc:spChg>
        <pc:spChg chg="del">
          <ac:chgData name="Aurelien Domont" userId="6da7715ce44349b3" providerId="LiveId" clId="{B00D2795-A783-4827-B7F0-3CA19960AFE1}" dt="2022-09-27T00:10:56.776" v="197" actId="478"/>
          <ac:spMkLst>
            <pc:docMk/>
            <pc:sldMk cId="971367201" sldId="2021"/>
            <ac:spMk id="17" creationId="{DC092107-C00C-4018-ACE3-B0357AD87C19}"/>
          </ac:spMkLst>
        </pc:spChg>
      </pc:sldChg>
      <pc:sldChg chg="addSp delSp modSp add mod">
        <pc:chgData name="Aurelien Domont" userId="6da7715ce44349b3" providerId="LiveId" clId="{B00D2795-A783-4827-B7F0-3CA19960AFE1}" dt="2022-09-27T00:16:31.471" v="317"/>
        <pc:sldMkLst>
          <pc:docMk/>
          <pc:sldMk cId="3524475505" sldId="2021"/>
        </pc:sldMkLst>
        <pc:spChg chg="del">
          <ac:chgData name="Aurelien Domont" userId="6da7715ce44349b3" providerId="LiveId" clId="{B00D2795-A783-4827-B7F0-3CA19960AFE1}" dt="2022-09-27T00:12:31.053" v="264" actId="478"/>
          <ac:spMkLst>
            <pc:docMk/>
            <pc:sldMk cId="3524475505" sldId="2021"/>
            <ac:spMk id="3" creationId="{AF7DFC01-930D-5886-AC78-C4991B28BB9C}"/>
          </ac:spMkLst>
        </pc:spChg>
        <pc:spChg chg="add mod">
          <ac:chgData name="Aurelien Domont" userId="6da7715ce44349b3" providerId="LiveId" clId="{B00D2795-A783-4827-B7F0-3CA19960AFE1}" dt="2022-09-27T00:12:31.209" v="265"/>
          <ac:spMkLst>
            <pc:docMk/>
            <pc:sldMk cId="3524475505" sldId="2021"/>
            <ac:spMk id="4" creationId="{6C110EFF-7EE0-1D39-364B-CB00BFF71977}"/>
          </ac:spMkLst>
        </pc:spChg>
        <pc:spChg chg="mod">
          <ac:chgData name="Aurelien Domont" userId="6da7715ce44349b3" providerId="LiveId" clId="{B00D2795-A783-4827-B7F0-3CA19960AFE1}" dt="2022-09-27T00:16:31.471" v="317"/>
          <ac:spMkLst>
            <pc:docMk/>
            <pc:sldMk cId="3524475505" sldId="2021"/>
            <ac:spMk id="16" creationId="{6C2BB713-9637-4B9B-938F-E9768876782A}"/>
          </ac:spMkLst>
        </pc:spChg>
      </pc:sldChg>
      <pc:sldChg chg="modSp">
        <pc:chgData name="Aurelien Domont" userId="6da7715ce44349b3" providerId="LiveId" clId="{B00D2795-A783-4827-B7F0-3CA19960AFE1}" dt="2022-09-27T00:16:31.471" v="317"/>
        <pc:sldMkLst>
          <pc:docMk/>
          <pc:sldMk cId="1289725493" sldId="2149"/>
        </pc:sldMkLst>
        <pc:spChg chg="mod">
          <ac:chgData name="Aurelien Domont" userId="6da7715ce44349b3" providerId="LiveId" clId="{B00D2795-A783-4827-B7F0-3CA19960AFE1}" dt="2022-09-27T00:16:31.471" v="317"/>
          <ac:spMkLst>
            <pc:docMk/>
            <pc:sldMk cId="1289725493" sldId="2149"/>
            <ac:spMk id="8" creationId="{3D029769-9B2F-4A51-8446-2206A9A2EF30}"/>
          </ac:spMkLst>
        </pc:spChg>
      </pc:sldChg>
      <pc:sldChg chg="del">
        <pc:chgData name="Aurelien Domont" userId="6da7715ce44349b3" providerId="LiveId" clId="{B00D2795-A783-4827-B7F0-3CA19960AFE1}" dt="2022-09-26T23:59:26.419" v="1" actId="47"/>
        <pc:sldMkLst>
          <pc:docMk/>
          <pc:sldMk cId="1435158864" sldId="2188"/>
        </pc:sldMkLst>
      </pc:sldChg>
      <pc:sldChg chg="modSp">
        <pc:chgData name="Aurelien Domont" userId="6da7715ce44349b3" providerId="LiveId" clId="{B00D2795-A783-4827-B7F0-3CA19960AFE1}" dt="2022-09-27T00:16:31.471" v="317"/>
        <pc:sldMkLst>
          <pc:docMk/>
          <pc:sldMk cId="3387366193" sldId="2210"/>
        </pc:sldMkLst>
        <pc:spChg chg="mod">
          <ac:chgData name="Aurelien Domont" userId="6da7715ce44349b3" providerId="LiveId" clId="{B00D2795-A783-4827-B7F0-3CA19960AFE1}" dt="2022-09-27T00:16:31.471" v="317"/>
          <ac:spMkLst>
            <pc:docMk/>
            <pc:sldMk cId="3387366193" sldId="2210"/>
            <ac:spMk id="5" creationId="{3AA7B8AD-E6F9-4E25-A3A4-71D021032612}"/>
          </ac:spMkLst>
        </pc:spChg>
        <pc:spChg chg="mod">
          <ac:chgData name="Aurelien Domont" userId="6da7715ce44349b3" providerId="LiveId" clId="{B00D2795-A783-4827-B7F0-3CA19960AFE1}" dt="2022-09-27T00:16:31.471" v="317"/>
          <ac:spMkLst>
            <pc:docMk/>
            <pc:sldMk cId="3387366193" sldId="2210"/>
            <ac:spMk id="16" creationId="{6C2BB713-9637-4B9B-938F-E9768876782A}"/>
          </ac:spMkLst>
        </pc:spChg>
      </pc:sldChg>
      <pc:sldChg chg="modSp">
        <pc:chgData name="Aurelien Domont" userId="6da7715ce44349b3" providerId="LiveId" clId="{B00D2795-A783-4827-B7F0-3CA19960AFE1}" dt="2022-09-27T00:16:31.471" v="317"/>
        <pc:sldMkLst>
          <pc:docMk/>
          <pc:sldMk cId="2401267023" sldId="2221"/>
        </pc:sldMkLst>
        <pc:spChg chg="mod">
          <ac:chgData name="Aurelien Domont" userId="6da7715ce44349b3" providerId="LiveId" clId="{B00D2795-A783-4827-B7F0-3CA19960AFE1}" dt="2022-09-27T00:16:31.471" v="317"/>
          <ac:spMkLst>
            <pc:docMk/>
            <pc:sldMk cId="2401267023" sldId="2221"/>
            <ac:spMk id="5" creationId="{3AA7B8AD-E6F9-4E25-A3A4-71D021032612}"/>
          </ac:spMkLst>
        </pc:spChg>
        <pc:spChg chg="mod">
          <ac:chgData name="Aurelien Domont" userId="6da7715ce44349b3" providerId="LiveId" clId="{B00D2795-A783-4827-B7F0-3CA19960AFE1}" dt="2022-09-27T00:16:31.471" v="317"/>
          <ac:spMkLst>
            <pc:docMk/>
            <pc:sldMk cId="2401267023" sldId="2221"/>
            <ac:spMk id="16" creationId="{6C2BB713-9637-4B9B-938F-E9768876782A}"/>
          </ac:spMkLst>
        </pc:spChg>
      </pc:sldChg>
      <pc:sldChg chg="delSp modSp mod">
        <pc:chgData name="Aurelien Domont" userId="6da7715ce44349b3" providerId="LiveId" clId="{B00D2795-A783-4827-B7F0-3CA19960AFE1}" dt="2022-09-27T00:16:31.471" v="317"/>
        <pc:sldMkLst>
          <pc:docMk/>
          <pc:sldMk cId="43093531" sldId="2229"/>
        </pc:sldMkLst>
        <pc:spChg chg="mod">
          <ac:chgData name="Aurelien Domont" userId="6da7715ce44349b3" providerId="LiveId" clId="{B00D2795-A783-4827-B7F0-3CA19960AFE1}" dt="2022-09-27T00:16:31.471" v="317"/>
          <ac:spMkLst>
            <pc:docMk/>
            <pc:sldMk cId="43093531" sldId="2229"/>
            <ac:spMk id="5" creationId="{3AA7B8AD-E6F9-4E25-A3A4-71D021032612}"/>
          </ac:spMkLst>
        </pc:spChg>
        <pc:spChg chg="mod">
          <ac:chgData name="Aurelien Domont" userId="6da7715ce44349b3" providerId="LiveId" clId="{B00D2795-A783-4827-B7F0-3CA19960AFE1}" dt="2022-09-27T00:16:31.471" v="317"/>
          <ac:spMkLst>
            <pc:docMk/>
            <pc:sldMk cId="43093531" sldId="2229"/>
            <ac:spMk id="16" creationId="{6C2BB713-9637-4B9B-938F-E9768876782A}"/>
          </ac:spMkLst>
        </pc:spChg>
        <pc:spChg chg="del">
          <ac:chgData name="Aurelien Domont" userId="6da7715ce44349b3" providerId="LiveId" clId="{B00D2795-A783-4827-B7F0-3CA19960AFE1}" dt="2022-09-27T00:02:24.753" v="5" actId="478"/>
          <ac:spMkLst>
            <pc:docMk/>
            <pc:sldMk cId="43093531" sldId="2229"/>
            <ac:spMk id="18" creationId="{1C3FEF38-3F4E-449A-A343-C2E8B9E2E873}"/>
          </ac:spMkLst>
        </pc:spChg>
      </pc:sldChg>
      <pc:sldChg chg="delSp modSp mod">
        <pc:chgData name="Aurelien Domont" userId="6da7715ce44349b3" providerId="LiveId" clId="{B00D2795-A783-4827-B7F0-3CA19960AFE1}" dt="2022-09-27T00:16:31.471" v="317"/>
        <pc:sldMkLst>
          <pc:docMk/>
          <pc:sldMk cId="4162893590" sldId="2230"/>
        </pc:sldMkLst>
        <pc:spChg chg="mod">
          <ac:chgData name="Aurelien Domont" userId="6da7715ce44349b3" providerId="LiveId" clId="{B00D2795-A783-4827-B7F0-3CA19960AFE1}" dt="2022-09-27T00:16:31.471" v="317"/>
          <ac:spMkLst>
            <pc:docMk/>
            <pc:sldMk cId="4162893590" sldId="2230"/>
            <ac:spMk id="3" creationId="{CE2529A3-BA97-486F-9E02-8DFAAA7D8D38}"/>
          </ac:spMkLst>
        </pc:spChg>
        <pc:spChg chg="del">
          <ac:chgData name="Aurelien Domont" userId="6da7715ce44349b3" providerId="LiveId" clId="{B00D2795-A783-4827-B7F0-3CA19960AFE1}" dt="2022-09-27T00:08:47.128" v="81" actId="478"/>
          <ac:spMkLst>
            <pc:docMk/>
            <pc:sldMk cId="4162893590" sldId="2230"/>
            <ac:spMk id="6" creationId="{16C2923D-A6F4-4B21-AB51-B7A722DBBEE9}"/>
          </ac:spMkLst>
        </pc:spChg>
        <pc:spChg chg="mod">
          <ac:chgData name="Aurelien Domont" userId="6da7715ce44349b3" providerId="LiveId" clId="{B00D2795-A783-4827-B7F0-3CA19960AFE1}" dt="2022-09-27T00:16:31.471" v="317"/>
          <ac:spMkLst>
            <pc:docMk/>
            <pc:sldMk cId="4162893590" sldId="2230"/>
            <ac:spMk id="16" creationId="{6C2BB713-9637-4B9B-938F-E9768876782A}"/>
          </ac:spMkLst>
        </pc:spChg>
      </pc:sldChg>
      <pc:sldChg chg="modSp">
        <pc:chgData name="Aurelien Domont" userId="6da7715ce44349b3" providerId="LiveId" clId="{B00D2795-A783-4827-B7F0-3CA19960AFE1}" dt="2022-09-27T00:16:31.471" v="317"/>
        <pc:sldMkLst>
          <pc:docMk/>
          <pc:sldMk cId="4001351399" sldId="2231"/>
        </pc:sldMkLst>
        <pc:spChg chg="mod">
          <ac:chgData name="Aurelien Domont" userId="6da7715ce44349b3" providerId="LiveId" clId="{B00D2795-A783-4827-B7F0-3CA19960AFE1}" dt="2022-09-27T00:16:31.471" v="317"/>
          <ac:spMkLst>
            <pc:docMk/>
            <pc:sldMk cId="4001351399" sldId="2231"/>
            <ac:spMk id="5" creationId="{3AA7B8AD-E6F9-4E25-A3A4-71D021032612}"/>
          </ac:spMkLst>
        </pc:spChg>
        <pc:spChg chg="mod">
          <ac:chgData name="Aurelien Domont" userId="6da7715ce44349b3" providerId="LiveId" clId="{B00D2795-A783-4827-B7F0-3CA19960AFE1}" dt="2022-09-27T00:16:31.471" v="317"/>
          <ac:spMkLst>
            <pc:docMk/>
            <pc:sldMk cId="4001351399" sldId="2231"/>
            <ac:spMk id="16" creationId="{6C2BB713-9637-4B9B-938F-E9768876782A}"/>
          </ac:spMkLst>
        </pc:spChg>
      </pc:sldChg>
      <pc:sldChg chg="modSp">
        <pc:chgData name="Aurelien Domont" userId="6da7715ce44349b3" providerId="LiveId" clId="{B00D2795-A783-4827-B7F0-3CA19960AFE1}" dt="2022-09-27T00:16:31.471" v="317"/>
        <pc:sldMkLst>
          <pc:docMk/>
          <pc:sldMk cId="926594271" sldId="2233"/>
        </pc:sldMkLst>
        <pc:spChg chg="mod">
          <ac:chgData name="Aurelien Domont" userId="6da7715ce44349b3" providerId="LiveId" clId="{B00D2795-A783-4827-B7F0-3CA19960AFE1}" dt="2022-09-27T00:16:31.471" v="317"/>
          <ac:spMkLst>
            <pc:docMk/>
            <pc:sldMk cId="926594271" sldId="2233"/>
            <ac:spMk id="3" creationId="{CE2529A3-BA97-486F-9E02-8DFAAA7D8D38}"/>
          </ac:spMkLst>
        </pc:spChg>
        <pc:spChg chg="mod">
          <ac:chgData name="Aurelien Domont" userId="6da7715ce44349b3" providerId="LiveId" clId="{B00D2795-A783-4827-B7F0-3CA19960AFE1}" dt="2022-09-27T00:16:31.471" v="317"/>
          <ac:spMkLst>
            <pc:docMk/>
            <pc:sldMk cId="926594271" sldId="2233"/>
            <ac:spMk id="16" creationId="{6C2BB713-9637-4B9B-938F-E9768876782A}"/>
          </ac:spMkLst>
        </pc:spChg>
      </pc:sldChg>
      <pc:sldChg chg="modSp">
        <pc:chgData name="Aurelien Domont" userId="6da7715ce44349b3" providerId="LiveId" clId="{B00D2795-A783-4827-B7F0-3CA19960AFE1}" dt="2022-09-27T00:16:31.471" v="317"/>
        <pc:sldMkLst>
          <pc:docMk/>
          <pc:sldMk cId="567194634" sldId="2234"/>
        </pc:sldMkLst>
        <pc:spChg chg="mod">
          <ac:chgData name="Aurelien Domont" userId="6da7715ce44349b3" providerId="LiveId" clId="{B00D2795-A783-4827-B7F0-3CA19960AFE1}" dt="2022-09-27T00:16:31.471" v="317"/>
          <ac:spMkLst>
            <pc:docMk/>
            <pc:sldMk cId="567194634" sldId="2234"/>
            <ac:spMk id="5" creationId="{3AA7B8AD-E6F9-4E25-A3A4-71D021032612}"/>
          </ac:spMkLst>
        </pc:spChg>
        <pc:spChg chg="mod">
          <ac:chgData name="Aurelien Domont" userId="6da7715ce44349b3" providerId="LiveId" clId="{B00D2795-A783-4827-B7F0-3CA19960AFE1}" dt="2022-09-27T00:16:31.471" v="317"/>
          <ac:spMkLst>
            <pc:docMk/>
            <pc:sldMk cId="567194634" sldId="2234"/>
            <ac:spMk id="16" creationId="{6C2BB713-9637-4B9B-938F-E9768876782A}"/>
          </ac:spMkLst>
        </pc:spChg>
      </pc:sldChg>
      <pc:sldChg chg="modSp">
        <pc:chgData name="Aurelien Domont" userId="6da7715ce44349b3" providerId="LiveId" clId="{B00D2795-A783-4827-B7F0-3CA19960AFE1}" dt="2022-09-27T00:16:31.471" v="317"/>
        <pc:sldMkLst>
          <pc:docMk/>
          <pc:sldMk cId="3203903634" sldId="2235"/>
        </pc:sldMkLst>
        <pc:spChg chg="mod">
          <ac:chgData name="Aurelien Domont" userId="6da7715ce44349b3" providerId="LiveId" clId="{B00D2795-A783-4827-B7F0-3CA19960AFE1}" dt="2022-09-27T00:16:31.471" v="317"/>
          <ac:spMkLst>
            <pc:docMk/>
            <pc:sldMk cId="3203903634" sldId="2235"/>
            <ac:spMk id="5" creationId="{3AA7B8AD-E6F9-4E25-A3A4-71D021032612}"/>
          </ac:spMkLst>
        </pc:spChg>
        <pc:spChg chg="mod">
          <ac:chgData name="Aurelien Domont" userId="6da7715ce44349b3" providerId="LiveId" clId="{B00D2795-A783-4827-B7F0-3CA19960AFE1}" dt="2022-09-27T00:16:31.471" v="317"/>
          <ac:spMkLst>
            <pc:docMk/>
            <pc:sldMk cId="3203903634" sldId="2235"/>
            <ac:spMk id="16" creationId="{6C2BB713-9637-4B9B-938F-E9768876782A}"/>
          </ac:spMkLst>
        </pc:spChg>
      </pc:sldChg>
      <pc:sldChg chg="modSp">
        <pc:chgData name="Aurelien Domont" userId="6da7715ce44349b3" providerId="LiveId" clId="{B00D2795-A783-4827-B7F0-3CA19960AFE1}" dt="2022-09-27T00:16:31.471" v="317"/>
        <pc:sldMkLst>
          <pc:docMk/>
          <pc:sldMk cId="1850513730" sldId="2236"/>
        </pc:sldMkLst>
        <pc:spChg chg="mod">
          <ac:chgData name="Aurelien Domont" userId="6da7715ce44349b3" providerId="LiveId" clId="{B00D2795-A783-4827-B7F0-3CA19960AFE1}" dt="2022-09-27T00:16:31.471" v="317"/>
          <ac:spMkLst>
            <pc:docMk/>
            <pc:sldMk cId="1850513730" sldId="2236"/>
            <ac:spMk id="5" creationId="{3AA7B8AD-E6F9-4E25-A3A4-71D021032612}"/>
          </ac:spMkLst>
        </pc:spChg>
        <pc:spChg chg="mod">
          <ac:chgData name="Aurelien Domont" userId="6da7715ce44349b3" providerId="LiveId" clId="{B00D2795-A783-4827-B7F0-3CA19960AFE1}" dt="2022-09-27T00:16:31.471" v="317"/>
          <ac:spMkLst>
            <pc:docMk/>
            <pc:sldMk cId="1850513730" sldId="2236"/>
            <ac:spMk id="16" creationId="{6C2BB713-9637-4B9B-938F-E9768876782A}"/>
          </ac:spMkLst>
        </pc:spChg>
      </pc:sldChg>
      <pc:sldChg chg="modSp">
        <pc:chgData name="Aurelien Domont" userId="6da7715ce44349b3" providerId="LiveId" clId="{B00D2795-A783-4827-B7F0-3CA19960AFE1}" dt="2022-09-27T00:16:31.471" v="317"/>
        <pc:sldMkLst>
          <pc:docMk/>
          <pc:sldMk cId="3648245117" sldId="2237"/>
        </pc:sldMkLst>
        <pc:spChg chg="mod">
          <ac:chgData name="Aurelien Domont" userId="6da7715ce44349b3" providerId="LiveId" clId="{B00D2795-A783-4827-B7F0-3CA19960AFE1}" dt="2022-09-27T00:16:31.471" v="317"/>
          <ac:spMkLst>
            <pc:docMk/>
            <pc:sldMk cId="3648245117" sldId="2237"/>
            <ac:spMk id="5" creationId="{3AA7B8AD-E6F9-4E25-A3A4-71D021032612}"/>
          </ac:spMkLst>
        </pc:spChg>
        <pc:spChg chg="mod">
          <ac:chgData name="Aurelien Domont" userId="6da7715ce44349b3" providerId="LiveId" clId="{B00D2795-A783-4827-B7F0-3CA19960AFE1}" dt="2022-09-27T00:16:31.471" v="317"/>
          <ac:spMkLst>
            <pc:docMk/>
            <pc:sldMk cId="3648245117" sldId="2237"/>
            <ac:spMk id="16" creationId="{6C2BB713-9637-4B9B-938F-E9768876782A}"/>
          </ac:spMkLst>
        </pc:spChg>
      </pc:sldChg>
      <pc:sldChg chg="addSp delSp modSp mod">
        <pc:chgData name="Aurelien Domont" userId="6da7715ce44349b3" providerId="LiveId" clId="{B00D2795-A783-4827-B7F0-3CA19960AFE1}" dt="2022-09-27T00:16:31.471" v="317"/>
        <pc:sldMkLst>
          <pc:docMk/>
          <pc:sldMk cId="2972229365" sldId="2246"/>
        </pc:sldMkLst>
        <pc:spChg chg="add del mod">
          <ac:chgData name="Aurelien Domont" userId="6da7715ce44349b3" providerId="LiveId" clId="{B00D2795-A783-4827-B7F0-3CA19960AFE1}" dt="2022-09-27T00:13:53.235" v="286" actId="478"/>
          <ac:spMkLst>
            <pc:docMk/>
            <pc:sldMk cId="2972229365" sldId="2246"/>
            <ac:spMk id="2" creationId="{506BE6EB-61C3-20CA-B157-3DF4E7292E39}"/>
          </ac:spMkLst>
        </pc:spChg>
        <pc:spChg chg="mod">
          <ac:chgData name="Aurelien Domont" userId="6da7715ce44349b3" providerId="LiveId" clId="{B00D2795-A783-4827-B7F0-3CA19960AFE1}" dt="2022-09-27T00:16:31.471" v="317"/>
          <ac:spMkLst>
            <pc:docMk/>
            <pc:sldMk cId="2972229365" sldId="2246"/>
            <ac:spMk id="3" creationId="{CE2529A3-BA97-486F-9E02-8DFAAA7D8D38}"/>
          </ac:spMkLst>
        </pc:spChg>
        <pc:spChg chg="del">
          <ac:chgData name="Aurelien Domont" userId="6da7715ce44349b3" providerId="LiveId" clId="{B00D2795-A783-4827-B7F0-3CA19960AFE1}" dt="2022-09-27T00:13:53.235" v="286" actId="478"/>
          <ac:spMkLst>
            <pc:docMk/>
            <pc:sldMk cId="2972229365" sldId="2246"/>
            <ac:spMk id="7" creationId="{103F8573-D550-42DA-A0A3-31A678077F48}"/>
          </ac:spMkLst>
        </pc:spChg>
        <pc:spChg chg="mod">
          <ac:chgData name="Aurelien Domont" userId="6da7715ce44349b3" providerId="LiveId" clId="{B00D2795-A783-4827-B7F0-3CA19960AFE1}" dt="2022-09-27T00:16:31.471" v="317"/>
          <ac:spMkLst>
            <pc:docMk/>
            <pc:sldMk cId="2972229365" sldId="2246"/>
            <ac:spMk id="16" creationId="{6C2BB713-9637-4B9B-938F-E9768876782A}"/>
          </ac:spMkLst>
        </pc:spChg>
      </pc:sldChg>
      <pc:sldChg chg="delSp modSp mod">
        <pc:chgData name="Aurelien Domont" userId="6da7715ce44349b3" providerId="LiveId" clId="{B00D2795-A783-4827-B7F0-3CA19960AFE1}" dt="2022-09-27T00:16:31.471" v="317"/>
        <pc:sldMkLst>
          <pc:docMk/>
          <pc:sldMk cId="3418237307" sldId="2247"/>
        </pc:sldMkLst>
        <pc:spChg chg="mod">
          <ac:chgData name="Aurelien Domont" userId="6da7715ce44349b3" providerId="LiveId" clId="{B00D2795-A783-4827-B7F0-3CA19960AFE1}" dt="2022-09-27T00:16:31.471" v="317"/>
          <ac:spMkLst>
            <pc:docMk/>
            <pc:sldMk cId="3418237307" sldId="2247"/>
            <ac:spMk id="3" creationId="{CE2529A3-BA97-486F-9E02-8DFAAA7D8D38}"/>
          </ac:spMkLst>
        </pc:spChg>
        <pc:spChg chg="del">
          <ac:chgData name="Aurelien Domont" userId="6da7715ce44349b3" providerId="LiveId" clId="{B00D2795-A783-4827-B7F0-3CA19960AFE1}" dt="2022-09-27T00:14:08.638" v="289" actId="478"/>
          <ac:spMkLst>
            <pc:docMk/>
            <pc:sldMk cId="3418237307" sldId="2247"/>
            <ac:spMk id="7" creationId="{E16FAEC8-5164-4300-A173-943CD8E430FD}"/>
          </ac:spMkLst>
        </pc:spChg>
        <pc:spChg chg="mod">
          <ac:chgData name="Aurelien Domont" userId="6da7715ce44349b3" providerId="LiveId" clId="{B00D2795-A783-4827-B7F0-3CA19960AFE1}" dt="2022-09-27T00:16:31.471" v="317"/>
          <ac:spMkLst>
            <pc:docMk/>
            <pc:sldMk cId="3418237307" sldId="2247"/>
            <ac:spMk id="16" creationId="{6C2BB713-9637-4B9B-938F-E9768876782A}"/>
          </ac:spMkLst>
        </pc:spChg>
      </pc:sldChg>
      <pc:sldChg chg="modSp mod">
        <pc:chgData name="Aurelien Domont" userId="6da7715ce44349b3" providerId="LiveId" clId="{B00D2795-A783-4827-B7F0-3CA19960AFE1}" dt="2022-09-27T00:20:08.832" v="339" actId="404"/>
        <pc:sldMkLst>
          <pc:docMk/>
          <pc:sldMk cId="263676232" sldId="2248"/>
        </pc:sldMkLst>
        <pc:spChg chg="mod">
          <ac:chgData name="Aurelien Domont" userId="6da7715ce44349b3" providerId="LiveId" clId="{B00D2795-A783-4827-B7F0-3CA19960AFE1}" dt="2022-09-27T00:16:31.471" v="317"/>
          <ac:spMkLst>
            <pc:docMk/>
            <pc:sldMk cId="263676232" sldId="2248"/>
            <ac:spMk id="3" creationId="{CE2529A3-BA97-486F-9E02-8DFAAA7D8D38}"/>
          </ac:spMkLst>
        </pc:spChg>
        <pc:spChg chg="mod">
          <ac:chgData name="Aurelien Domont" userId="6da7715ce44349b3" providerId="LiveId" clId="{B00D2795-A783-4827-B7F0-3CA19960AFE1}" dt="2022-09-27T00:16:31.471" v="317"/>
          <ac:spMkLst>
            <pc:docMk/>
            <pc:sldMk cId="263676232" sldId="2248"/>
            <ac:spMk id="16" creationId="{6C2BB713-9637-4B9B-938F-E9768876782A}"/>
          </ac:spMkLst>
        </pc:spChg>
        <pc:spChg chg="mod">
          <ac:chgData name="Aurelien Domont" userId="6da7715ce44349b3" providerId="LiveId" clId="{B00D2795-A783-4827-B7F0-3CA19960AFE1}" dt="2022-09-27T00:20:05.361" v="338" actId="207"/>
          <ac:spMkLst>
            <pc:docMk/>
            <pc:sldMk cId="263676232" sldId="2248"/>
            <ac:spMk id="39" creationId="{82D871D3-3E43-4C8B-B400-AF95DF7EBACF}"/>
          </ac:spMkLst>
        </pc:spChg>
        <pc:spChg chg="mod">
          <ac:chgData name="Aurelien Domont" userId="6da7715ce44349b3" providerId="LiveId" clId="{B00D2795-A783-4827-B7F0-3CA19960AFE1}" dt="2022-09-27T00:20:05.361" v="338" actId="207"/>
          <ac:spMkLst>
            <pc:docMk/>
            <pc:sldMk cId="263676232" sldId="2248"/>
            <ac:spMk id="40" creationId="{BE66D6FD-2100-427E-B88B-E7F6D6D174CE}"/>
          </ac:spMkLst>
        </pc:spChg>
        <pc:spChg chg="mod">
          <ac:chgData name="Aurelien Domont" userId="6da7715ce44349b3" providerId="LiveId" clId="{B00D2795-A783-4827-B7F0-3CA19960AFE1}" dt="2022-09-27T00:20:05.361" v="338" actId="207"/>
          <ac:spMkLst>
            <pc:docMk/>
            <pc:sldMk cId="263676232" sldId="2248"/>
            <ac:spMk id="41" creationId="{DF4B53A2-01EB-4D6D-937B-0795B8163253}"/>
          </ac:spMkLst>
        </pc:spChg>
        <pc:spChg chg="mod">
          <ac:chgData name="Aurelien Domont" userId="6da7715ce44349b3" providerId="LiveId" clId="{B00D2795-A783-4827-B7F0-3CA19960AFE1}" dt="2022-09-27T00:20:05.361" v="338" actId="207"/>
          <ac:spMkLst>
            <pc:docMk/>
            <pc:sldMk cId="263676232" sldId="2248"/>
            <ac:spMk id="59" creationId="{77C4986A-501F-49B6-868B-8E0D429328E8}"/>
          </ac:spMkLst>
        </pc:spChg>
        <pc:spChg chg="mod">
          <ac:chgData name="Aurelien Domont" userId="6da7715ce44349b3" providerId="LiveId" clId="{B00D2795-A783-4827-B7F0-3CA19960AFE1}" dt="2022-09-27T00:20:05.361" v="338" actId="207"/>
          <ac:spMkLst>
            <pc:docMk/>
            <pc:sldMk cId="263676232" sldId="2248"/>
            <ac:spMk id="60" creationId="{75FC6706-32AF-4E80-A03B-DABA9C6837E1}"/>
          </ac:spMkLst>
        </pc:spChg>
        <pc:spChg chg="mod">
          <ac:chgData name="Aurelien Domont" userId="6da7715ce44349b3" providerId="LiveId" clId="{B00D2795-A783-4827-B7F0-3CA19960AFE1}" dt="2022-09-27T00:20:05.361" v="338" actId="207"/>
          <ac:spMkLst>
            <pc:docMk/>
            <pc:sldMk cId="263676232" sldId="2248"/>
            <ac:spMk id="61" creationId="{470E58F3-3DF4-4A3B-9ABC-5D8EA4B37C71}"/>
          </ac:spMkLst>
        </pc:spChg>
        <pc:spChg chg="mod">
          <ac:chgData name="Aurelien Domont" userId="6da7715ce44349b3" providerId="LiveId" clId="{B00D2795-A783-4827-B7F0-3CA19960AFE1}" dt="2022-09-27T00:20:05.361" v="338" actId="207"/>
          <ac:spMkLst>
            <pc:docMk/>
            <pc:sldMk cId="263676232" sldId="2248"/>
            <ac:spMk id="62" creationId="{D418F7C2-F8DF-4C80-BBCB-5B28A7641956}"/>
          </ac:spMkLst>
        </pc:spChg>
        <pc:spChg chg="mod">
          <ac:chgData name="Aurelien Domont" userId="6da7715ce44349b3" providerId="LiveId" clId="{B00D2795-A783-4827-B7F0-3CA19960AFE1}" dt="2022-09-27T00:20:05.361" v="338" actId="207"/>
          <ac:spMkLst>
            <pc:docMk/>
            <pc:sldMk cId="263676232" sldId="2248"/>
            <ac:spMk id="63" creationId="{AACE2542-3AB2-4919-A686-612D279DA965}"/>
          </ac:spMkLst>
        </pc:spChg>
        <pc:spChg chg="mod">
          <ac:chgData name="Aurelien Domont" userId="6da7715ce44349b3" providerId="LiveId" clId="{B00D2795-A783-4827-B7F0-3CA19960AFE1}" dt="2022-09-27T00:20:05.361" v="338" actId="207"/>
          <ac:spMkLst>
            <pc:docMk/>
            <pc:sldMk cId="263676232" sldId="2248"/>
            <ac:spMk id="64" creationId="{48BA92E7-9ED8-4E72-9F1C-F2DEF838E461}"/>
          </ac:spMkLst>
        </pc:spChg>
        <pc:spChg chg="mod">
          <ac:chgData name="Aurelien Domont" userId="6da7715ce44349b3" providerId="LiveId" clId="{B00D2795-A783-4827-B7F0-3CA19960AFE1}" dt="2022-09-27T00:20:05.361" v="338" actId="207"/>
          <ac:spMkLst>
            <pc:docMk/>
            <pc:sldMk cId="263676232" sldId="2248"/>
            <ac:spMk id="65" creationId="{DD2A0D6C-8D00-4EE1-BA77-D646EC028E8F}"/>
          </ac:spMkLst>
        </pc:spChg>
        <pc:spChg chg="mod">
          <ac:chgData name="Aurelien Domont" userId="6da7715ce44349b3" providerId="LiveId" clId="{B00D2795-A783-4827-B7F0-3CA19960AFE1}" dt="2022-09-27T00:20:05.361" v="338" actId="207"/>
          <ac:spMkLst>
            <pc:docMk/>
            <pc:sldMk cId="263676232" sldId="2248"/>
            <ac:spMk id="66" creationId="{72BFA308-394F-42E0-89BF-BBB3DE65B748}"/>
          </ac:spMkLst>
        </pc:spChg>
        <pc:graphicFrameChg chg="modGraphic">
          <ac:chgData name="Aurelien Domont" userId="6da7715ce44349b3" providerId="LiveId" clId="{B00D2795-A783-4827-B7F0-3CA19960AFE1}" dt="2022-09-27T00:20:08.832" v="339" actId="404"/>
          <ac:graphicFrameMkLst>
            <pc:docMk/>
            <pc:sldMk cId="263676232" sldId="2248"/>
            <ac:graphicFrameMk id="38" creationId="{D80FFF2E-1CFA-4B6F-9738-3C9DC7F30FC7}"/>
          </ac:graphicFrameMkLst>
        </pc:graphicFrameChg>
      </pc:sldChg>
      <pc:sldChg chg="addSp delSp modSp mod">
        <pc:chgData name="Aurelien Domont" userId="6da7715ce44349b3" providerId="LiveId" clId="{B00D2795-A783-4827-B7F0-3CA19960AFE1}" dt="2022-09-27T00:16:31.471" v="317"/>
        <pc:sldMkLst>
          <pc:docMk/>
          <pc:sldMk cId="2144659112" sldId="2249"/>
        </pc:sldMkLst>
        <pc:spChg chg="add del mod">
          <ac:chgData name="Aurelien Domont" userId="6da7715ce44349b3" providerId="LiveId" clId="{B00D2795-A783-4827-B7F0-3CA19960AFE1}" dt="2022-09-27T00:14:58.570" v="311" actId="478"/>
          <ac:spMkLst>
            <pc:docMk/>
            <pc:sldMk cId="2144659112" sldId="2249"/>
            <ac:spMk id="2" creationId="{CE3A3A35-C180-F9BA-B9B6-0205518F3C71}"/>
          </ac:spMkLst>
        </pc:spChg>
        <pc:spChg chg="mod">
          <ac:chgData name="Aurelien Domont" userId="6da7715ce44349b3" providerId="LiveId" clId="{B00D2795-A783-4827-B7F0-3CA19960AFE1}" dt="2022-09-27T00:16:31.471" v="317"/>
          <ac:spMkLst>
            <pc:docMk/>
            <pc:sldMk cId="2144659112" sldId="2249"/>
            <ac:spMk id="3" creationId="{CE2529A3-BA97-486F-9E02-8DFAAA7D8D38}"/>
          </ac:spMkLst>
        </pc:spChg>
        <pc:spChg chg="del">
          <ac:chgData name="Aurelien Domont" userId="6da7715ce44349b3" providerId="LiveId" clId="{B00D2795-A783-4827-B7F0-3CA19960AFE1}" dt="2022-09-27T00:14:58.570" v="311" actId="478"/>
          <ac:spMkLst>
            <pc:docMk/>
            <pc:sldMk cId="2144659112" sldId="2249"/>
            <ac:spMk id="7" creationId="{59F4BC8B-203F-4059-BFDB-668E8A7B73BA}"/>
          </ac:spMkLst>
        </pc:spChg>
        <pc:spChg chg="mod">
          <ac:chgData name="Aurelien Domont" userId="6da7715ce44349b3" providerId="LiveId" clId="{B00D2795-A783-4827-B7F0-3CA19960AFE1}" dt="2022-09-27T00:16:31.471" v="317"/>
          <ac:spMkLst>
            <pc:docMk/>
            <pc:sldMk cId="2144659112" sldId="2249"/>
            <ac:spMk id="16" creationId="{6C2BB713-9637-4B9B-938F-E9768876782A}"/>
          </ac:spMkLst>
        </pc:spChg>
      </pc:sldChg>
      <pc:sldChg chg="modSp mod">
        <pc:chgData name="Aurelien Domont" userId="6da7715ce44349b3" providerId="LiveId" clId="{B00D2795-A783-4827-B7F0-3CA19960AFE1}" dt="2022-09-27T00:20:20.806" v="340" actId="207"/>
        <pc:sldMkLst>
          <pc:docMk/>
          <pc:sldMk cId="320718755" sldId="2250"/>
        </pc:sldMkLst>
        <pc:spChg chg="mod">
          <ac:chgData name="Aurelien Domont" userId="6da7715ce44349b3" providerId="LiveId" clId="{B00D2795-A783-4827-B7F0-3CA19960AFE1}" dt="2022-09-27T00:16:31.471" v="317"/>
          <ac:spMkLst>
            <pc:docMk/>
            <pc:sldMk cId="320718755" sldId="2250"/>
            <ac:spMk id="3" creationId="{CE2529A3-BA97-486F-9E02-8DFAAA7D8D38}"/>
          </ac:spMkLst>
        </pc:spChg>
        <pc:spChg chg="mod">
          <ac:chgData name="Aurelien Domont" userId="6da7715ce44349b3" providerId="LiveId" clId="{B00D2795-A783-4827-B7F0-3CA19960AFE1}" dt="2022-09-27T00:16:31.471" v="317"/>
          <ac:spMkLst>
            <pc:docMk/>
            <pc:sldMk cId="320718755" sldId="2250"/>
            <ac:spMk id="16" creationId="{6C2BB713-9637-4B9B-938F-E9768876782A}"/>
          </ac:spMkLst>
        </pc:spChg>
        <pc:spChg chg="mod">
          <ac:chgData name="Aurelien Domont" userId="6da7715ce44349b3" providerId="LiveId" clId="{B00D2795-A783-4827-B7F0-3CA19960AFE1}" dt="2022-09-27T00:20:20.806" v="340" actId="207"/>
          <ac:spMkLst>
            <pc:docMk/>
            <pc:sldMk cId="320718755" sldId="2250"/>
            <ac:spMk id="39" creationId="{82D871D3-3E43-4C8B-B400-AF95DF7EBACF}"/>
          </ac:spMkLst>
        </pc:spChg>
        <pc:spChg chg="mod">
          <ac:chgData name="Aurelien Domont" userId="6da7715ce44349b3" providerId="LiveId" clId="{B00D2795-A783-4827-B7F0-3CA19960AFE1}" dt="2022-09-27T00:20:20.806" v="340" actId="207"/>
          <ac:spMkLst>
            <pc:docMk/>
            <pc:sldMk cId="320718755" sldId="2250"/>
            <ac:spMk id="40" creationId="{BE66D6FD-2100-427E-B88B-E7F6D6D174CE}"/>
          </ac:spMkLst>
        </pc:spChg>
        <pc:spChg chg="mod">
          <ac:chgData name="Aurelien Domont" userId="6da7715ce44349b3" providerId="LiveId" clId="{B00D2795-A783-4827-B7F0-3CA19960AFE1}" dt="2022-09-27T00:20:20.806" v="340" actId="207"/>
          <ac:spMkLst>
            <pc:docMk/>
            <pc:sldMk cId="320718755" sldId="2250"/>
            <ac:spMk id="41" creationId="{DF4B53A2-01EB-4D6D-937B-0795B8163253}"/>
          </ac:spMkLst>
        </pc:spChg>
        <pc:spChg chg="mod">
          <ac:chgData name="Aurelien Domont" userId="6da7715ce44349b3" providerId="LiveId" clId="{B00D2795-A783-4827-B7F0-3CA19960AFE1}" dt="2022-09-27T00:20:20.806" v="340" actId="207"/>
          <ac:spMkLst>
            <pc:docMk/>
            <pc:sldMk cId="320718755" sldId="2250"/>
            <ac:spMk id="59" creationId="{77C4986A-501F-49B6-868B-8E0D429328E8}"/>
          </ac:spMkLst>
        </pc:spChg>
        <pc:spChg chg="mod">
          <ac:chgData name="Aurelien Domont" userId="6da7715ce44349b3" providerId="LiveId" clId="{B00D2795-A783-4827-B7F0-3CA19960AFE1}" dt="2022-09-27T00:20:20.806" v="340" actId="207"/>
          <ac:spMkLst>
            <pc:docMk/>
            <pc:sldMk cId="320718755" sldId="2250"/>
            <ac:spMk id="60" creationId="{75FC6706-32AF-4E80-A03B-DABA9C6837E1}"/>
          </ac:spMkLst>
        </pc:spChg>
        <pc:spChg chg="mod">
          <ac:chgData name="Aurelien Domont" userId="6da7715ce44349b3" providerId="LiveId" clId="{B00D2795-A783-4827-B7F0-3CA19960AFE1}" dt="2022-09-27T00:20:20.806" v="340" actId="207"/>
          <ac:spMkLst>
            <pc:docMk/>
            <pc:sldMk cId="320718755" sldId="2250"/>
            <ac:spMk id="61" creationId="{470E58F3-3DF4-4A3B-9ABC-5D8EA4B37C71}"/>
          </ac:spMkLst>
        </pc:spChg>
        <pc:spChg chg="mod">
          <ac:chgData name="Aurelien Domont" userId="6da7715ce44349b3" providerId="LiveId" clId="{B00D2795-A783-4827-B7F0-3CA19960AFE1}" dt="2022-09-27T00:20:20.806" v="340" actId="207"/>
          <ac:spMkLst>
            <pc:docMk/>
            <pc:sldMk cId="320718755" sldId="2250"/>
            <ac:spMk id="62" creationId="{D418F7C2-F8DF-4C80-BBCB-5B28A7641956}"/>
          </ac:spMkLst>
        </pc:spChg>
        <pc:spChg chg="mod">
          <ac:chgData name="Aurelien Domont" userId="6da7715ce44349b3" providerId="LiveId" clId="{B00D2795-A783-4827-B7F0-3CA19960AFE1}" dt="2022-09-27T00:20:20.806" v="340" actId="207"/>
          <ac:spMkLst>
            <pc:docMk/>
            <pc:sldMk cId="320718755" sldId="2250"/>
            <ac:spMk id="63" creationId="{AACE2542-3AB2-4919-A686-612D279DA965}"/>
          </ac:spMkLst>
        </pc:spChg>
        <pc:spChg chg="mod">
          <ac:chgData name="Aurelien Domont" userId="6da7715ce44349b3" providerId="LiveId" clId="{B00D2795-A783-4827-B7F0-3CA19960AFE1}" dt="2022-09-27T00:20:20.806" v="340" actId="207"/>
          <ac:spMkLst>
            <pc:docMk/>
            <pc:sldMk cId="320718755" sldId="2250"/>
            <ac:spMk id="64" creationId="{48BA92E7-9ED8-4E72-9F1C-F2DEF838E461}"/>
          </ac:spMkLst>
        </pc:spChg>
        <pc:spChg chg="mod">
          <ac:chgData name="Aurelien Domont" userId="6da7715ce44349b3" providerId="LiveId" clId="{B00D2795-A783-4827-B7F0-3CA19960AFE1}" dt="2022-09-27T00:20:20.806" v="340" actId="207"/>
          <ac:spMkLst>
            <pc:docMk/>
            <pc:sldMk cId="320718755" sldId="2250"/>
            <ac:spMk id="65" creationId="{DD2A0D6C-8D00-4EE1-BA77-D646EC028E8F}"/>
          </ac:spMkLst>
        </pc:spChg>
        <pc:spChg chg="mod">
          <ac:chgData name="Aurelien Domont" userId="6da7715ce44349b3" providerId="LiveId" clId="{B00D2795-A783-4827-B7F0-3CA19960AFE1}" dt="2022-09-27T00:20:20.806" v="340" actId="207"/>
          <ac:spMkLst>
            <pc:docMk/>
            <pc:sldMk cId="320718755" sldId="2250"/>
            <ac:spMk id="66" creationId="{72BFA308-394F-42E0-89BF-BBB3DE65B748}"/>
          </ac:spMkLst>
        </pc:spChg>
      </pc:sldChg>
      <pc:sldChg chg="addSp delSp modSp mod">
        <pc:chgData name="Aurelien Domont" userId="6da7715ce44349b3" providerId="LiveId" clId="{B00D2795-A783-4827-B7F0-3CA19960AFE1}" dt="2022-09-27T00:16:31.471" v="317"/>
        <pc:sldMkLst>
          <pc:docMk/>
          <pc:sldMk cId="3437807892" sldId="2251"/>
        </pc:sldMkLst>
        <pc:spChg chg="add del mod">
          <ac:chgData name="Aurelien Domont" userId="6da7715ce44349b3" providerId="LiveId" clId="{B00D2795-A783-4827-B7F0-3CA19960AFE1}" dt="2022-09-27T00:16:07.403" v="316" actId="478"/>
          <ac:spMkLst>
            <pc:docMk/>
            <pc:sldMk cId="3437807892" sldId="2251"/>
            <ac:spMk id="2" creationId="{2E4A0174-2480-9C31-18D1-0EE88795D97C}"/>
          </ac:spMkLst>
        </pc:spChg>
        <pc:spChg chg="mod">
          <ac:chgData name="Aurelien Domont" userId="6da7715ce44349b3" providerId="LiveId" clId="{B00D2795-A783-4827-B7F0-3CA19960AFE1}" dt="2022-09-27T00:16:31.471" v="317"/>
          <ac:spMkLst>
            <pc:docMk/>
            <pc:sldMk cId="3437807892" sldId="2251"/>
            <ac:spMk id="3" creationId="{CE2529A3-BA97-486F-9E02-8DFAAA7D8D38}"/>
          </ac:spMkLst>
        </pc:spChg>
        <pc:spChg chg="del">
          <ac:chgData name="Aurelien Domont" userId="6da7715ce44349b3" providerId="LiveId" clId="{B00D2795-A783-4827-B7F0-3CA19960AFE1}" dt="2022-09-27T00:16:07.403" v="316" actId="478"/>
          <ac:spMkLst>
            <pc:docMk/>
            <pc:sldMk cId="3437807892" sldId="2251"/>
            <ac:spMk id="7" creationId="{B2B70791-2F22-4B40-B4DF-A8D947C81F34}"/>
          </ac:spMkLst>
        </pc:spChg>
        <pc:spChg chg="mod">
          <ac:chgData name="Aurelien Domont" userId="6da7715ce44349b3" providerId="LiveId" clId="{B00D2795-A783-4827-B7F0-3CA19960AFE1}" dt="2022-09-27T00:16:31.471" v="317"/>
          <ac:spMkLst>
            <pc:docMk/>
            <pc:sldMk cId="3437807892" sldId="2251"/>
            <ac:spMk id="16" creationId="{6C2BB713-9637-4B9B-938F-E9768876782A}"/>
          </ac:spMkLst>
        </pc:spChg>
      </pc:sldChg>
      <pc:sldChg chg="modSp add">
        <pc:chgData name="Aurelien Domont" userId="6da7715ce44349b3" providerId="LiveId" clId="{B00D2795-A783-4827-B7F0-3CA19960AFE1}" dt="2022-09-27T00:16:31.471" v="317"/>
        <pc:sldMkLst>
          <pc:docMk/>
          <pc:sldMk cId="2508926510" sldId="2395"/>
        </pc:sldMkLst>
        <pc:spChg chg="mod">
          <ac:chgData name="Aurelien Domont" userId="6da7715ce44349b3" providerId="LiveId" clId="{B00D2795-A783-4827-B7F0-3CA19960AFE1}" dt="2022-09-27T00:16:31.471" v="317"/>
          <ac:spMkLst>
            <pc:docMk/>
            <pc:sldMk cId="2508926510" sldId="2395"/>
            <ac:spMk id="3" creationId="{CE2529A3-BA97-486F-9E02-8DFAAA7D8D38}"/>
          </ac:spMkLst>
        </pc:spChg>
        <pc:spChg chg="mod">
          <ac:chgData name="Aurelien Domont" userId="6da7715ce44349b3" providerId="LiveId" clId="{B00D2795-A783-4827-B7F0-3CA19960AFE1}" dt="2022-09-27T00:16:31.471" v="317"/>
          <ac:spMkLst>
            <pc:docMk/>
            <pc:sldMk cId="2508926510" sldId="2395"/>
            <ac:spMk id="16" creationId="{6C2BB713-9637-4B9B-938F-E9768876782A}"/>
          </ac:spMkLst>
        </pc:spChg>
      </pc:sldChg>
      <pc:sldChg chg="addSp modSp add mod">
        <pc:chgData name="Aurelien Domont" userId="6da7715ce44349b3" providerId="LiveId" clId="{B00D2795-A783-4827-B7F0-3CA19960AFE1}" dt="2022-09-27T00:16:31.471" v="317"/>
        <pc:sldMkLst>
          <pc:docMk/>
          <pc:sldMk cId="2729887286" sldId="2396"/>
        </pc:sldMkLst>
        <pc:spChg chg="add mod">
          <ac:chgData name="Aurelien Domont" userId="6da7715ce44349b3" providerId="LiveId" clId="{B00D2795-A783-4827-B7F0-3CA19960AFE1}" dt="2022-09-27T00:02:58.822" v="20" actId="14100"/>
          <ac:spMkLst>
            <pc:docMk/>
            <pc:sldMk cId="2729887286" sldId="2396"/>
            <ac:spMk id="2" creationId="{5DAAB3B5-87C0-42A3-7647-8B342DCED661}"/>
          </ac:spMkLst>
        </pc:spChg>
        <pc:spChg chg="mod">
          <ac:chgData name="Aurelien Domont" userId="6da7715ce44349b3" providerId="LiveId" clId="{B00D2795-A783-4827-B7F0-3CA19960AFE1}" dt="2022-09-27T00:16:31.471" v="317"/>
          <ac:spMkLst>
            <pc:docMk/>
            <pc:sldMk cId="2729887286" sldId="2396"/>
            <ac:spMk id="5" creationId="{3AA7B8AD-E6F9-4E25-A3A4-71D021032612}"/>
          </ac:spMkLst>
        </pc:spChg>
        <pc:spChg chg="mod">
          <ac:chgData name="Aurelien Domont" userId="6da7715ce44349b3" providerId="LiveId" clId="{B00D2795-A783-4827-B7F0-3CA19960AFE1}" dt="2022-09-27T00:16:31.471" v="317"/>
          <ac:spMkLst>
            <pc:docMk/>
            <pc:sldMk cId="2729887286" sldId="2396"/>
            <ac:spMk id="16" creationId="{6C2BB713-9637-4B9B-938F-E9768876782A}"/>
          </ac:spMkLst>
        </pc:spChg>
      </pc:sldChg>
      <pc:sldChg chg="addSp modSp add mod">
        <pc:chgData name="Aurelien Domont" userId="6da7715ce44349b3" providerId="LiveId" clId="{B00D2795-A783-4827-B7F0-3CA19960AFE1}" dt="2022-09-27T00:17:05.472" v="319" actId="207"/>
        <pc:sldMkLst>
          <pc:docMk/>
          <pc:sldMk cId="2573346459" sldId="2397"/>
        </pc:sldMkLst>
        <pc:spChg chg="add mod">
          <ac:chgData name="Aurelien Domont" userId="6da7715ce44349b3" providerId="LiveId" clId="{B00D2795-A783-4827-B7F0-3CA19960AFE1}" dt="2022-09-27T00:05:32.870" v="23"/>
          <ac:spMkLst>
            <pc:docMk/>
            <pc:sldMk cId="2573346459" sldId="2397"/>
            <ac:spMk id="2" creationId="{ED6564CC-2ED3-A4FF-B03D-E17DEC5C2B08}"/>
          </ac:spMkLst>
        </pc:spChg>
        <pc:spChg chg="mod">
          <ac:chgData name="Aurelien Domont" userId="6da7715ce44349b3" providerId="LiveId" clId="{B00D2795-A783-4827-B7F0-3CA19960AFE1}" dt="2022-09-27T00:16:31.471" v="317"/>
          <ac:spMkLst>
            <pc:docMk/>
            <pc:sldMk cId="2573346459" sldId="2397"/>
            <ac:spMk id="3" creationId="{CE2529A3-BA97-486F-9E02-8DFAAA7D8D38}"/>
          </ac:spMkLst>
        </pc:spChg>
        <pc:spChg chg="mod">
          <ac:chgData name="Aurelien Domont" userId="6da7715ce44349b3" providerId="LiveId" clId="{B00D2795-A783-4827-B7F0-3CA19960AFE1}" dt="2022-09-27T00:16:31.471" v="317"/>
          <ac:spMkLst>
            <pc:docMk/>
            <pc:sldMk cId="2573346459" sldId="2397"/>
            <ac:spMk id="16" creationId="{6C2BB713-9637-4B9B-938F-E9768876782A}"/>
          </ac:spMkLst>
        </pc:spChg>
        <pc:spChg chg="mod">
          <ac:chgData name="Aurelien Domont" userId="6da7715ce44349b3" providerId="LiveId" clId="{B00D2795-A783-4827-B7F0-3CA19960AFE1}" dt="2022-09-27T00:17:05.472" v="319" actId="207"/>
          <ac:spMkLst>
            <pc:docMk/>
            <pc:sldMk cId="2573346459" sldId="2397"/>
            <ac:spMk id="39" creationId="{82D871D3-3E43-4C8B-B400-AF95DF7EBACF}"/>
          </ac:spMkLst>
        </pc:spChg>
        <pc:spChg chg="mod">
          <ac:chgData name="Aurelien Domont" userId="6da7715ce44349b3" providerId="LiveId" clId="{B00D2795-A783-4827-B7F0-3CA19960AFE1}" dt="2022-09-27T00:17:05.472" v="319" actId="207"/>
          <ac:spMkLst>
            <pc:docMk/>
            <pc:sldMk cId="2573346459" sldId="2397"/>
            <ac:spMk id="40" creationId="{BE66D6FD-2100-427E-B88B-E7F6D6D174CE}"/>
          </ac:spMkLst>
        </pc:spChg>
        <pc:spChg chg="mod">
          <ac:chgData name="Aurelien Domont" userId="6da7715ce44349b3" providerId="LiveId" clId="{B00D2795-A783-4827-B7F0-3CA19960AFE1}" dt="2022-09-27T00:17:05.472" v="319" actId="207"/>
          <ac:spMkLst>
            <pc:docMk/>
            <pc:sldMk cId="2573346459" sldId="2397"/>
            <ac:spMk id="41" creationId="{DF4B53A2-01EB-4D6D-937B-0795B8163253}"/>
          </ac:spMkLst>
        </pc:spChg>
        <pc:spChg chg="mod">
          <ac:chgData name="Aurelien Domont" userId="6da7715ce44349b3" providerId="LiveId" clId="{B00D2795-A783-4827-B7F0-3CA19960AFE1}" dt="2022-09-27T00:17:05.472" v="319" actId="207"/>
          <ac:spMkLst>
            <pc:docMk/>
            <pc:sldMk cId="2573346459" sldId="2397"/>
            <ac:spMk id="59" creationId="{77C4986A-501F-49B6-868B-8E0D429328E8}"/>
          </ac:spMkLst>
        </pc:spChg>
        <pc:spChg chg="mod">
          <ac:chgData name="Aurelien Domont" userId="6da7715ce44349b3" providerId="LiveId" clId="{B00D2795-A783-4827-B7F0-3CA19960AFE1}" dt="2022-09-27T00:17:05.472" v="319" actId="207"/>
          <ac:spMkLst>
            <pc:docMk/>
            <pc:sldMk cId="2573346459" sldId="2397"/>
            <ac:spMk id="60" creationId="{75FC6706-32AF-4E80-A03B-DABA9C6837E1}"/>
          </ac:spMkLst>
        </pc:spChg>
        <pc:spChg chg="mod">
          <ac:chgData name="Aurelien Domont" userId="6da7715ce44349b3" providerId="LiveId" clId="{B00D2795-A783-4827-B7F0-3CA19960AFE1}" dt="2022-09-27T00:17:05.472" v="319" actId="207"/>
          <ac:spMkLst>
            <pc:docMk/>
            <pc:sldMk cId="2573346459" sldId="2397"/>
            <ac:spMk id="61" creationId="{470E58F3-3DF4-4A3B-9ABC-5D8EA4B37C71}"/>
          </ac:spMkLst>
        </pc:spChg>
        <pc:spChg chg="mod">
          <ac:chgData name="Aurelien Domont" userId="6da7715ce44349b3" providerId="LiveId" clId="{B00D2795-A783-4827-B7F0-3CA19960AFE1}" dt="2022-09-27T00:17:05.472" v="319" actId="207"/>
          <ac:spMkLst>
            <pc:docMk/>
            <pc:sldMk cId="2573346459" sldId="2397"/>
            <ac:spMk id="62" creationId="{D418F7C2-F8DF-4C80-BBCB-5B28A7641956}"/>
          </ac:spMkLst>
        </pc:spChg>
        <pc:spChg chg="mod">
          <ac:chgData name="Aurelien Domont" userId="6da7715ce44349b3" providerId="LiveId" clId="{B00D2795-A783-4827-B7F0-3CA19960AFE1}" dt="2022-09-27T00:17:05.472" v="319" actId="207"/>
          <ac:spMkLst>
            <pc:docMk/>
            <pc:sldMk cId="2573346459" sldId="2397"/>
            <ac:spMk id="63" creationId="{AACE2542-3AB2-4919-A686-612D279DA965}"/>
          </ac:spMkLst>
        </pc:spChg>
        <pc:spChg chg="mod">
          <ac:chgData name="Aurelien Domont" userId="6da7715ce44349b3" providerId="LiveId" clId="{B00D2795-A783-4827-B7F0-3CA19960AFE1}" dt="2022-09-27T00:17:05.472" v="319" actId="207"/>
          <ac:spMkLst>
            <pc:docMk/>
            <pc:sldMk cId="2573346459" sldId="2397"/>
            <ac:spMk id="64" creationId="{48BA92E7-9ED8-4E72-9F1C-F2DEF838E461}"/>
          </ac:spMkLst>
        </pc:spChg>
        <pc:spChg chg="mod">
          <ac:chgData name="Aurelien Domont" userId="6da7715ce44349b3" providerId="LiveId" clId="{B00D2795-A783-4827-B7F0-3CA19960AFE1}" dt="2022-09-27T00:17:05.472" v="319" actId="207"/>
          <ac:spMkLst>
            <pc:docMk/>
            <pc:sldMk cId="2573346459" sldId="2397"/>
            <ac:spMk id="65" creationId="{DD2A0D6C-8D00-4EE1-BA77-D646EC028E8F}"/>
          </ac:spMkLst>
        </pc:spChg>
        <pc:spChg chg="mod">
          <ac:chgData name="Aurelien Domont" userId="6da7715ce44349b3" providerId="LiveId" clId="{B00D2795-A783-4827-B7F0-3CA19960AFE1}" dt="2022-09-27T00:17:05.472" v="319" actId="207"/>
          <ac:spMkLst>
            <pc:docMk/>
            <pc:sldMk cId="2573346459" sldId="2397"/>
            <ac:spMk id="66" creationId="{72BFA308-394F-42E0-89BF-BBB3DE65B748}"/>
          </ac:spMkLst>
        </pc:spChg>
      </pc:sldChg>
      <pc:sldChg chg="addSp modSp add mod">
        <pc:chgData name="Aurelien Domont" userId="6da7715ce44349b3" providerId="LiveId" clId="{B00D2795-A783-4827-B7F0-3CA19960AFE1}" dt="2022-09-27T00:16:31.471" v="317"/>
        <pc:sldMkLst>
          <pc:docMk/>
          <pc:sldMk cId="4211780729" sldId="2398"/>
        </pc:sldMkLst>
        <pc:spChg chg="add mod">
          <ac:chgData name="Aurelien Domont" userId="6da7715ce44349b3" providerId="LiveId" clId="{B00D2795-A783-4827-B7F0-3CA19960AFE1}" dt="2022-09-27T00:08:55.880" v="99" actId="20577"/>
          <ac:spMkLst>
            <pc:docMk/>
            <pc:sldMk cId="4211780729" sldId="2398"/>
            <ac:spMk id="2" creationId="{29FD5D23-9F9B-EB7C-1075-07C5C988EC6A}"/>
          </ac:spMkLst>
        </pc:spChg>
        <pc:spChg chg="mod">
          <ac:chgData name="Aurelien Domont" userId="6da7715ce44349b3" providerId="LiveId" clId="{B00D2795-A783-4827-B7F0-3CA19960AFE1}" dt="2022-09-27T00:16:31.471" v="317"/>
          <ac:spMkLst>
            <pc:docMk/>
            <pc:sldMk cId="4211780729" sldId="2398"/>
            <ac:spMk id="3" creationId="{CE2529A3-BA97-486F-9E02-8DFAAA7D8D38}"/>
          </ac:spMkLst>
        </pc:spChg>
        <pc:spChg chg="mod">
          <ac:chgData name="Aurelien Domont" userId="6da7715ce44349b3" providerId="LiveId" clId="{B00D2795-A783-4827-B7F0-3CA19960AFE1}" dt="2022-09-27T00:16:31.471" v="317"/>
          <ac:spMkLst>
            <pc:docMk/>
            <pc:sldMk cId="4211780729" sldId="2398"/>
            <ac:spMk id="16" creationId="{6C2BB713-9637-4B9B-938F-E9768876782A}"/>
          </ac:spMkLst>
        </pc:spChg>
      </pc:sldChg>
      <pc:sldChg chg="addSp modSp add mod">
        <pc:chgData name="Aurelien Domont" userId="6da7715ce44349b3" providerId="LiveId" clId="{B00D2795-A783-4827-B7F0-3CA19960AFE1}" dt="2022-09-27T00:16:31.471" v="317"/>
        <pc:sldMkLst>
          <pc:docMk/>
          <pc:sldMk cId="1942461746" sldId="2399"/>
        </pc:sldMkLst>
        <pc:spChg chg="add mod">
          <ac:chgData name="Aurelien Domont" userId="6da7715ce44349b3" providerId="LiveId" clId="{B00D2795-A783-4827-B7F0-3CA19960AFE1}" dt="2022-09-27T00:13:14.822" v="280" actId="1076"/>
          <ac:spMkLst>
            <pc:docMk/>
            <pc:sldMk cId="1942461746" sldId="2399"/>
            <ac:spMk id="2" creationId="{52DE48A4-D142-C733-6C3A-872326B66544}"/>
          </ac:spMkLst>
        </pc:spChg>
        <pc:spChg chg="mod">
          <ac:chgData name="Aurelien Domont" userId="6da7715ce44349b3" providerId="LiveId" clId="{B00D2795-A783-4827-B7F0-3CA19960AFE1}" dt="2022-09-27T00:16:31.471" v="317"/>
          <ac:spMkLst>
            <pc:docMk/>
            <pc:sldMk cId="1942461746" sldId="2399"/>
            <ac:spMk id="3" creationId="{CE2529A3-BA97-486F-9E02-8DFAAA7D8D38}"/>
          </ac:spMkLst>
        </pc:spChg>
        <pc:spChg chg="mod">
          <ac:chgData name="Aurelien Domont" userId="6da7715ce44349b3" providerId="LiveId" clId="{B00D2795-A783-4827-B7F0-3CA19960AFE1}" dt="2022-09-27T00:16:31.471" v="317"/>
          <ac:spMkLst>
            <pc:docMk/>
            <pc:sldMk cId="1942461746" sldId="2399"/>
            <ac:spMk id="16" creationId="{6C2BB713-9637-4B9B-938F-E9768876782A}"/>
          </ac:spMkLst>
        </pc:spChg>
      </pc:sldChg>
      <pc:sldChg chg="addSp modSp add">
        <pc:chgData name="Aurelien Domont" userId="6da7715ce44349b3" providerId="LiveId" clId="{B00D2795-A783-4827-B7F0-3CA19960AFE1}" dt="2022-09-27T00:16:31.471" v="317"/>
        <pc:sldMkLst>
          <pc:docMk/>
          <pc:sldMk cId="1084314108" sldId="2400"/>
        </pc:sldMkLst>
        <pc:spChg chg="add mod">
          <ac:chgData name="Aurelien Domont" userId="6da7715ce44349b3" providerId="LiveId" clId="{B00D2795-A783-4827-B7F0-3CA19960AFE1}" dt="2022-09-27T00:13:36.957" v="283"/>
          <ac:spMkLst>
            <pc:docMk/>
            <pc:sldMk cId="1084314108" sldId="2400"/>
            <ac:spMk id="2" creationId="{16D13795-F76E-80EC-2D34-29C0E300FC4F}"/>
          </ac:spMkLst>
        </pc:spChg>
        <pc:spChg chg="mod">
          <ac:chgData name="Aurelien Domont" userId="6da7715ce44349b3" providerId="LiveId" clId="{B00D2795-A783-4827-B7F0-3CA19960AFE1}" dt="2022-09-27T00:16:31.471" v="317"/>
          <ac:spMkLst>
            <pc:docMk/>
            <pc:sldMk cId="1084314108" sldId="2400"/>
            <ac:spMk id="3" creationId="{CE2529A3-BA97-486F-9E02-8DFAAA7D8D38}"/>
          </ac:spMkLst>
        </pc:spChg>
        <pc:spChg chg="mod">
          <ac:chgData name="Aurelien Domont" userId="6da7715ce44349b3" providerId="LiveId" clId="{B00D2795-A783-4827-B7F0-3CA19960AFE1}" dt="2022-09-27T00:16:31.471" v="317"/>
          <ac:spMkLst>
            <pc:docMk/>
            <pc:sldMk cId="1084314108" sldId="2400"/>
            <ac:spMk id="16" creationId="{6C2BB713-9637-4B9B-938F-E9768876782A}"/>
          </ac:spMkLst>
        </pc:spChg>
      </pc:sldChg>
      <pc:sldChg chg="addSp delSp modSp add mod">
        <pc:chgData name="Aurelien Domont" userId="6da7715ce44349b3" providerId="LiveId" clId="{B00D2795-A783-4827-B7F0-3CA19960AFE1}" dt="2022-09-27T00:16:31.471" v="317"/>
        <pc:sldMkLst>
          <pc:docMk/>
          <pc:sldMk cId="1080075480" sldId="2401"/>
        </pc:sldMkLst>
        <pc:spChg chg="del">
          <ac:chgData name="Aurelien Domont" userId="6da7715ce44349b3" providerId="LiveId" clId="{B00D2795-A783-4827-B7F0-3CA19960AFE1}" dt="2022-09-27T00:14:27.382" v="307" actId="478"/>
          <ac:spMkLst>
            <pc:docMk/>
            <pc:sldMk cId="1080075480" sldId="2401"/>
            <ac:spMk id="2" creationId="{506BE6EB-61C3-20CA-B157-3DF4E7292E39}"/>
          </ac:spMkLst>
        </pc:spChg>
        <pc:spChg chg="mod">
          <ac:chgData name="Aurelien Domont" userId="6da7715ce44349b3" providerId="LiveId" clId="{B00D2795-A783-4827-B7F0-3CA19960AFE1}" dt="2022-09-27T00:16:31.471" v="317"/>
          <ac:spMkLst>
            <pc:docMk/>
            <pc:sldMk cId="1080075480" sldId="2401"/>
            <ac:spMk id="3" creationId="{CE2529A3-BA97-486F-9E02-8DFAAA7D8D38}"/>
          </ac:spMkLst>
        </pc:spChg>
        <pc:spChg chg="add mod">
          <ac:chgData name="Aurelien Domont" userId="6da7715ce44349b3" providerId="LiveId" clId="{B00D2795-A783-4827-B7F0-3CA19960AFE1}" dt="2022-09-27T00:14:27.477" v="308"/>
          <ac:spMkLst>
            <pc:docMk/>
            <pc:sldMk cId="1080075480" sldId="2401"/>
            <ac:spMk id="6" creationId="{79E13727-1D2D-604E-9F90-D885FFF0DC0A}"/>
          </ac:spMkLst>
        </pc:spChg>
        <pc:spChg chg="mod">
          <ac:chgData name="Aurelien Domont" userId="6da7715ce44349b3" providerId="LiveId" clId="{B00D2795-A783-4827-B7F0-3CA19960AFE1}" dt="2022-09-27T00:16:31.471" v="317"/>
          <ac:spMkLst>
            <pc:docMk/>
            <pc:sldMk cId="1080075480" sldId="2401"/>
            <ac:spMk id="16" creationId="{6C2BB713-9637-4B9B-938F-E9768876782A}"/>
          </ac:spMkLst>
        </pc:spChg>
      </pc:sldChg>
      <pc:sldChg chg="addSp modSp add mod">
        <pc:chgData name="Aurelien Domont" userId="6da7715ce44349b3" providerId="LiveId" clId="{B00D2795-A783-4827-B7F0-3CA19960AFE1}" dt="2022-09-27T00:16:31.471" v="317"/>
        <pc:sldMkLst>
          <pc:docMk/>
          <pc:sldMk cId="774781903" sldId="2402"/>
        </pc:sldMkLst>
        <pc:spChg chg="add mod">
          <ac:chgData name="Aurelien Domont" userId="6da7715ce44349b3" providerId="LiveId" clId="{B00D2795-A783-4827-B7F0-3CA19960AFE1}" dt="2022-09-27T00:14:20.859" v="306" actId="20577"/>
          <ac:spMkLst>
            <pc:docMk/>
            <pc:sldMk cId="774781903" sldId="2402"/>
            <ac:spMk id="2" creationId="{1A84C0BD-82B9-2A93-5CCB-C7E58EFB39A5}"/>
          </ac:spMkLst>
        </pc:spChg>
        <pc:spChg chg="mod">
          <ac:chgData name="Aurelien Domont" userId="6da7715ce44349b3" providerId="LiveId" clId="{B00D2795-A783-4827-B7F0-3CA19960AFE1}" dt="2022-09-27T00:16:31.471" v="317"/>
          <ac:spMkLst>
            <pc:docMk/>
            <pc:sldMk cId="774781903" sldId="2402"/>
            <ac:spMk id="3" creationId="{CE2529A3-BA97-486F-9E02-8DFAAA7D8D38}"/>
          </ac:spMkLst>
        </pc:spChg>
        <pc:spChg chg="mod">
          <ac:chgData name="Aurelien Domont" userId="6da7715ce44349b3" providerId="LiveId" clId="{B00D2795-A783-4827-B7F0-3CA19960AFE1}" dt="2022-09-27T00:16:31.471" v="317"/>
          <ac:spMkLst>
            <pc:docMk/>
            <pc:sldMk cId="774781903" sldId="2402"/>
            <ac:spMk id="16" creationId="{6C2BB713-9637-4B9B-938F-E9768876782A}"/>
          </ac:spMkLst>
        </pc:spChg>
      </pc:sldChg>
      <pc:sldChg chg="modSp add">
        <pc:chgData name="Aurelien Domont" userId="6da7715ce44349b3" providerId="LiveId" clId="{B00D2795-A783-4827-B7F0-3CA19960AFE1}" dt="2022-09-27T00:16:31.471" v="317"/>
        <pc:sldMkLst>
          <pc:docMk/>
          <pc:sldMk cId="3869988710" sldId="2403"/>
        </pc:sldMkLst>
        <pc:spChg chg="mod">
          <ac:chgData name="Aurelien Domont" userId="6da7715ce44349b3" providerId="LiveId" clId="{B00D2795-A783-4827-B7F0-3CA19960AFE1}" dt="2022-09-27T00:16:31.471" v="317"/>
          <ac:spMkLst>
            <pc:docMk/>
            <pc:sldMk cId="3869988710" sldId="2403"/>
            <ac:spMk id="3" creationId="{CE2529A3-BA97-486F-9E02-8DFAAA7D8D38}"/>
          </ac:spMkLst>
        </pc:spChg>
        <pc:spChg chg="mod">
          <ac:chgData name="Aurelien Domont" userId="6da7715ce44349b3" providerId="LiveId" clId="{B00D2795-A783-4827-B7F0-3CA19960AFE1}" dt="2022-09-27T00:16:31.471" v="317"/>
          <ac:spMkLst>
            <pc:docMk/>
            <pc:sldMk cId="3869988710" sldId="2403"/>
            <ac:spMk id="16" creationId="{6C2BB713-9637-4B9B-938F-E9768876782A}"/>
          </ac:spMkLst>
        </pc:spChg>
      </pc:sldChg>
      <pc:sldChg chg="add del">
        <pc:chgData name="Aurelien Domont" userId="6da7715ce44349b3" providerId="LiveId" clId="{B00D2795-A783-4827-B7F0-3CA19960AFE1}" dt="2022-09-27T00:15:53.151" v="313"/>
        <pc:sldMkLst>
          <pc:docMk/>
          <pc:sldMk cId="1760865573" sldId="2404"/>
        </pc:sldMkLst>
      </pc:sldChg>
      <pc:sldChg chg="modSp add">
        <pc:chgData name="Aurelien Domont" userId="6da7715ce44349b3" providerId="LiveId" clId="{B00D2795-A783-4827-B7F0-3CA19960AFE1}" dt="2022-09-27T00:16:31.471" v="317"/>
        <pc:sldMkLst>
          <pc:docMk/>
          <pc:sldMk cId="2431897612" sldId="2404"/>
        </pc:sldMkLst>
        <pc:spChg chg="mod">
          <ac:chgData name="Aurelien Domont" userId="6da7715ce44349b3" providerId="LiveId" clId="{B00D2795-A783-4827-B7F0-3CA19960AFE1}" dt="2022-09-27T00:16:31.471" v="317"/>
          <ac:spMkLst>
            <pc:docMk/>
            <pc:sldMk cId="2431897612" sldId="2404"/>
            <ac:spMk id="3" creationId="{CE2529A3-BA97-486F-9E02-8DFAAA7D8D38}"/>
          </ac:spMkLst>
        </pc:spChg>
        <pc:spChg chg="mod">
          <ac:chgData name="Aurelien Domont" userId="6da7715ce44349b3" providerId="LiveId" clId="{B00D2795-A783-4827-B7F0-3CA19960AFE1}" dt="2022-09-27T00:16:31.471" v="317"/>
          <ac:spMkLst>
            <pc:docMk/>
            <pc:sldMk cId="2431897612" sldId="2404"/>
            <ac:spMk id="16" creationId="{6C2BB713-9637-4B9B-938F-E9768876782A}"/>
          </ac:spMkLst>
        </pc:spChg>
      </pc:sldChg>
      <pc:sldMasterChg chg="addSp modSldLayout">
        <pc:chgData name="Aurelien Domont" userId="6da7715ce44349b3" providerId="LiveId" clId="{B00D2795-A783-4827-B7F0-3CA19960AFE1}" dt="2022-09-27T00:16:31.471" v="317"/>
        <pc:sldMasterMkLst>
          <pc:docMk/>
          <pc:sldMasterMk cId="594377335" sldId="2147483674"/>
        </pc:sldMasterMkLst>
        <pc:spChg chg="add">
          <ac:chgData name="Aurelien Domont" userId="6da7715ce44349b3" providerId="LiveId" clId="{B00D2795-A783-4827-B7F0-3CA19960AFE1}" dt="2022-09-27T00:16:31.471" v="317"/>
          <ac:spMkLst>
            <pc:docMk/>
            <pc:sldMasterMk cId="594377335" sldId="2147483674"/>
            <ac:spMk id="10" creationId="{65DEE575-32B6-CA4B-6D84-3F9DA7831D46}"/>
          </ac:spMkLst>
        </pc:spChg>
        <pc:spChg chg="add">
          <ac:chgData name="Aurelien Domont" userId="6da7715ce44349b3" providerId="LiveId" clId="{B00D2795-A783-4827-B7F0-3CA19960AFE1}" dt="2022-09-27T00:16:31.471" v="317"/>
          <ac:spMkLst>
            <pc:docMk/>
            <pc:sldMasterMk cId="594377335" sldId="2147483674"/>
            <ac:spMk id="11" creationId="{AFB94389-1417-FBD5-020B-24978A32631D}"/>
          </ac:spMkLst>
        </pc:spChg>
        <pc:graphicFrameChg chg="add">
          <ac:chgData name="Aurelien Domont" userId="6da7715ce44349b3" providerId="LiveId" clId="{B00D2795-A783-4827-B7F0-3CA19960AFE1}" dt="2022-09-27T00:16:31.471" v="317"/>
          <ac:graphicFrameMkLst>
            <pc:docMk/>
            <pc:sldMasterMk cId="594377335" sldId="2147483674"/>
            <ac:graphicFrameMk id="4" creationId="{84764768-FB7B-61E8-795D-931A6A856674}"/>
          </ac:graphicFrameMkLst>
        </pc:graphicFrameChg>
        <pc:cxnChg chg="add">
          <ac:chgData name="Aurelien Domont" userId="6da7715ce44349b3" providerId="LiveId" clId="{B00D2795-A783-4827-B7F0-3CA19960AFE1}" dt="2022-09-27T00:16:31.471" v="317"/>
          <ac:cxnSpMkLst>
            <pc:docMk/>
            <pc:sldMasterMk cId="594377335" sldId="2147483674"/>
            <ac:cxnSpMk id="12" creationId="{D8FD4C9E-9139-C5B8-735B-EF2F2FAE25AE}"/>
          </ac:cxnSpMkLst>
        </pc:cxnChg>
        <pc:sldLayoutChg chg="addSp">
          <pc:chgData name="Aurelien Domont" userId="6da7715ce44349b3" providerId="LiveId" clId="{B00D2795-A783-4827-B7F0-3CA19960AFE1}" dt="2022-09-27T00:16:31.471" v="317"/>
          <pc:sldLayoutMkLst>
            <pc:docMk/>
            <pc:sldMasterMk cId="594377335" sldId="2147483674"/>
            <pc:sldLayoutMk cId="760270348" sldId="2147483675"/>
          </pc:sldLayoutMkLst>
          <pc:spChg chg="add">
            <ac:chgData name="Aurelien Domont" userId="6da7715ce44349b3" providerId="LiveId" clId="{B00D2795-A783-4827-B7F0-3CA19960AFE1}" dt="2022-09-27T00:16:31.471" v="317"/>
            <ac:spMkLst>
              <pc:docMk/>
              <pc:sldMasterMk cId="594377335" sldId="2147483674"/>
              <pc:sldLayoutMk cId="760270348" sldId="2147483675"/>
              <ac:spMk id="8" creationId="{6457F55E-F89A-100F-F78C-57BDD748B66D}"/>
            </ac:spMkLst>
          </pc:spChg>
        </pc:sldLayoutChg>
        <pc:sldLayoutChg chg="addSp">
          <pc:chgData name="Aurelien Domont" userId="6da7715ce44349b3" providerId="LiveId" clId="{B00D2795-A783-4827-B7F0-3CA19960AFE1}" dt="2022-09-27T00:16:31.471" v="317"/>
          <pc:sldLayoutMkLst>
            <pc:docMk/>
            <pc:sldMasterMk cId="594377335" sldId="2147483674"/>
            <pc:sldLayoutMk cId="2866870642" sldId="2147483676"/>
          </pc:sldLayoutMkLst>
          <pc:spChg chg="add">
            <ac:chgData name="Aurelien Domont" userId="6da7715ce44349b3" providerId="LiveId" clId="{B00D2795-A783-4827-B7F0-3CA19960AFE1}" dt="2022-09-27T00:16:31.471" v="317"/>
            <ac:spMkLst>
              <pc:docMk/>
              <pc:sldMasterMk cId="594377335" sldId="2147483674"/>
              <pc:sldLayoutMk cId="2866870642" sldId="2147483676"/>
              <ac:spMk id="4" creationId="{BF416B89-A8CD-A4B4-397C-6117145369BF}"/>
            </ac:spMkLst>
          </pc:spChg>
          <pc:cxnChg chg="add">
            <ac:chgData name="Aurelien Domont" userId="6da7715ce44349b3" providerId="LiveId" clId="{B00D2795-A783-4827-B7F0-3CA19960AFE1}" dt="2022-09-27T00:16:31.471" v="317"/>
            <ac:cxnSpMkLst>
              <pc:docMk/>
              <pc:sldMasterMk cId="594377335" sldId="2147483674"/>
              <pc:sldLayoutMk cId="2866870642" sldId="2147483676"/>
              <ac:cxnSpMk id="5" creationId="{28F2CA63-D1C0-82CE-5038-E531490DCCD7}"/>
            </ac:cxnSpMkLst>
          </pc:cxnChg>
        </pc:sldLayoutChg>
        <pc:sldLayoutChg chg="addSp">
          <pc:chgData name="Aurelien Domont" userId="6da7715ce44349b3" providerId="LiveId" clId="{B00D2795-A783-4827-B7F0-3CA19960AFE1}" dt="2022-09-27T00:16:31.471" v="317"/>
          <pc:sldLayoutMkLst>
            <pc:docMk/>
            <pc:sldMasterMk cId="594377335" sldId="2147483674"/>
            <pc:sldLayoutMk cId="10808042" sldId="2147483677"/>
          </pc:sldLayoutMkLst>
          <pc:spChg chg="add">
            <ac:chgData name="Aurelien Domont" userId="6da7715ce44349b3" providerId="LiveId" clId="{B00D2795-A783-4827-B7F0-3CA19960AFE1}" dt="2022-09-27T00:16:31.471" v="317"/>
            <ac:spMkLst>
              <pc:docMk/>
              <pc:sldMasterMk cId="594377335" sldId="2147483674"/>
              <pc:sldLayoutMk cId="10808042" sldId="2147483677"/>
              <ac:spMk id="6" creationId="{BAC886E1-2FE0-FB1F-7E6D-2F9944106826}"/>
            </ac:spMkLst>
          </pc:spChg>
          <pc:spChg chg="add">
            <ac:chgData name="Aurelien Domont" userId="6da7715ce44349b3" providerId="LiveId" clId="{B00D2795-A783-4827-B7F0-3CA19960AFE1}" dt="2022-09-27T00:16:31.471" v="317"/>
            <ac:spMkLst>
              <pc:docMk/>
              <pc:sldMasterMk cId="594377335" sldId="2147483674"/>
              <pc:sldLayoutMk cId="10808042" sldId="2147483677"/>
              <ac:spMk id="11" creationId="{A62F990D-74A0-1F97-E913-18728894C841}"/>
            </ac:spMkLst>
          </pc:spChg>
          <pc:graphicFrameChg chg="add">
            <ac:chgData name="Aurelien Domont" userId="6da7715ce44349b3" providerId="LiveId" clId="{B00D2795-A783-4827-B7F0-3CA19960AFE1}" dt="2022-09-27T00:16:31.471" v="317"/>
            <ac:graphicFrameMkLst>
              <pc:docMk/>
              <pc:sldMasterMk cId="594377335" sldId="2147483674"/>
              <pc:sldLayoutMk cId="10808042" sldId="2147483677"/>
              <ac:graphicFrameMk id="2" creationId="{3B918238-B8BB-2DDF-18FD-44974E7817FF}"/>
            </ac:graphicFrameMkLst>
          </pc:graphicFrameChg>
          <pc:cxnChg chg="add">
            <ac:chgData name="Aurelien Domont" userId="6da7715ce44349b3" providerId="LiveId" clId="{B00D2795-A783-4827-B7F0-3CA19960AFE1}" dt="2022-09-27T00:16:31.471" v="317"/>
            <ac:cxnSpMkLst>
              <pc:docMk/>
              <pc:sldMasterMk cId="594377335" sldId="2147483674"/>
              <pc:sldLayoutMk cId="10808042" sldId="2147483677"/>
              <ac:cxnSpMk id="12" creationId="{5D959585-8DA5-EE04-CE9D-2DAD2CAF4AE7}"/>
            </ac:cxnSpMkLst>
          </pc:cxnChg>
        </pc:sldLayoutChg>
        <pc:sldLayoutChg chg="addSp">
          <pc:chgData name="Aurelien Domont" userId="6da7715ce44349b3" providerId="LiveId" clId="{B00D2795-A783-4827-B7F0-3CA19960AFE1}" dt="2022-09-27T00:16:31.471" v="317"/>
          <pc:sldLayoutMkLst>
            <pc:docMk/>
            <pc:sldMasterMk cId="594377335" sldId="2147483674"/>
            <pc:sldLayoutMk cId="592004359" sldId="2147483678"/>
          </pc:sldLayoutMkLst>
          <pc:spChg chg="add">
            <ac:chgData name="Aurelien Domont" userId="6da7715ce44349b3" providerId="LiveId" clId="{B00D2795-A783-4827-B7F0-3CA19960AFE1}" dt="2022-09-27T00:16:31.471" v="317"/>
            <ac:spMkLst>
              <pc:docMk/>
              <pc:sldMasterMk cId="594377335" sldId="2147483674"/>
              <pc:sldLayoutMk cId="592004359" sldId="2147483678"/>
              <ac:spMk id="5" creationId="{D9616C3E-145B-E678-FDBC-6F3BADF0509F}"/>
            </ac:spMkLst>
          </pc:spChg>
          <pc:cxnChg chg="add">
            <ac:chgData name="Aurelien Domont" userId="6da7715ce44349b3" providerId="LiveId" clId="{B00D2795-A783-4827-B7F0-3CA19960AFE1}" dt="2022-09-27T00:16:31.471" v="317"/>
            <ac:cxnSpMkLst>
              <pc:docMk/>
              <pc:sldMasterMk cId="594377335" sldId="2147483674"/>
              <pc:sldLayoutMk cId="592004359" sldId="2147483678"/>
              <ac:cxnSpMk id="6" creationId="{89E3A388-5506-C0A6-CFBB-BBE065CE7DD9}"/>
            </ac:cxnSpMkLst>
          </pc:cxnChg>
        </pc:sldLayoutChg>
        <pc:sldLayoutChg chg="addSp">
          <pc:chgData name="Aurelien Domont" userId="6da7715ce44349b3" providerId="LiveId" clId="{B00D2795-A783-4827-B7F0-3CA19960AFE1}" dt="2022-09-27T00:16:31.471" v="317"/>
          <pc:sldLayoutMkLst>
            <pc:docMk/>
            <pc:sldMasterMk cId="594377335" sldId="2147483674"/>
            <pc:sldLayoutMk cId="700914590" sldId="2147483679"/>
          </pc:sldLayoutMkLst>
          <pc:spChg chg="add">
            <ac:chgData name="Aurelien Domont" userId="6da7715ce44349b3" providerId="LiveId" clId="{B00D2795-A783-4827-B7F0-3CA19960AFE1}" dt="2022-09-27T00:16:31.471" v="317"/>
            <ac:spMkLst>
              <pc:docMk/>
              <pc:sldMasterMk cId="594377335" sldId="2147483674"/>
              <pc:sldLayoutMk cId="700914590" sldId="2147483679"/>
              <ac:spMk id="5" creationId="{6C9C10F0-1E6C-6AB7-9C2F-D139E3BF0935}"/>
            </ac:spMkLst>
          </pc:spChg>
          <pc:spChg chg="add">
            <ac:chgData name="Aurelien Domont" userId="6da7715ce44349b3" providerId="LiveId" clId="{B00D2795-A783-4827-B7F0-3CA19960AFE1}" dt="2022-09-27T00:16:31.471" v="317"/>
            <ac:spMkLst>
              <pc:docMk/>
              <pc:sldMasterMk cId="594377335" sldId="2147483674"/>
              <pc:sldLayoutMk cId="700914590" sldId="2147483679"/>
              <ac:spMk id="10" creationId="{290FD4E0-F1A6-6B1A-1408-0A939F7ABEC8}"/>
            </ac:spMkLst>
          </pc:spChg>
          <pc:cxnChg chg="add">
            <ac:chgData name="Aurelien Domont" userId="6da7715ce44349b3" providerId="LiveId" clId="{B00D2795-A783-4827-B7F0-3CA19960AFE1}" dt="2022-09-27T00:16:31.471" v="317"/>
            <ac:cxnSpMkLst>
              <pc:docMk/>
              <pc:sldMasterMk cId="594377335" sldId="2147483674"/>
              <pc:sldLayoutMk cId="700914590" sldId="2147483679"/>
              <ac:cxnSpMk id="6" creationId="{772F719E-2CA8-5DA4-BE10-BD6DD177DB0F}"/>
            </ac:cxnSpMkLst>
          </pc:cxnChg>
        </pc:sldLayoutChg>
        <pc:sldLayoutChg chg="addSp">
          <pc:chgData name="Aurelien Domont" userId="6da7715ce44349b3" providerId="LiveId" clId="{B00D2795-A783-4827-B7F0-3CA19960AFE1}" dt="2022-09-27T00:16:31.471" v="317"/>
          <pc:sldLayoutMkLst>
            <pc:docMk/>
            <pc:sldMasterMk cId="594377335" sldId="2147483674"/>
            <pc:sldLayoutMk cId="595708896" sldId="2147483680"/>
          </pc:sldLayoutMkLst>
          <pc:spChg chg="add">
            <ac:chgData name="Aurelien Domont" userId="6da7715ce44349b3" providerId="LiveId" clId="{B00D2795-A783-4827-B7F0-3CA19960AFE1}" dt="2022-09-27T00:16:31.471" v="317"/>
            <ac:spMkLst>
              <pc:docMk/>
              <pc:sldMasterMk cId="594377335" sldId="2147483674"/>
              <pc:sldLayoutMk cId="595708896" sldId="2147483680"/>
              <ac:spMk id="4" creationId="{E3246D3F-8148-1251-1F00-FA0B5C680796}"/>
            </ac:spMkLst>
          </pc:spChg>
        </pc:sldLayoutChg>
        <pc:sldLayoutChg chg="addSp">
          <pc:chgData name="Aurelien Domont" userId="6da7715ce44349b3" providerId="LiveId" clId="{B00D2795-A783-4827-B7F0-3CA19960AFE1}" dt="2022-09-27T00:16:31.471" v="317"/>
          <pc:sldLayoutMkLst>
            <pc:docMk/>
            <pc:sldMasterMk cId="594377335" sldId="2147483674"/>
            <pc:sldLayoutMk cId="969197987" sldId="2147483681"/>
          </pc:sldLayoutMkLst>
          <pc:spChg chg="add">
            <ac:chgData name="Aurelien Domont" userId="6da7715ce44349b3" providerId="LiveId" clId="{B00D2795-A783-4827-B7F0-3CA19960AFE1}" dt="2022-09-27T00:16:31.471" v="317"/>
            <ac:spMkLst>
              <pc:docMk/>
              <pc:sldMasterMk cId="594377335" sldId="2147483674"/>
              <pc:sldLayoutMk cId="969197987" sldId="2147483681"/>
              <ac:spMk id="4" creationId="{C2D0F373-8A14-C4B1-533E-B96A045AB484}"/>
            </ac:spMkLst>
          </pc:spChg>
        </pc:sldLayoutChg>
      </pc:sldMasterChg>
    </pc:docChg>
  </pc:docChgLst>
  <pc:docChgLst>
    <pc:chgData name="Aurelien Domont" userId="6da7715ce44349b3" providerId="LiveId" clId="{837ED3B5-2B93-4163-8B85-A9A154D805BA}"/>
    <pc:docChg chg="undo custSel addSld delSld modSld sldOrd">
      <pc:chgData name="Aurelien Domont" userId="6da7715ce44349b3" providerId="LiveId" clId="{837ED3B5-2B93-4163-8B85-A9A154D805BA}" dt="2023-01-12T23:15:30.961" v="1431" actId="20577"/>
      <pc:docMkLst>
        <pc:docMk/>
      </pc:docMkLst>
      <pc:sldChg chg="addSp delSp modSp mod">
        <pc:chgData name="Aurelien Domont" userId="6da7715ce44349b3" providerId="LiveId" clId="{837ED3B5-2B93-4163-8B85-A9A154D805BA}" dt="2023-01-12T23:15:30.961" v="1431" actId="20577"/>
        <pc:sldMkLst>
          <pc:docMk/>
          <pc:sldMk cId="3131901387" sldId="256"/>
        </pc:sldMkLst>
        <pc:spChg chg="mod">
          <ac:chgData name="Aurelien Domont" userId="6da7715ce44349b3" providerId="LiveId" clId="{837ED3B5-2B93-4163-8B85-A9A154D805BA}" dt="2023-01-12T23:15:30.961" v="1431" actId="20577"/>
          <ac:spMkLst>
            <pc:docMk/>
            <pc:sldMk cId="3131901387" sldId="256"/>
            <ac:spMk id="2" creationId="{5261080C-C60C-4746-B6B1-A9A4FFA86785}"/>
          </ac:spMkLst>
        </pc:spChg>
        <pc:picChg chg="del">
          <ac:chgData name="Aurelien Domont" userId="6da7715ce44349b3" providerId="LiveId" clId="{837ED3B5-2B93-4163-8B85-A9A154D805BA}" dt="2023-01-12T04:00:48.185" v="1297" actId="478"/>
          <ac:picMkLst>
            <pc:docMk/>
            <pc:sldMk cId="3131901387" sldId="256"/>
            <ac:picMk id="7" creationId="{56F6D9FE-2BD8-43FA-8517-544E7B92AA1A}"/>
          </ac:picMkLst>
        </pc:picChg>
        <pc:picChg chg="add mod">
          <ac:chgData name="Aurelien Domont" userId="6da7715ce44349b3" providerId="LiveId" clId="{837ED3B5-2B93-4163-8B85-A9A154D805BA}" dt="2023-01-12T04:00:51.649" v="1299" actId="1076"/>
          <ac:picMkLst>
            <pc:docMk/>
            <pc:sldMk cId="3131901387" sldId="256"/>
            <ac:picMk id="13" creationId="{24376D32-A0C6-0DBB-3D77-413C6E7496A7}"/>
          </ac:picMkLst>
        </pc:picChg>
      </pc:sldChg>
      <pc:sldChg chg="modSp add mod ord">
        <pc:chgData name="Aurelien Domont" userId="6da7715ce44349b3" providerId="LiveId" clId="{837ED3B5-2B93-4163-8B85-A9A154D805BA}" dt="2021-08-05T01:53:57.710" v="1294"/>
        <pc:sldMkLst>
          <pc:docMk/>
          <pc:sldMk cId="2114802062" sldId="1649"/>
        </pc:sldMkLst>
        <pc:spChg chg="mod">
          <ac:chgData name="Aurelien Domont" userId="6da7715ce44349b3" providerId="LiveId" clId="{837ED3B5-2B93-4163-8B85-A9A154D805BA}" dt="2021-08-05T00:48:59.980" v="811" actId="20577"/>
          <ac:spMkLst>
            <pc:docMk/>
            <pc:sldMk cId="2114802062" sldId="1649"/>
            <ac:spMk id="16" creationId="{6C2BB713-9637-4B9B-938F-E9768876782A}"/>
          </ac:spMkLst>
        </pc:spChg>
      </pc:sldChg>
      <pc:sldChg chg="modSp add mod">
        <pc:chgData name="Aurelien Domont" userId="6da7715ce44349b3" providerId="LiveId" clId="{837ED3B5-2B93-4163-8B85-A9A154D805BA}" dt="2021-08-05T01:03:38.206" v="1074" actId="108"/>
        <pc:sldMkLst>
          <pc:docMk/>
          <pc:sldMk cId="2064558966" sldId="1650"/>
        </pc:sldMkLst>
        <pc:spChg chg="mod">
          <ac:chgData name="Aurelien Domont" userId="6da7715ce44349b3" providerId="LiveId" clId="{837ED3B5-2B93-4163-8B85-A9A154D805BA}" dt="2021-08-05T01:03:38.206" v="1074" actId="108"/>
          <ac:spMkLst>
            <pc:docMk/>
            <pc:sldMk cId="2064558966" sldId="1650"/>
            <ac:spMk id="16" creationId="{6C2BB713-9637-4B9B-938F-E9768876782A}"/>
          </ac:spMkLst>
        </pc:spChg>
        <pc:spChg chg="mod">
          <ac:chgData name="Aurelien Domont" userId="6da7715ce44349b3" providerId="LiveId" clId="{837ED3B5-2B93-4163-8B85-A9A154D805BA}" dt="2021-08-04T03:17:41.251" v="221" actId="20577"/>
          <ac:spMkLst>
            <pc:docMk/>
            <pc:sldMk cId="2064558966" sldId="1650"/>
            <ac:spMk id="17" creationId="{AE66D2F2-3BCF-415B-BA73-C0DC7F15EB5B}"/>
          </ac:spMkLst>
        </pc:spChg>
      </pc:sldChg>
      <pc:sldChg chg="modSp add del mod">
        <pc:chgData name="Aurelien Domont" userId="6da7715ce44349b3" providerId="LiveId" clId="{837ED3B5-2B93-4163-8B85-A9A154D805BA}" dt="2021-08-05T01:02:10.860" v="1050" actId="2696"/>
        <pc:sldMkLst>
          <pc:docMk/>
          <pc:sldMk cId="640656730" sldId="1651"/>
        </pc:sldMkLst>
        <pc:spChg chg="mod">
          <ac:chgData name="Aurelien Domont" userId="6da7715ce44349b3" providerId="LiveId" clId="{837ED3B5-2B93-4163-8B85-A9A154D805BA}" dt="2021-08-04T03:31:00.223" v="593" actId="108"/>
          <ac:spMkLst>
            <pc:docMk/>
            <pc:sldMk cId="640656730" sldId="1651"/>
            <ac:spMk id="16" creationId="{6C2BB713-9637-4B9B-938F-E9768876782A}"/>
          </ac:spMkLst>
        </pc:spChg>
      </pc:sldChg>
      <pc:sldChg chg="add ord">
        <pc:chgData name="Aurelien Domont" userId="6da7715ce44349b3" providerId="LiveId" clId="{837ED3B5-2B93-4163-8B85-A9A154D805BA}" dt="2021-08-05T01:38:39.206" v="1286"/>
        <pc:sldMkLst>
          <pc:docMk/>
          <pc:sldMk cId="4173839463" sldId="1651"/>
        </pc:sldMkLst>
      </pc:sldChg>
      <pc:sldChg chg="modSp add mod">
        <pc:chgData name="Aurelien Domont" userId="6da7715ce44349b3" providerId="LiveId" clId="{837ED3B5-2B93-4163-8B85-A9A154D805BA}" dt="2021-08-04T03:32:42.136" v="632" actId="108"/>
        <pc:sldMkLst>
          <pc:docMk/>
          <pc:sldMk cId="1077011628" sldId="1652"/>
        </pc:sldMkLst>
        <pc:spChg chg="mod">
          <ac:chgData name="Aurelien Domont" userId="6da7715ce44349b3" providerId="LiveId" clId="{837ED3B5-2B93-4163-8B85-A9A154D805BA}" dt="2021-08-04T03:32:42.136" v="632" actId="108"/>
          <ac:spMkLst>
            <pc:docMk/>
            <pc:sldMk cId="1077011628" sldId="1652"/>
            <ac:spMk id="16" creationId="{6C2BB713-9637-4B9B-938F-E9768876782A}"/>
          </ac:spMkLst>
        </pc:spChg>
      </pc:sldChg>
      <pc:sldChg chg="modSp add mod">
        <pc:chgData name="Aurelien Domont" userId="6da7715ce44349b3" providerId="LiveId" clId="{837ED3B5-2B93-4163-8B85-A9A154D805BA}" dt="2021-08-04T03:34:32.922" v="655" actId="108"/>
        <pc:sldMkLst>
          <pc:docMk/>
          <pc:sldMk cId="3717044928" sldId="1653"/>
        </pc:sldMkLst>
        <pc:spChg chg="mod">
          <ac:chgData name="Aurelien Domont" userId="6da7715ce44349b3" providerId="LiveId" clId="{837ED3B5-2B93-4163-8B85-A9A154D805BA}" dt="2021-08-04T03:34:32.922" v="655" actId="108"/>
          <ac:spMkLst>
            <pc:docMk/>
            <pc:sldMk cId="3717044928" sldId="1653"/>
            <ac:spMk id="16" creationId="{6C2BB713-9637-4B9B-938F-E9768876782A}"/>
          </ac:spMkLst>
        </pc:spChg>
      </pc:sldChg>
      <pc:sldChg chg="modSp add mod">
        <pc:chgData name="Aurelien Domont" userId="6da7715ce44349b3" providerId="LiveId" clId="{837ED3B5-2B93-4163-8B85-A9A154D805BA}" dt="2021-08-04T03:36:23.847" v="692" actId="108"/>
        <pc:sldMkLst>
          <pc:docMk/>
          <pc:sldMk cId="1655331304" sldId="1654"/>
        </pc:sldMkLst>
        <pc:spChg chg="mod">
          <ac:chgData name="Aurelien Domont" userId="6da7715ce44349b3" providerId="LiveId" clId="{837ED3B5-2B93-4163-8B85-A9A154D805BA}" dt="2021-08-04T03:36:23.847" v="692" actId="108"/>
          <ac:spMkLst>
            <pc:docMk/>
            <pc:sldMk cId="1655331304" sldId="1654"/>
            <ac:spMk id="16" creationId="{6C2BB713-9637-4B9B-938F-E9768876782A}"/>
          </ac:spMkLst>
        </pc:spChg>
      </pc:sldChg>
      <pc:sldChg chg="add del">
        <pc:chgData name="Aurelien Domont" userId="6da7715ce44349b3" providerId="LiveId" clId="{837ED3B5-2B93-4163-8B85-A9A154D805BA}" dt="2021-08-05T01:52:37.058" v="1292" actId="2696"/>
        <pc:sldMkLst>
          <pc:docMk/>
          <pc:sldMk cId="2423888051" sldId="1664"/>
        </pc:sldMkLst>
      </pc:sldChg>
      <pc:sldChg chg="del">
        <pc:chgData name="Aurelien Domont" userId="6da7715ce44349b3" providerId="LiveId" clId="{837ED3B5-2B93-4163-8B85-A9A154D805BA}" dt="2021-08-04T02:02:21.041" v="102" actId="47"/>
        <pc:sldMkLst>
          <pc:docMk/>
          <pc:sldMk cId="1730165850" sldId="1735"/>
        </pc:sldMkLst>
      </pc:sldChg>
      <pc:sldChg chg="del">
        <pc:chgData name="Aurelien Domont" userId="6da7715ce44349b3" providerId="LiveId" clId="{837ED3B5-2B93-4163-8B85-A9A154D805BA}" dt="2021-08-04T02:02:21.041" v="102" actId="47"/>
        <pc:sldMkLst>
          <pc:docMk/>
          <pc:sldMk cId="2432023707" sldId="1736"/>
        </pc:sldMkLst>
      </pc:sldChg>
      <pc:sldChg chg="del">
        <pc:chgData name="Aurelien Domont" userId="6da7715ce44349b3" providerId="LiveId" clId="{837ED3B5-2B93-4163-8B85-A9A154D805BA}" dt="2021-08-04T02:02:21.041" v="102" actId="47"/>
        <pc:sldMkLst>
          <pc:docMk/>
          <pc:sldMk cId="1675062303" sldId="1929"/>
        </pc:sldMkLst>
      </pc:sldChg>
      <pc:sldChg chg="del">
        <pc:chgData name="Aurelien Domont" userId="6da7715ce44349b3" providerId="LiveId" clId="{837ED3B5-2B93-4163-8B85-A9A154D805BA}" dt="2021-08-04T02:02:21.041" v="102" actId="47"/>
        <pc:sldMkLst>
          <pc:docMk/>
          <pc:sldMk cId="471658671" sldId="1930"/>
        </pc:sldMkLst>
      </pc:sldChg>
      <pc:sldChg chg="del">
        <pc:chgData name="Aurelien Domont" userId="6da7715ce44349b3" providerId="LiveId" clId="{837ED3B5-2B93-4163-8B85-A9A154D805BA}" dt="2021-08-04T02:02:21.041" v="102" actId="47"/>
        <pc:sldMkLst>
          <pc:docMk/>
          <pc:sldMk cId="1817574191" sldId="1972"/>
        </pc:sldMkLst>
      </pc:sldChg>
      <pc:sldChg chg="del">
        <pc:chgData name="Aurelien Domont" userId="6da7715ce44349b3" providerId="LiveId" clId="{837ED3B5-2B93-4163-8B85-A9A154D805BA}" dt="2021-08-04T02:02:21.041" v="102" actId="47"/>
        <pc:sldMkLst>
          <pc:docMk/>
          <pc:sldMk cId="535454910" sldId="1974"/>
        </pc:sldMkLst>
      </pc:sldChg>
      <pc:sldChg chg="del">
        <pc:chgData name="Aurelien Domont" userId="6da7715ce44349b3" providerId="LiveId" clId="{837ED3B5-2B93-4163-8B85-A9A154D805BA}" dt="2021-08-04T02:02:21.041" v="102" actId="47"/>
        <pc:sldMkLst>
          <pc:docMk/>
          <pc:sldMk cId="284582528" sldId="1975"/>
        </pc:sldMkLst>
      </pc:sldChg>
      <pc:sldChg chg="del">
        <pc:chgData name="Aurelien Domont" userId="6da7715ce44349b3" providerId="LiveId" clId="{837ED3B5-2B93-4163-8B85-A9A154D805BA}" dt="2021-08-04T02:02:21.041" v="102" actId="47"/>
        <pc:sldMkLst>
          <pc:docMk/>
          <pc:sldMk cId="2708523607" sldId="1976"/>
        </pc:sldMkLst>
      </pc:sldChg>
      <pc:sldChg chg="del">
        <pc:chgData name="Aurelien Domont" userId="6da7715ce44349b3" providerId="LiveId" clId="{837ED3B5-2B93-4163-8B85-A9A154D805BA}" dt="2021-08-04T02:02:21.041" v="102" actId="47"/>
        <pc:sldMkLst>
          <pc:docMk/>
          <pc:sldMk cId="350950659" sldId="1977"/>
        </pc:sldMkLst>
      </pc:sldChg>
      <pc:sldChg chg="del">
        <pc:chgData name="Aurelien Domont" userId="6da7715ce44349b3" providerId="LiveId" clId="{837ED3B5-2B93-4163-8B85-A9A154D805BA}" dt="2021-08-04T02:02:21.041" v="102" actId="47"/>
        <pc:sldMkLst>
          <pc:docMk/>
          <pc:sldMk cId="2541933330" sldId="1978"/>
        </pc:sldMkLst>
      </pc:sldChg>
      <pc:sldChg chg="modSp add mod ord">
        <pc:chgData name="Aurelien Domont" userId="6da7715ce44349b3" providerId="LiveId" clId="{837ED3B5-2B93-4163-8B85-A9A154D805BA}" dt="2021-08-05T00:54:48.879" v="946"/>
        <pc:sldMkLst>
          <pc:docMk/>
          <pc:sldMk cId="2068665984" sldId="1988"/>
        </pc:sldMkLst>
        <pc:spChg chg="mod">
          <ac:chgData name="Aurelien Domont" userId="6da7715ce44349b3" providerId="LiveId" clId="{837ED3B5-2B93-4163-8B85-A9A154D805BA}" dt="2021-08-04T03:27:27.751" v="510" actId="404"/>
          <ac:spMkLst>
            <pc:docMk/>
            <pc:sldMk cId="2068665984" sldId="1988"/>
            <ac:spMk id="16" creationId="{6C2BB713-9637-4B9B-938F-E9768876782A}"/>
          </ac:spMkLst>
        </pc:spChg>
      </pc:sldChg>
      <pc:sldChg chg="addSp modSp add mod">
        <pc:chgData name="Aurelien Domont" userId="6da7715ce44349b3" providerId="LiveId" clId="{837ED3B5-2B93-4163-8B85-A9A154D805BA}" dt="2021-08-05T01:03:45.763" v="1075" actId="108"/>
        <pc:sldMkLst>
          <pc:docMk/>
          <pc:sldMk cId="4140853747" sldId="1997"/>
        </pc:sldMkLst>
        <pc:spChg chg="mod">
          <ac:chgData name="Aurelien Domont" userId="6da7715ce44349b3" providerId="LiveId" clId="{837ED3B5-2B93-4163-8B85-A9A154D805BA}" dt="2021-08-04T03:23:15.474" v="412" actId="1035"/>
          <ac:spMkLst>
            <pc:docMk/>
            <pc:sldMk cId="4140853747" sldId="1997"/>
            <ac:spMk id="10" creationId="{E3627125-C7C8-4F8A-9503-0BFBE3D280F6}"/>
          </ac:spMkLst>
        </pc:spChg>
        <pc:spChg chg="mod">
          <ac:chgData name="Aurelien Domont" userId="6da7715ce44349b3" providerId="LiveId" clId="{837ED3B5-2B93-4163-8B85-A9A154D805BA}" dt="2021-08-04T03:23:31.805" v="427" actId="1036"/>
          <ac:spMkLst>
            <pc:docMk/>
            <pc:sldMk cId="4140853747" sldId="1997"/>
            <ac:spMk id="11" creationId="{D350FE79-9604-477C-B647-D16DDB1C3511}"/>
          </ac:spMkLst>
        </pc:spChg>
        <pc:spChg chg="mod">
          <ac:chgData name="Aurelien Domont" userId="6da7715ce44349b3" providerId="LiveId" clId="{837ED3B5-2B93-4163-8B85-A9A154D805BA}" dt="2021-08-04T03:22:57.334" v="404" actId="1035"/>
          <ac:spMkLst>
            <pc:docMk/>
            <pc:sldMk cId="4140853747" sldId="1997"/>
            <ac:spMk id="12" creationId="{6D80538A-44F1-4562-A412-6A75B7FD4C5E}"/>
          </ac:spMkLst>
        </pc:spChg>
        <pc:spChg chg="mod">
          <ac:chgData name="Aurelien Domont" userId="6da7715ce44349b3" providerId="LiveId" clId="{837ED3B5-2B93-4163-8B85-A9A154D805BA}" dt="2021-08-04T03:22:57.334" v="404" actId="1035"/>
          <ac:spMkLst>
            <pc:docMk/>
            <pc:sldMk cId="4140853747" sldId="1997"/>
            <ac:spMk id="14" creationId="{65E4B976-4769-4BFC-B647-7F3FFDF7B9D6}"/>
          </ac:spMkLst>
        </pc:spChg>
        <pc:spChg chg="mod">
          <ac:chgData name="Aurelien Domont" userId="6da7715ce44349b3" providerId="LiveId" clId="{837ED3B5-2B93-4163-8B85-A9A154D805BA}" dt="2021-08-04T03:22:57.334" v="404" actId="1035"/>
          <ac:spMkLst>
            <pc:docMk/>
            <pc:sldMk cId="4140853747" sldId="1997"/>
            <ac:spMk id="15" creationId="{AEE01A76-7C0C-411B-A9E6-CB96088E0F8C}"/>
          </ac:spMkLst>
        </pc:spChg>
        <pc:spChg chg="mod">
          <ac:chgData name="Aurelien Domont" userId="6da7715ce44349b3" providerId="LiveId" clId="{837ED3B5-2B93-4163-8B85-A9A154D805BA}" dt="2021-08-05T01:03:45.763" v="1075" actId="108"/>
          <ac:spMkLst>
            <pc:docMk/>
            <pc:sldMk cId="4140853747" sldId="1997"/>
            <ac:spMk id="16" creationId="{6C2BB713-9637-4B9B-938F-E9768876782A}"/>
          </ac:spMkLst>
        </pc:spChg>
        <pc:spChg chg="mod">
          <ac:chgData name="Aurelien Domont" userId="6da7715ce44349b3" providerId="LiveId" clId="{837ED3B5-2B93-4163-8B85-A9A154D805BA}" dt="2021-08-04T03:22:57.334" v="404" actId="1035"/>
          <ac:spMkLst>
            <pc:docMk/>
            <pc:sldMk cId="4140853747" sldId="1997"/>
            <ac:spMk id="17" creationId="{091DE252-12AF-44B6-BEF3-F6512B125375}"/>
          </ac:spMkLst>
        </pc:spChg>
        <pc:spChg chg="mod">
          <ac:chgData name="Aurelien Domont" userId="6da7715ce44349b3" providerId="LiveId" clId="{837ED3B5-2B93-4163-8B85-A9A154D805BA}" dt="2021-08-04T03:22:57.334" v="404" actId="1035"/>
          <ac:spMkLst>
            <pc:docMk/>
            <pc:sldMk cId="4140853747" sldId="1997"/>
            <ac:spMk id="18" creationId="{0CCCFE3A-B7D0-4BFB-BD6E-F9FDFE7815AE}"/>
          </ac:spMkLst>
        </pc:spChg>
        <pc:spChg chg="mod">
          <ac:chgData name="Aurelien Domont" userId="6da7715ce44349b3" providerId="LiveId" clId="{837ED3B5-2B93-4163-8B85-A9A154D805BA}" dt="2021-08-04T03:22:57.334" v="404" actId="1035"/>
          <ac:spMkLst>
            <pc:docMk/>
            <pc:sldMk cId="4140853747" sldId="1997"/>
            <ac:spMk id="19" creationId="{0799F6FB-6F3E-4F0C-A9F0-AB9D0A4A336E}"/>
          </ac:spMkLst>
        </pc:spChg>
        <pc:spChg chg="mod">
          <ac:chgData name="Aurelien Domont" userId="6da7715ce44349b3" providerId="LiveId" clId="{837ED3B5-2B93-4163-8B85-A9A154D805BA}" dt="2021-08-04T03:22:57.334" v="404" actId="1035"/>
          <ac:spMkLst>
            <pc:docMk/>
            <pc:sldMk cId="4140853747" sldId="1997"/>
            <ac:spMk id="20" creationId="{44839E3E-B430-4761-B271-70915379A0FD}"/>
          </ac:spMkLst>
        </pc:spChg>
        <pc:spChg chg="mod">
          <ac:chgData name="Aurelien Domont" userId="6da7715ce44349b3" providerId="LiveId" clId="{837ED3B5-2B93-4163-8B85-A9A154D805BA}" dt="2021-08-04T03:22:57.334" v="404" actId="1035"/>
          <ac:spMkLst>
            <pc:docMk/>
            <pc:sldMk cId="4140853747" sldId="1997"/>
            <ac:spMk id="23" creationId="{180A41AB-1E9C-4CF7-BEAE-8C52BA868A33}"/>
          </ac:spMkLst>
        </pc:spChg>
        <pc:spChg chg="mod">
          <ac:chgData name="Aurelien Domont" userId="6da7715ce44349b3" providerId="LiveId" clId="{837ED3B5-2B93-4163-8B85-A9A154D805BA}" dt="2021-08-04T03:22:57.334" v="404" actId="1035"/>
          <ac:spMkLst>
            <pc:docMk/>
            <pc:sldMk cId="4140853747" sldId="1997"/>
            <ac:spMk id="26" creationId="{A690DEFA-493C-4198-9837-6F2086523405}"/>
          </ac:spMkLst>
        </pc:spChg>
        <pc:spChg chg="mod">
          <ac:chgData name="Aurelien Domont" userId="6da7715ce44349b3" providerId="LiveId" clId="{837ED3B5-2B93-4163-8B85-A9A154D805BA}" dt="2021-08-04T03:22:57.334" v="404" actId="1035"/>
          <ac:spMkLst>
            <pc:docMk/>
            <pc:sldMk cId="4140853747" sldId="1997"/>
            <ac:spMk id="27" creationId="{79C5C43C-F9C0-44D2-B339-DF9FA57BC08F}"/>
          </ac:spMkLst>
        </pc:spChg>
        <pc:spChg chg="mod">
          <ac:chgData name="Aurelien Domont" userId="6da7715ce44349b3" providerId="LiveId" clId="{837ED3B5-2B93-4163-8B85-A9A154D805BA}" dt="2021-08-04T03:22:57.334" v="404" actId="1035"/>
          <ac:spMkLst>
            <pc:docMk/>
            <pc:sldMk cId="4140853747" sldId="1997"/>
            <ac:spMk id="28" creationId="{642703DD-23DF-4830-8A49-93EEFEEC3D48}"/>
          </ac:spMkLst>
        </pc:spChg>
        <pc:spChg chg="mod">
          <ac:chgData name="Aurelien Domont" userId="6da7715ce44349b3" providerId="LiveId" clId="{837ED3B5-2B93-4163-8B85-A9A154D805BA}" dt="2021-08-04T03:22:57.334" v="404" actId="1035"/>
          <ac:spMkLst>
            <pc:docMk/>
            <pc:sldMk cId="4140853747" sldId="1997"/>
            <ac:spMk id="29" creationId="{CB538237-64BD-4BD7-8816-5664599B08CE}"/>
          </ac:spMkLst>
        </pc:spChg>
        <pc:spChg chg="mod">
          <ac:chgData name="Aurelien Domont" userId="6da7715ce44349b3" providerId="LiveId" clId="{837ED3B5-2B93-4163-8B85-A9A154D805BA}" dt="2021-08-04T03:22:57.334" v="404" actId="1035"/>
          <ac:spMkLst>
            <pc:docMk/>
            <pc:sldMk cId="4140853747" sldId="1997"/>
            <ac:spMk id="30" creationId="{B7F2E048-7E66-48B2-BF14-88F7085E174F}"/>
          </ac:spMkLst>
        </pc:spChg>
        <pc:spChg chg="mod">
          <ac:chgData name="Aurelien Domont" userId="6da7715ce44349b3" providerId="LiveId" clId="{837ED3B5-2B93-4163-8B85-A9A154D805BA}" dt="2021-08-04T03:22:57.334" v="404" actId="1035"/>
          <ac:spMkLst>
            <pc:docMk/>
            <pc:sldMk cId="4140853747" sldId="1997"/>
            <ac:spMk id="32" creationId="{BC8A3801-6BB6-42B0-987F-B579DA7508C8}"/>
          </ac:spMkLst>
        </pc:spChg>
        <pc:spChg chg="mod">
          <ac:chgData name="Aurelien Domont" userId="6da7715ce44349b3" providerId="LiveId" clId="{837ED3B5-2B93-4163-8B85-A9A154D805BA}" dt="2021-08-04T03:22:57.334" v="404" actId="1035"/>
          <ac:spMkLst>
            <pc:docMk/>
            <pc:sldMk cId="4140853747" sldId="1997"/>
            <ac:spMk id="33" creationId="{5B0ABA13-F958-48BD-A40F-0E5286883C9C}"/>
          </ac:spMkLst>
        </pc:spChg>
        <pc:spChg chg="mod">
          <ac:chgData name="Aurelien Domont" userId="6da7715ce44349b3" providerId="LiveId" clId="{837ED3B5-2B93-4163-8B85-A9A154D805BA}" dt="2021-08-04T03:22:57.334" v="404" actId="1035"/>
          <ac:spMkLst>
            <pc:docMk/>
            <pc:sldMk cId="4140853747" sldId="1997"/>
            <ac:spMk id="34" creationId="{3F6A88FB-6A1B-4D0C-8E98-E8C5F7ECB7F9}"/>
          </ac:spMkLst>
        </pc:spChg>
        <pc:spChg chg="mod">
          <ac:chgData name="Aurelien Domont" userId="6da7715ce44349b3" providerId="LiveId" clId="{837ED3B5-2B93-4163-8B85-A9A154D805BA}" dt="2021-08-04T03:22:57.334" v="404" actId="1035"/>
          <ac:spMkLst>
            <pc:docMk/>
            <pc:sldMk cId="4140853747" sldId="1997"/>
            <ac:spMk id="36" creationId="{AF69EC5C-2EDE-47F3-83E3-E7CE02608E8D}"/>
          </ac:spMkLst>
        </pc:spChg>
        <pc:spChg chg="mod">
          <ac:chgData name="Aurelien Domont" userId="6da7715ce44349b3" providerId="LiveId" clId="{837ED3B5-2B93-4163-8B85-A9A154D805BA}" dt="2021-08-04T03:22:57.334" v="404" actId="1035"/>
          <ac:spMkLst>
            <pc:docMk/>
            <pc:sldMk cId="4140853747" sldId="1997"/>
            <ac:spMk id="37" creationId="{B2039F78-C2A8-4716-863A-F4EC0C231DB0}"/>
          </ac:spMkLst>
        </pc:spChg>
        <pc:spChg chg="mod">
          <ac:chgData name="Aurelien Domont" userId="6da7715ce44349b3" providerId="LiveId" clId="{837ED3B5-2B93-4163-8B85-A9A154D805BA}" dt="2021-08-04T03:22:57.334" v="404" actId="1035"/>
          <ac:spMkLst>
            <pc:docMk/>
            <pc:sldMk cId="4140853747" sldId="1997"/>
            <ac:spMk id="38" creationId="{14FB6F73-91B4-4CA1-9F3B-49E4CDAB48C3}"/>
          </ac:spMkLst>
        </pc:spChg>
        <pc:spChg chg="mod">
          <ac:chgData name="Aurelien Domont" userId="6da7715ce44349b3" providerId="LiveId" clId="{837ED3B5-2B93-4163-8B85-A9A154D805BA}" dt="2021-08-04T03:22:57.334" v="404" actId="1035"/>
          <ac:spMkLst>
            <pc:docMk/>
            <pc:sldMk cId="4140853747" sldId="1997"/>
            <ac:spMk id="40" creationId="{65592FF1-3C0C-4381-B83A-90FDB176EBD1}"/>
          </ac:spMkLst>
        </pc:spChg>
        <pc:spChg chg="mod">
          <ac:chgData name="Aurelien Domont" userId="6da7715ce44349b3" providerId="LiveId" clId="{837ED3B5-2B93-4163-8B85-A9A154D805BA}" dt="2021-08-04T03:22:57.334" v="404" actId="1035"/>
          <ac:spMkLst>
            <pc:docMk/>
            <pc:sldMk cId="4140853747" sldId="1997"/>
            <ac:spMk id="41" creationId="{B74E36B9-6C1D-4EFC-8DE2-53EB1463D3D6}"/>
          </ac:spMkLst>
        </pc:spChg>
        <pc:spChg chg="mod">
          <ac:chgData name="Aurelien Domont" userId="6da7715ce44349b3" providerId="LiveId" clId="{837ED3B5-2B93-4163-8B85-A9A154D805BA}" dt="2021-08-04T03:22:57.334" v="404" actId="1035"/>
          <ac:spMkLst>
            <pc:docMk/>
            <pc:sldMk cId="4140853747" sldId="1997"/>
            <ac:spMk id="42" creationId="{EF6815D8-D7EC-4BDC-AC50-AE848B80D593}"/>
          </ac:spMkLst>
        </pc:spChg>
        <pc:spChg chg="mod">
          <ac:chgData name="Aurelien Domont" userId="6da7715ce44349b3" providerId="LiveId" clId="{837ED3B5-2B93-4163-8B85-A9A154D805BA}" dt="2021-08-04T03:22:57.334" v="404" actId="1035"/>
          <ac:spMkLst>
            <pc:docMk/>
            <pc:sldMk cId="4140853747" sldId="1997"/>
            <ac:spMk id="50" creationId="{B78918B0-A2A8-4C81-9BBB-76E443791CB6}"/>
          </ac:spMkLst>
        </pc:spChg>
        <pc:spChg chg="mod">
          <ac:chgData name="Aurelien Domont" userId="6da7715ce44349b3" providerId="LiveId" clId="{837ED3B5-2B93-4163-8B85-A9A154D805BA}" dt="2021-08-04T03:22:57.334" v="404" actId="1035"/>
          <ac:spMkLst>
            <pc:docMk/>
            <pc:sldMk cId="4140853747" sldId="1997"/>
            <ac:spMk id="51" creationId="{86C057BA-CD2F-4BCC-8443-02A3DD6CB070}"/>
          </ac:spMkLst>
        </pc:spChg>
        <pc:spChg chg="mod">
          <ac:chgData name="Aurelien Domont" userId="6da7715ce44349b3" providerId="LiveId" clId="{837ED3B5-2B93-4163-8B85-A9A154D805BA}" dt="2021-08-04T03:22:57.334" v="404" actId="1035"/>
          <ac:spMkLst>
            <pc:docMk/>
            <pc:sldMk cId="4140853747" sldId="1997"/>
            <ac:spMk id="52" creationId="{80244921-0F35-4D7B-8710-909605E50768}"/>
          </ac:spMkLst>
        </pc:spChg>
        <pc:spChg chg="mod">
          <ac:chgData name="Aurelien Domont" userId="6da7715ce44349b3" providerId="LiveId" clId="{837ED3B5-2B93-4163-8B85-A9A154D805BA}" dt="2021-08-04T03:22:57.334" v="404" actId="1035"/>
          <ac:spMkLst>
            <pc:docMk/>
            <pc:sldMk cId="4140853747" sldId="1997"/>
            <ac:spMk id="53" creationId="{5CFC5AF9-4BD1-44A2-9374-65F856F004B2}"/>
          </ac:spMkLst>
        </pc:spChg>
        <pc:spChg chg="mod">
          <ac:chgData name="Aurelien Domont" userId="6da7715ce44349b3" providerId="LiveId" clId="{837ED3B5-2B93-4163-8B85-A9A154D805BA}" dt="2021-08-04T03:22:57.334" v="404" actId="1035"/>
          <ac:spMkLst>
            <pc:docMk/>
            <pc:sldMk cId="4140853747" sldId="1997"/>
            <ac:spMk id="54" creationId="{6027574D-7FF0-4239-AEF4-EF314281757E}"/>
          </ac:spMkLst>
        </pc:spChg>
        <pc:spChg chg="add mod">
          <ac:chgData name="Aurelien Domont" userId="6da7715ce44349b3" providerId="LiveId" clId="{837ED3B5-2B93-4163-8B85-A9A154D805BA}" dt="2021-08-04T03:22:57.334" v="404" actId="1035"/>
          <ac:spMkLst>
            <pc:docMk/>
            <pc:sldMk cId="4140853747" sldId="1997"/>
            <ac:spMk id="55" creationId="{6A746763-A19D-474D-ADBF-28C5B7C6CFD2}"/>
          </ac:spMkLst>
        </pc:spChg>
        <pc:spChg chg="add mod">
          <ac:chgData name="Aurelien Domont" userId="6da7715ce44349b3" providerId="LiveId" clId="{837ED3B5-2B93-4163-8B85-A9A154D805BA}" dt="2021-08-04T03:22:57.334" v="404" actId="1035"/>
          <ac:spMkLst>
            <pc:docMk/>
            <pc:sldMk cId="4140853747" sldId="1997"/>
            <ac:spMk id="56" creationId="{5BB911B3-E6DC-4C01-A7E1-582ABCC05EA7}"/>
          </ac:spMkLst>
        </pc:spChg>
        <pc:spChg chg="add mod">
          <ac:chgData name="Aurelien Domont" userId="6da7715ce44349b3" providerId="LiveId" clId="{837ED3B5-2B93-4163-8B85-A9A154D805BA}" dt="2021-08-04T03:22:57.334" v="404" actId="1035"/>
          <ac:spMkLst>
            <pc:docMk/>
            <pc:sldMk cId="4140853747" sldId="1997"/>
            <ac:spMk id="57" creationId="{FB9ABD10-A1ED-4886-80CD-05CF588E0450}"/>
          </ac:spMkLst>
        </pc:spChg>
        <pc:spChg chg="add mod">
          <ac:chgData name="Aurelien Domont" userId="6da7715ce44349b3" providerId="LiveId" clId="{837ED3B5-2B93-4163-8B85-A9A154D805BA}" dt="2021-08-04T03:22:57.334" v="404" actId="1035"/>
          <ac:spMkLst>
            <pc:docMk/>
            <pc:sldMk cId="4140853747" sldId="1997"/>
            <ac:spMk id="59" creationId="{ECC4FC42-0FEE-40CC-A1DE-A6DB37E00DA2}"/>
          </ac:spMkLst>
        </pc:spChg>
        <pc:spChg chg="add mod">
          <ac:chgData name="Aurelien Domont" userId="6da7715ce44349b3" providerId="LiveId" clId="{837ED3B5-2B93-4163-8B85-A9A154D805BA}" dt="2021-08-04T03:22:57.334" v="404" actId="1035"/>
          <ac:spMkLst>
            <pc:docMk/>
            <pc:sldMk cId="4140853747" sldId="1997"/>
            <ac:spMk id="60" creationId="{A094BC97-2BD9-4A00-92F7-068BD819F46C}"/>
          </ac:spMkLst>
        </pc:spChg>
        <pc:spChg chg="add mod">
          <ac:chgData name="Aurelien Domont" userId="6da7715ce44349b3" providerId="LiveId" clId="{837ED3B5-2B93-4163-8B85-A9A154D805BA}" dt="2021-08-04T03:22:57.334" v="404" actId="1035"/>
          <ac:spMkLst>
            <pc:docMk/>
            <pc:sldMk cId="4140853747" sldId="1997"/>
            <ac:spMk id="61" creationId="{9CC24C77-DB8B-4F75-8E67-8E14F8E87A06}"/>
          </ac:spMkLst>
        </pc:spChg>
        <pc:spChg chg="add mod">
          <ac:chgData name="Aurelien Domont" userId="6da7715ce44349b3" providerId="LiveId" clId="{837ED3B5-2B93-4163-8B85-A9A154D805BA}" dt="2021-08-04T03:22:57.334" v="404" actId="1035"/>
          <ac:spMkLst>
            <pc:docMk/>
            <pc:sldMk cId="4140853747" sldId="1997"/>
            <ac:spMk id="63" creationId="{E69D6547-5528-4159-A9A7-37D93723FE2D}"/>
          </ac:spMkLst>
        </pc:spChg>
        <pc:spChg chg="add mod">
          <ac:chgData name="Aurelien Domont" userId="6da7715ce44349b3" providerId="LiveId" clId="{837ED3B5-2B93-4163-8B85-A9A154D805BA}" dt="2021-08-04T03:22:57.334" v="404" actId="1035"/>
          <ac:spMkLst>
            <pc:docMk/>
            <pc:sldMk cId="4140853747" sldId="1997"/>
            <ac:spMk id="64" creationId="{6901CF6E-D140-473E-8DB1-3C59592C6FD6}"/>
          </ac:spMkLst>
        </pc:spChg>
        <pc:spChg chg="add mod">
          <ac:chgData name="Aurelien Domont" userId="6da7715ce44349b3" providerId="LiveId" clId="{837ED3B5-2B93-4163-8B85-A9A154D805BA}" dt="2021-08-04T03:22:57.334" v="404" actId="1035"/>
          <ac:spMkLst>
            <pc:docMk/>
            <pc:sldMk cId="4140853747" sldId="1997"/>
            <ac:spMk id="65" creationId="{F1A5F777-3618-4B26-8A53-B8D3131A52A2}"/>
          </ac:spMkLst>
        </pc:spChg>
        <pc:picChg chg="mod">
          <ac:chgData name="Aurelien Domont" userId="6da7715ce44349b3" providerId="LiveId" clId="{837ED3B5-2B93-4163-8B85-A9A154D805BA}" dt="2021-08-04T03:22:57.334" v="404" actId="1035"/>
          <ac:picMkLst>
            <pc:docMk/>
            <pc:sldMk cId="4140853747" sldId="1997"/>
            <ac:picMk id="43" creationId="{B0209D04-73DB-4829-8C42-D55A8DBE4638}"/>
          </ac:picMkLst>
        </pc:picChg>
        <pc:picChg chg="mod">
          <ac:chgData name="Aurelien Domont" userId="6da7715ce44349b3" providerId="LiveId" clId="{837ED3B5-2B93-4163-8B85-A9A154D805BA}" dt="2021-08-04T03:22:57.334" v="404" actId="1035"/>
          <ac:picMkLst>
            <pc:docMk/>
            <pc:sldMk cId="4140853747" sldId="1997"/>
            <ac:picMk id="44" creationId="{4A36A597-C139-44DB-AB57-2373B1F02428}"/>
          </ac:picMkLst>
        </pc:picChg>
        <pc:picChg chg="mod">
          <ac:chgData name="Aurelien Domont" userId="6da7715ce44349b3" providerId="LiveId" clId="{837ED3B5-2B93-4163-8B85-A9A154D805BA}" dt="2021-08-04T03:22:57.334" v="404" actId="1035"/>
          <ac:picMkLst>
            <pc:docMk/>
            <pc:sldMk cId="4140853747" sldId="1997"/>
            <ac:picMk id="45" creationId="{43C1B682-AED6-4ED3-ABA4-6632D762F226}"/>
          </ac:picMkLst>
        </pc:picChg>
        <pc:picChg chg="mod">
          <ac:chgData name="Aurelien Domont" userId="6da7715ce44349b3" providerId="LiveId" clId="{837ED3B5-2B93-4163-8B85-A9A154D805BA}" dt="2021-08-04T03:22:57.334" v="404" actId="1035"/>
          <ac:picMkLst>
            <pc:docMk/>
            <pc:sldMk cId="4140853747" sldId="1997"/>
            <ac:picMk id="46" creationId="{9EFA500E-9759-4020-826A-30DA0A28B534}"/>
          </ac:picMkLst>
        </pc:picChg>
        <pc:picChg chg="mod">
          <ac:chgData name="Aurelien Domont" userId="6da7715ce44349b3" providerId="LiveId" clId="{837ED3B5-2B93-4163-8B85-A9A154D805BA}" dt="2021-08-04T03:22:57.334" v="404" actId="1035"/>
          <ac:picMkLst>
            <pc:docMk/>
            <pc:sldMk cId="4140853747" sldId="1997"/>
            <ac:picMk id="47" creationId="{B567FD6C-5A2F-4D01-976F-5BEDF212C883}"/>
          </ac:picMkLst>
        </pc:picChg>
        <pc:picChg chg="mod">
          <ac:chgData name="Aurelien Domont" userId="6da7715ce44349b3" providerId="LiveId" clId="{837ED3B5-2B93-4163-8B85-A9A154D805BA}" dt="2021-08-04T03:22:57.334" v="404" actId="1035"/>
          <ac:picMkLst>
            <pc:docMk/>
            <pc:sldMk cId="4140853747" sldId="1997"/>
            <ac:picMk id="48" creationId="{60228584-08D3-4678-BCAC-904E196E4F00}"/>
          </ac:picMkLst>
        </pc:picChg>
        <pc:picChg chg="mod">
          <ac:chgData name="Aurelien Domont" userId="6da7715ce44349b3" providerId="LiveId" clId="{837ED3B5-2B93-4163-8B85-A9A154D805BA}" dt="2021-08-04T03:22:57.334" v="404" actId="1035"/>
          <ac:picMkLst>
            <pc:docMk/>
            <pc:sldMk cId="4140853747" sldId="1997"/>
            <ac:picMk id="49" creationId="{789E1687-24D3-48AD-802D-2AF19C198512}"/>
          </ac:picMkLst>
        </pc:picChg>
        <pc:cxnChg chg="mod">
          <ac:chgData name="Aurelien Domont" userId="6da7715ce44349b3" providerId="LiveId" clId="{837ED3B5-2B93-4163-8B85-A9A154D805BA}" dt="2021-08-04T03:22:57.334" v="404" actId="1035"/>
          <ac:cxnSpMkLst>
            <pc:docMk/>
            <pc:sldMk cId="4140853747" sldId="1997"/>
            <ac:cxnSpMk id="25" creationId="{E2BF84B6-3B6F-49AA-8B6C-CEB62FF6D891}"/>
          </ac:cxnSpMkLst>
        </pc:cxnChg>
        <pc:cxnChg chg="mod">
          <ac:chgData name="Aurelien Domont" userId="6da7715ce44349b3" providerId="LiveId" clId="{837ED3B5-2B93-4163-8B85-A9A154D805BA}" dt="2021-08-04T03:22:57.334" v="404" actId="1035"/>
          <ac:cxnSpMkLst>
            <pc:docMk/>
            <pc:sldMk cId="4140853747" sldId="1997"/>
            <ac:cxnSpMk id="31" creationId="{388C1653-B78C-4175-A917-ABDE1FE4C0D5}"/>
          </ac:cxnSpMkLst>
        </pc:cxnChg>
        <pc:cxnChg chg="mod">
          <ac:chgData name="Aurelien Domont" userId="6da7715ce44349b3" providerId="LiveId" clId="{837ED3B5-2B93-4163-8B85-A9A154D805BA}" dt="2021-08-04T03:22:57.334" v="404" actId="1035"/>
          <ac:cxnSpMkLst>
            <pc:docMk/>
            <pc:sldMk cId="4140853747" sldId="1997"/>
            <ac:cxnSpMk id="35" creationId="{CE520C7C-6D9C-467E-B8AF-522F5AA951EE}"/>
          </ac:cxnSpMkLst>
        </pc:cxnChg>
        <pc:cxnChg chg="mod">
          <ac:chgData name="Aurelien Domont" userId="6da7715ce44349b3" providerId="LiveId" clId="{837ED3B5-2B93-4163-8B85-A9A154D805BA}" dt="2021-08-04T03:22:57.334" v="404" actId="1035"/>
          <ac:cxnSpMkLst>
            <pc:docMk/>
            <pc:sldMk cId="4140853747" sldId="1997"/>
            <ac:cxnSpMk id="39" creationId="{CC93EEEA-74F5-478E-A044-F42B75989445}"/>
          </ac:cxnSpMkLst>
        </pc:cxnChg>
        <pc:cxnChg chg="add mod">
          <ac:chgData name="Aurelien Domont" userId="6da7715ce44349b3" providerId="LiveId" clId="{837ED3B5-2B93-4163-8B85-A9A154D805BA}" dt="2021-08-04T03:22:57.334" v="404" actId="1035"/>
          <ac:cxnSpMkLst>
            <pc:docMk/>
            <pc:sldMk cId="4140853747" sldId="1997"/>
            <ac:cxnSpMk id="58" creationId="{A0B42CE6-CF3F-4C70-8642-89B4FA43FB6F}"/>
          </ac:cxnSpMkLst>
        </pc:cxnChg>
        <pc:cxnChg chg="add mod">
          <ac:chgData name="Aurelien Domont" userId="6da7715ce44349b3" providerId="LiveId" clId="{837ED3B5-2B93-4163-8B85-A9A154D805BA}" dt="2021-08-04T03:22:57.334" v="404" actId="1035"/>
          <ac:cxnSpMkLst>
            <pc:docMk/>
            <pc:sldMk cId="4140853747" sldId="1997"/>
            <ac:cxnSpMk id="62" creationId="{4F887953-04DF-4F62-8426-A0C0BC50F1AB}"/>
          </ac:cxnSpMkLst>
        </pc:cxnChg>
      </pc:sldChg>
      <pc:sldChg chg="del">
        <pc:chgData name="Aurelien Domont" userId="6da7715ce44349b3" providerId="LiveId" clId="{837ED3B5-2B93-4163-8B85-A9A154D805BA}" dt="2021-08-04T02:02:21.041" v="102" actId="47"/>
        <pc:sldMkLst>
          <pc:docMk/>
          <pc:sldMk cId="3453285050" sldId="2000"/>
        </pc:sldMkLst>
      </pc:sldChg>
      <pc:sldChg chg="del">
        <pc:chgData name="Aurelien Domont" userId="6da7715ce44349b3" providerId="LiveId" clId="{837ED3B5-2B93-4163-8B85-A9A154D805BA}" dt="2021-08-04T02:02:21.041" v="102" actId="47"/>
        <pc:sldMkLst>
          <pc:docMk/>
          <pc:sldMk cId="1480423294" sldId="2001"/>
        </pc:sldMkLst>
      </pc:sldChg>
      <pc:sldChg chg="del">
        <pc:chgData name="Aurelien Domont" userId="6da7715ce44349b3" providerId="LiveId" clId="{837ED3B5-2B93-4163-8B85-A9A154D805BA}" dt="2021-08-04T02:02:21.041" v="102" actId="47"/>
        <pc:sldMkLst>
          <pc:docMk/>
          <pc:sldMk cId="793231726" sldId="2002"/>
        </pc:sldMkLst>
      </pc:sldChg>
      <pc:sldChg chg="del">
        <pc:chgData name="Aurelien Domont" userId="6da7715ce44349b3" providerId="LiveId" clId="{837ED3B5-2B93-4163-8B85-A9A154D805BA}" dt="2021-08-04T02:02:21.041" v="102" actId="47"/>
        <pc:sldMkLst>
          <pc:docMk/>
          <pc:sldMk cId="872643177" sldId="2004"/>
        </pc:sldMkLst>
      </pc:sldChg>
      <pc:sldChg chg="del">
        <pc:chgData name="Aurelien Domont" userId="6da7715ce44349b3" providerId="LiveId" clId="{837ED3B5-2B93-4163-8B85-A9A154D805BA}" dt="2021-08-04T02:02:21.041" v="102" actId="47"/>
        <pc:sldMkLst>
          <pc:docMk/>
          <pc:sldMk cId="2349657917" sldId="2005"/>
        </pc:sldMkLst>
      </pc:sldChg>
      <pc:sldChg chg="del">
        <pc:chgData name="Aurelien Domont" userId="6da7715ce44349b3" providerId="LiveId" clId="{837ED3B5-2B93-4163-8B85-A9A154D805BA}" dt="2021-08-04T02:02:21.041" v="102" actId="47"/>
        <pc:sldMkLst>
          <pc:docMk/>
          <pc:sldMk cId="2694318807" sldId="2007"/>
        </pc:sldMkLst>
      </pc:sldChg>
      <pc:sldChg chg="del">
        <pc:chgData name="Aurelien Domont" userId="6da7715ce44349b3" providerId="LiveId" clId="{837ED3B5-2B93-4163-8B85-A9A154D805BA}" dt="2021-08-04T02:02:21.041" v="102" actId="47"/>
        <pc:sldMkLst>
          <pc:docMk/>
          <pc:sldMk cId="3512896718" sldId="2008"/>
        </pc:sldMkLst>
      </pc:sldChg>
      <pc:sldChg chg="del">
        <pc:chgData name="Aurelien Domont" userId="6da7715ce44349b3" providerId="LiveId" clId="{837ED3B5-2B93-4163-8B85-A9A154D805BA}" dt="2021-08-04T02:02:21.041" v="102" actId="47"/>
        <pc:sldMkLst>
          <pc:docMk/>
          <pc:sldMk cId="3743231244" sldId="2010"/>
        </pc:sldMkLst>
      </pc:sldChg>
      <pc:sldChg chg="del">
        <pc:chgData name="Aurelien Domont" userId="6da7715ce44349b3" providerId="LiveId" clId="{837ED3B5-2B93-4163-8B85-A9A154D805BA}" dt="2021-08-04T02:02:21.041" v="102" actId="47"/>
        <pc:sldMkLst>
          <pc:docMk/>
          <pc:sldMk cId="3270380878" sldId="2011"/>
        </pc:sldMkLst>
      </pc:sldChg>
      <pc:sldChg chg="del">
        <pc:chgData name="Aurelien Domont" userId="6da7715ce44349b3" providerId="LiveId" clId="{837ED3B5-2B93-4163-8B85-A9A154D805BA}" dt="2021-08-04T02:02:21.041" v="102" actId="47"/>
        <pc:sldMkLst>
          <pc:docMk/>
          <pc:sldMk cId="423301223" sldId="2148"/>
        </pc:sldMkLst>
      </pc:sldChg>
      <pc:sldChg chg="addSp delSp modSp mod">
        <pc:chgData name="Aurelien Domont" userId="6da7715ce44349b3" providerId="LiveId" clId="{837ED3B5-2B93-4163-8B85-A9A154D805BA}" dt="2023-01-12T03:56:54.552" v="1296"/>
        <pc:sldMkLst>
          <pc:docMk/>
          <pc:sldMk cId="1289725493" sldId="2149"/>
        </pc:sldMkLst>
        <pc:spChg chg="add mod">
          <ac:chgData name="Aurelien Domont" userId="6da7715ce44349b3" providerId="LiveId" clId="{837ED3B5-2B93-4163-8B85-A9A154D805BA}" dt="2023-01-12T03:56:54.552" v="1296"/>
          <ac:spMkLst>
            <pc:docMk/>
            <pc:sldMk cId="1289725493" sldId="2149"/>
            <ac:spMk id="3" creationId="{8975C108-6D75-47BC-564C-BD7A581BAB96}"/>
          </ac:spMkLst>
        </pc:spChg>
        <pc:spChg chg="del">
          <ac:chgData name="Aurelien Domont" userId="6da7715ce44349b3" providerId="LiveId" clId="{837ED3B5-2B93-4163-8B85-A9A154D805BA}" dt="2023-01-12T03:56:54.165" v="1295" actId="478"/>
          <ac:spMkLst>
            <pc:docMk/>
            <pc:sldMk cId="1289725493" sldId="2149"/>
            <ac:spMk id="5" creationId="{FF157264-E35D-4C02-921F-0940E6F2CA43}"/>
          </ac:spMkLst>
        </pc:spChg>
        <pc:picChg chg="del">
          <ac:chgData name="Aurelien Domont" userId="6da7715ce44349b3" providerId="LiveId" clId="{837ED3B5-2B93-4163-8B85-A9A154D805BA}" dt="2023-01-12T03:56:54.165" v="1295" actId="478"/>
          <ac:picMkLst>
            <pc:docMk/>
            <pc:sldMk cId="1289725493" sldId="2149"/>
            <ac:picMk id="4" creationId="{9C5DE39E-F383-449D-AC9E-CE43548C4242}"/>
          </ac:picMkLst>
        </pc:picChg>
        <pc:picChg chg="add mod">
          <ac:chgData name="Aurelien Domont" userId="6da7715ce44349b3" providerId="LiveId" clId="{837ED3B5-2B93-4163-8B85-A9A154D805BA}" dt="2023-01-12T03:56:54.552" v="1296"/>
          <ac:picMkLst>
            <pc:docMk/>
            <pc:sldMk cId="1289725493" sldId="2149"/>
            <ac:picMk id="9" creationId="{C4AF38C1-8B13-9716-5F95-C473619762C2}"/>
          </ac:picMkLst>
        </pc:picChg>
      </pc:sldChg>
      <pc:sldChg chg="del">
        <pc:chgData name="Aurelien Domont" userId="6da7715ce44349b3" providerId="LiveId" clId="{837ED3B5-2B93-4163-8B85-A9A154D805BA}" dt="2021-08-04T02:02:21.041" v="102" actId="47"/>
        <pc:sldMkLst>
          <pc:docMk/>
          <pc:sldMk cId="1324642353" sldId="2152"/>
        </pc:sldMkLst>
      </pc:sldChg>
      <pc:sldChg chg="del">
        <pc:chgData name="Aurelien Domont" userId="6da7715ce44349b3" providerId="LiveId" clId="{837ED3B5-2B93-4163-8B85-A9A154D805BA}" dt="2021-08-04T02:02:21.041" v="102" actId="47"/>
        <pc:sldMkLst>
          <pc:docMk/>
          <pc:sldMk cId="2226532108" sldId="2153"/>
        </pc:sldMkLst>
      </pc:sldChg>
      <pc:sldChg chg="del">
        <pc:chgData name="Aurelien Domont" userId="6da7715ce44349b3" providerId="LiveId" clId="{837ED3B5-2B93-4163-8B85-A9A154D805BA}" dt="2021-08-04T02:02:21.041" v="102" actId="47"/>
        <pc:sldMkLst>
          <pc:docMk/>
          <pc:sldMk cId="3613236081" sldId="2154"/>
        </pc:sldMkLst>
      </pc:sldChg>
      <pc:sldChg chg="del">
        <pc:chgData name="Aurelien Domont" userId="6da7715ce44349b3" providerId="LiveId" clId="{837ED3B5-2B93-4163-8B85-A9A154D805BA}" dt="2021-08-04T02:02:21.041" v="102" actId="47"/>
        <pc:sldMkLst>
          <pc:docMk/>
          <pc:sldMk cId="3175191540" sldId="2155"/>
        </pc:sldMkLst>
      </pc:sldChg>
      <pc:sldChg chg="addSp delSp modSp mod">
        <pc:chgData name="Aurelien Domont" userId="6da7715ce44349b3" providerId="LiveId" clId="{837ED3B5-2B93-4163-8B85-A9A154D805BA}" dt="2023-01-12T23:04:29.599" v="1307"/>
        <pc:sldMkLst>
          <pc:docMk/>
          <pc:sldMk cId="3387366193" sldId="2210"/>
        </pc:sldMkLst>
        <pc:spChg chg="add mod">
          <ac:chgData name="Aurelien Domont" userId="6da7715ce44349b3" providerId="LiveId" clId="{837ED3B5-2B93-4163-8B85-A9A154D805BA}" dt="2023-01-12T23:04:29.599" v="1307"/>
          <ac:spMkLst>
            <pc:docMk/>
            <pc:sldMk cId="3387366193" sldId="2210"/>
            <ac:spMk id="2" creationId="{704CB158-0BF3-F378-6128-FE0FDBD9962E}"/>
          </ac:spMkLst>
        </pc:spChg>
        <pc:spChg chg="add mod">
          <ac:chgData name="Aurelien Domont" userId="6da7715ce44349b3" providerId="LiveId" clId="{837ED3B5-2B93-4163-8B85-A9A154D805BA}" dt="2023-01-12T23:04:29.599" v="1307"/>
          <ac:spMkLst>
            <pc:docMk/>
            <pc:sldMk cId="3387366193" sldId="2210"/>
            <ac:spMk id="3" creationId="{92EEA3EC-A98F-7027-8AAF-CBD2AE74F51B}"/>
          </ac:spMkLst>
        </pc:spChg>
        <pc:spChg chg="add mod">
          <ac:chgData name="Aurelien Domont" userId="6da7715ce44349b3" providerId="LiveId" clId="{837ED3B5-2B93-4163-8B85-A9A154D805BA}" dt="2023-01-12T23:04:29.599" v="1307"/>
          <ac:spMkLst>
            <pc:docMk/>
            <pc:sldMk cId="3387366193" sldId="2210"/>
            <ac:spMk id="4" creationId="{19FADD39-3BD6-2D3B-5D23-636B8BF3AE38}"/>
          </ac:spMkLst>
        </pc:spChg>
        <pc:spChg chg="add mod">
          <ac:chgData name="Aurelien Domont" userId="6da7715ce44349b3" providerId="LiveId" clId="{837ED3B5-2B93-4163-8B85-A9A154D805BA}" dt="2023-01-12T23:04:29.599" v="1307"/>
          <ac:spMkLst>
            <pc:docMk/>
            <pc:sldMk cId="3387366193" sldId="2210"/>
            <ac:spMk id="6" creationId="{6D89186E-9DF5-15C4-E5B5-8EAB47C3E5D6}"/>
          </ac:spMkLst>
        </pc:spChg>
        <pc:spChg chg="del">
          <ac:chgData name="Aurelien Domont" userId="6da7715ce44349b3" providerId="LiveId" clId="{837ED3B5-2B93-4163-8B85-A9A154D805BA}" dt="2023-01-12T05:27:19.174" v="1300" actId="478"/>
          <ac:spMkLst>
            <pc:docMk/>
            <pc:sldMk cId="3387366193" sldId="2210"/>
            <ac:spMk id="6" creationId="{80C2FA24-C3FF-4F99-8694-BA262AB8070A}"/>
          </ac:spMkLst>
        </pc:spChg>
        <pc:spChg chg="del mod">
          <ac:chgData name="Aurelien Domont" userId="6da7715ce44349b3" providerId="LiveId" clId="{837ED3B5-2B93-4163-8B85-A9A154D805BA}" dt="2023-01-12T05:27:19.174" v="1300" actId="478"/>
          <ac:spMkLst>
            <pc:docMk/>
            <pc:sldMk cId="3387366193" sldId="2210"/>
            <ac:spMk id="7" creationId="{AA474FA7-23F8-48D3-A4A1-46C7E7EF8CBF}"/>
          </ac:spMkLst>
        </pc:spChg>
        <pc:spChg chg="add mod">
          <ac:chgData name="Aurelien Domont" userId="6da7715ce44349b3" providerId="LiveId" clId="{837ED3B5-2B93-4163-8B85-A9A154D805BA}" dt="2023-01-12T23:04:29.599" v="1307"/>
          <ac:spMkLst>
            <pc:docMk/>
            <pc:sldMk cId="3387366193" sldId="2210"/>
            <ac:spMk id="7" creationId="{BD347ECB-D097-52D4-441B-1FB7D1583D06}"/>
          </ac:spMkLst>
        </pc:spChg>
        <pc:spChg chg="del">
          <ac:chgData name="Aurelien Domont" userId="6da7715ce44349b3" providerId="LiveId" clId="{837ED3B5-2B93-4163-8B85-A9A154D805BA}" dt="2023-01-12T05:27:19.174" v="1300" actId="478"/>
          <ac:spMkLst>
            <pc:docMk/>
            <pc:sldMk cId="3387366193" sldId="2210"/>
            <ac:spMk id="8" creationId="{44D82846-5412-4854-9CE9-6BD4A4D3F201}"/>
          </ac:spMkLst>
        </pc:spChg>
        <pc:spChg chg="add mod">
          <ac:chgData name="Aurelien Domont" userId="6da7715ce44349b3" providerId="LiveId" clId="{837ED3B5-2B93-4163-8B85-A9A154D805BA}" dt="2023-01-12T23:04:29.599" v="1307"/>
          <ac:spMkLst>
            <pc:docMk/>
            <pc:sldMk cId="3387366193" sldId="2210"/>
            <ac:spMk id="9" creationId="{86BC0E78-83DF-0D4E-0590-1198B4913DB6}"/>
          </ac:spMkLst>
        </pc:spChg>
        <pc:spChg chg="del">
          <ac:chgData name="Aurelien Domont" userId="6da7715ce44349b3" providerId="LiveId" clId="{837ED3B5-2B93-4163-8B85-A9A154D805BA}" dt="2023-01-12T05:27:19.174" v="1300" actId="478"/>
          <ac:spMkLst>
            <pc:docMk/>
            <pc:sldMk cId="3387366193" sldId="2210"/>
            <ac:spMk id="10" creationId="{F6F130AE-016B-49E7-B056-02422308B35C}"/>
          </ac:spMkLst>
        </pc:spChg>
        <pc:spChg chg="del">
          <ac:chgData name="Aurelien Domont" userId="6da7715ce44349b3" providerId="LiveId" clId="{837ED3B5-2B93-4163-8B85-A9A154D805BA}" dt="2023-01-12T05:27:19.174" v="1300" actId="478"/>
          <ac:spMkLst>
            <pc:docMk/>
            <pc:sldMk cId="3387366193" sldId="2210"/>
            <ac:spMk id="11" creationId="{381FC75F-03AC-4E06-95A5-77AA464D139B}"/>
          </ac:spMkLst>
        </pc:spChg>
        <pc:spChg chg="add mod">
          <ac:chgData name="Aurelien Domont" userId="6da7715ce44349b3" providerId="LiveId" clId="{837ED3B5-2B93-4163-8B85-A9A154D805BA}" dt="2023-01-12T23:04:29.599" v="1307"/>
          <ac:spMkLst>
            <pc:docMk/>
            <pc:sldMk cId="3387366193" sldId="2210"/>
            <ac:spMk id="11" creationId="{F5713260-F375-D403-73A5-F2F6DDC69E52}"/>
          </ac:spMkLst>
        </pc:spChg>
        <pc:spChg chg="add mod">
          <ac:chgData name="Aurelien Domont" userId="6da7715ce44349b3" providerId="LiveId" clId="{837ED3B5-2B93-4163-8B85-A9A154D805BA}" dt="2023-01-12T23:04:29.599" v="1307"/>
          <ac:spMkLst>
            <pc:docMk/>
            <pc:sldMk cId="3387366193" sldId="2210"/>
            <ac:spMk id="12" creationId="{0CFA528C-A247-BABB-C08B-9BBCA98C9E9F}"/>
          </ac:spMkLst>
        </pc:spChg>
        <pc:spChg chg="del">
          <ac:chgData name="Aurelien Domont" userId="6da7715ce44349b3" providerId="LiveId" clId="{837ED3B5-2B93-4163-8B85-A9A154D805BA}" dt="2023-01-12T05:27:19.174" v="1300" actId="478"/>
          <ac:spMkLst>
            <pc:docMk/>
            <pc:sldMk cId="3387366193" sldId="2210"/>
            <ac:spMk id="12" creationId="{F22BF9F2-93B5-4D57-85D0-BA4BB3074ECE}"/>
          </ac:spMkLst>
        </pc:spChg>
        <pc:spChg chg="add mod">
          <ac:chgData name="Aurelien Domont" userId="6da7715ce44349b3" providerId="LiveId" clId="{837ED3B5-2B93-4163-8B85-A9A154D805BA}" dt="2023-01-12T23:04:29.599" v="1307"/>
          <ac:spMkLst>
            <pc:docMk/>
            <pc:sldMk cId="3387366193" sldId="2210"/>
            <ac:spMk id="14" creationId="{8A1725E1-8DCB-53E9-0D15-946BE70352BB}"/>
          </ac:spMkLst>
        </pc:spChg>
        <pc:spChg chg="add mod">
          <ac:chgData name="Aurelien Domont" userId="6da7715ce44349b3" providerId="LiveId" clId="{837ED3B5-2B93-4163-8B85-A9A154D805BA}" dt="2023-01-12T23:04:29.599" v="1307"/>
          <ac:spMkLst>
            <pc:docMk/>
            <pc:sldMk cId="3387366193" sldId="2210"/>
            <ac:spMk id="15" creationId="{7E0D5376-0F70-88DE-3212-DBC2B1D1397B}"/>
          </ac:spMkLst>
        </pc:spChg>
        <pc:spChg chg="mod">
          <ac:chgData name="Aurelien Domont" userId="6da7715ce44349b3" providerId="LiveId" clId="{837ED3B5-2B93-4163-8B85-A9A154D805BA}" dt="2023-01-12T05:27:36.952" v="1306" actId="20577"/>
          <ac:spMkLst>
            <pc:docMk/>
            <pc:sldMk cId="3387366193" sldId="2210"/>
            <ac:spMk id="16" creationId="{6C2BB713-9637-4B9B-938F-E9768876782A}"/>
          </ac:spMkLst>
        </pc:spChg>
        <pc:spChg chg="add mod">
          <ac:chgData name="Aurelien Domont" userId="6da7715ce44349b3" providerId="LiveId" clId="{837ED3B5-2B93-4163-8B85-A9A154D805BA}" dt="2023-01-12T23:04:29.599" v="1307"/>
          <ac:spMkLst>
            <pc:docMk/>
            <pc:sldMk cId="3387366193" sldId="2210"/>
            <ac:spMk id="17" creationId="{66262E13-3BCC-39A3-657C-8238EAFF7C74}"/>
          </ac:spMkLst>
        </pc:spChg>
        <pc:spChg chg="add mod">
          <ac:chgData name="Aurelien Domont" userId="6da7715ce44349b3" providerId="LiveId" clId="{837ED3B5-2B93-4163-8B85-A9A154D805BA}" dt="2023-01-12T23:04:29.599" v="1307"/>
          <ac:spMkLst>
            <pc:docMk/>
            <pc:sldMk cId="3387366193" sldId="2210"/>
            <ac:spMk id="18" creationId="{C3511ABB-080D-0787-0558-BC7AD984502A}"/>
          </ac:spMkLst>
        </pc:spChg>
        <pc:spChg chg="add mod">
          <ac:chgData name="Aurelien Domont" userId="6da7715ce44349b3" providerId="LiveId" clId="{837ED3B5-2B93-4163-8B85-A9A154D805BA}" dt="2023-01-12T23:04:29.599" v="1307"/>
          <ac:spMkLst>
            <pc:docMk/>
            <pc:sldMk cId="3387366193" sldId="2210"/>
            <ac:spMk id="19" creationId="{6EB73EC8-1836-4B1D-3AF6-489339ED70E4}"/>
          </ac:spMkLst>
        </pc:spChg>
        <pc:spChg chg="add mod">
          <ac:chgData name="Aurelien Domont" userId="6da7715ce44349b3" providerId="LiveId" clId="{837ED3B5-2B93-4163-8B85-A9A154D805BA}" dt="2023-01-12T23:04:29.599" v="1307"/>
          <ac:spMkLst>
            <pc:docMk/>
            <pc:sldMk cId="3387366193" sldId="2210"/>
            <ac:spMk id="20" creationId="{3410B46E-FEA7-F86B-0612-B7F369C8CD31}"/>
          </ac:spMkLst>
        </pc:spChg>
        <pc:spChg chg="add mod">
          <ac:chgData name="Aurelien Domont" userId="6da7715ce44349b3" providerId="LiveId" clId="{837ED3B5-2B93-4163-8B85-A9A154D805BA}" dt="2023-01-12T23:04:29.599" v="1307"/>
          <ac:spMkLst>
            <pc:docMk/>
            <pc:sldMk cId="3387366193" sldId="2210"/>
            <ac:spMk id="21" creationId="{83E5DE4F-D818-62BE-3541-F162042B09BC}"/>
          </ac:spMkLst>
        </pc:spChg>
        <pc:spChg chg="add mod">
          <ac:chgData name="Aurelien Domont" userId="6da7715ce44349b3" providerId="LiveId" clId="{837ED3B5-2B93-4163-8B85-A9A154D805BA}" dt="2023-01-12T23:04:29.599" v="1307"/>
          <ac:spMkLst>
            <pc:docMk/>
            <pc:sldMk cId="3387366193" sldId="2210"/>
            <ac:spMk id="22" creationId="{CA01DC20-6D09-62CE-83C1-EA5357295DE8}"/>
          </ac:spMkLst>
        </pc:spChg>
        <pc:spChg chg="add mod">
          <ac:chgData name="Aurelien Domont" userId="6da7715ce44349b3" providerId="LiveId" clId="{837ED3B5-2B93-4163-8B85-A9A154D805BA}" dt="2023-01-12T23:04:29.599" v="1307"/>
          <ac:spMkLst>
            <pc:docMk/>
            <pc:sldMk cId="3387366193" sldId="2210"/>
            <ac:spMk id="23" creationId="{672A2FA1-87E3-69D4-D175-05474B01B028}"/>
          </ac:spMkLst>
        </pc:spChg>
        <pc:spChg chg="add mod">
          <ac:chgData name="Aurelien Domont" userId="6da7715ce44349b3" providerId="LiveId" clId="{837ED3B5-2B93-4163-8B85-A9A154D805BA}" dt="2023-01-12T23:04:29.599" v="1307"/>
          <ac:spMkLst>
            <pc:docMk/>
            <pc:sldMk cId="3387366193" sldId="2210"/>
            <ac:spMk id="24" creationId="{5C836DF5-0DA4-8EAA-5E8F-489A487097F6}"/>
          </ac:spMkLst>
        </pc:spChg>
        <pc:spChg chg="add mod">
          <ac:chgData name="Aurelien Domont" userId="6da7715ce44349b3" providerId="LiveId" clId="{837ED3B5-2B93-4163-8B85-A9A154D805BA}" dt="2023-01-12T23:04:29.599" v="1307"/>
          <ac:spMkLst>
            <pc:docMk/>
            <pc:sldMk cId="3387366193" sldId="2210"/>
            <ac:spMk id="25" creationId="{2169AEF6-0D67-F465-2F93-D6632B101B2B}"/>
          </ac:spMkLst>
        </pc:spChg>
        <pc:spChg chg="del mod">
          <ac:chgData name="Aurelien Domont" userId="6da7715ce44349b3" providerId="LiveId" clId="{837ED3B5-2B93-4163-8B85-A9A154D805BA}" dt="2023-01-12T05:27:19.174" v="1300" actId="478"/>
          <ac:spMkLst>
            <pc:docMk/>
            <pc:sldMk cId="3387366193" sldId="2210"/>
            <ac:spMk id="44" creationId="{B37241D5-D790-45E8-BF55-A1BE78BE73CE}"/>
          </ac:spMkLst>
        </pc:spChg>
        <pc:spChg chg="del">
          <ac:chgData name="Aurelien Domont" userId="6da7715ce44349b3" providerId="LiveId" clId="{837ED3B5-2B93-4163-8B85-A9A154D805BA}" dt="2023-01-12T05:27:19.174" v="1300" actId="478"/>
          <ac:spMkLst>
            <pc:docMk/>
            <pc:sldMk cId="3387366193" sldId="2210"/>
            <ac:spMk id="46" creationId="{ECF957D7-D8F3-458B-821C-47577E93E4F6}"/>
          </ac:spMkLst>
        </pc:spChg>
        <pc:picChg chg="add mod">
          <ac:chgData name="Aurelien Domont" userId="6da7715ce44349b3" providerId="LiveId" clId="{837ED3B5-2B93-4163-8B85-A9A154D805BA}" dt="2023-01-12T23:04:29.599" v="1307"/>
          <ac:picMkLst>
            <pc:docMk/>
            <pc:sldMk cId="3387366193" sldId="2210"/>
            <ac:picMk id="26" creationId="{9F00BD2E-A6EF-09BB-0569-98D01BD313A7}"/>
          </ac:picMkLst>
        </pc:picChg>
        <pc:picChg chg="add mod">
          <ac:chgData name="Aurelien Domont" userId="6da7715ce44349b3" providerId="LiveId" clId="{837ED3B5-2B93-4163-8B85-A9A154D805BA}" dt="2023-01-12T23:04:29.599" v="1307"/>
          <ac:picMkLst>
            <pc:docMk/>
            <pc:sldMk cId="3387366193" sldId="2210"/>
            <ac:picMk id="27" creationId="{70CA1E40-1D8B-37B9-68E1-2F2867F81DE8}"/>
          </ac:picMkLst>
        </pc:picChg>
        <pc:picChg chg="add mod">
          <ac:chgData name="Aurelien Domont" userId="6da7715ce44349b3" providerId="LiveId" clId="{837ED3B5-2B93-4163-8B85-A9A154D805BA}" dt="2023-01-12T23:04:29.599" v="1307"/>
          <ac:picMkLst>
            <pc:docMk/>
            <pc:sldMk cId="3387366193" sldId="2210"/>
            <ac:picMk id="28" creationId="{0C976867-A551-1F25-98CA-D209160D3ACE}"/>
          </ac:picMkLst>
        </pc:picChg>
        <pc:cxnChg chg="add mod">
          <ac:chgData name="Aurelien Domont" userId="6da7715ce44349b3" providerId="LiveId" clId="{837ED3B5-2B93-4163-8B85-A9A154D805BA}" dt="2023-01-12T23:04:29.599" v="1307"/>
          <ac:cxnSpMkLst>
            <pc:docMk/>
            <pc:sldMk cId="3387366193" sldId="2210"/>
            <ac:cxnSpMk id="8" creationId="{739CC92B-7A12-732B-C306-592FC4B4B9FD}"/>
          </ac:cxnSpMkLst>
        </pc:cxnChg>
        <pc:cxnChg chg="del">
          <ac:chgData name="Aurelien Domont" userId="6da7715ce44349b3" providerId="LiveId" clId="{837ED3B5-2B93-4163-8B85-A9A154D805BA}" dt="2023-01-12T05:27:19.174" v="1300" actId="478"/>
          <ac:cxnSpMkLst>
            <pc:docMk/>
            <pc:sldMk cId="3387366193" sldId="2210"/>
            <ac:cxnSpMk id="9" creationId="{938E2F11-EEE6-4CE3-AA18-0A0EFEAFC83C}"/>
          </ac:cxnSpMkLst>
        </pc:cxnChg>
        <pc:cxnChg chg="add mod">
          <ac:chgData name="Aurelien Domont" userId="6da7715ce44349b3" providerId="LiveId" clId="{837ED3B5-2B93-4163-8B85-A9A154D805BA}" dt="2023-01-12T23:04:29.599" v="1307"/>
          <ac:cxnSpMkLst>
            <pc:docMk/>
            <pc:sldMk cId="3387366193" sldId="2210"/>
            <ac:cxnSpMk id="10" creationId="{61D392EF-F191-E92E-84D6-ADC88047171D}"/>
          </ac:cxnSpMkLst>
        </pc:cxnChg>
        <pc:cxnChg chg="del">
          <ac:chgData name="Aurelien Domont" userId="6da7715ce44349b3" providerId="LiveId" clId="{837ED3B5-2B93-4163-8B85-A9A154D805BA}" dt="2023-01-12T05:27:19.174" v="1300" actId="478"/>
          <ac:cxnSpMkLst>
            <pc:docMk/>
            <pc:sldMk cId="3387366193" sldId="2210"/>
            <ac:cxnSpMk id="14" creationId="{BD538E77-947C-4FAE-B4B2-3DD1EF8F7624}"/>
          </ac:cxnSpMkLst>
        </pc:cxnChg>
        <pc:cxnChg chg="del">
          <ac:chgData name="Aurelien Domont" userId="6da7715ce44349b3" providerId="LiveId" clId="{837ED3B5-2B93-4163-8B85-A9A154D805BA}" dt="2023-01-12T05:27:19.174" v="1300" actId="478"/>
          <ac:cxnSpMkLst>
            <pc:docMk/>
            <pc:sldMk cId="3387366193" sldId="2210"/>
            <ac:cxnSpMk id="45" creationId="{B4F81B7A-6305-4E8C-BB6C-F5EA082CC1F4}"/>
          </ac:cxnSpMkLst>
        </pc:cxnChg>
      </pc:sldChg>
      <pc:sldChg chg="addSp delSp modSp add del mod">
        <pc:chgData name="Aurelien Domont" userId="6da7715ce44349b3" providerId="LiveId" clId="{837ED3B5-2B93-4163-8B85-A9A154D805BA}" dt="2023-01-12T23:14:11.037" v="1430" actId="20577"/>
        <pc:sldMkLst>
          <pc:docMk/>
          <pc:sldMk cId="2401267023" sldId="2221"/>
        </pc:sldMkLst>
        <pc:spChg chg="add del mod">
          <ac:chgData name="Aurelien Domont" userId="6da7715ce44349b3" providerId="LiveId" clId="{837ED3B5-2B93-4163-8B85-A9A154D805BA}" dt="2023-01-12T23:14:06.932" v="1427" actId="478"/>
          <ac:spMkLst>
            <pc:docMk/>
            <pc:sldMk cId="2401267023" sldId="2221"/>
            <ac:spMk id="2" creationId="{090937F1-B8BA-A7EB-1908-7E6BA5AB6A9F}"/>
          </ac:spMkLst>
        </pc:spChg>
        <pc:spChg chg="add mod">
          <ac:chgData name="Aurelien Domont" userId="6da7715ce44349b3" providerId="LiveId" clId="{837ED3B5-2B93-4163-8B85-A9A154D805BA}" dt="2023-01-12T23:13:59.258" v="1424"/>
          <ac:spMkLst>
            <pc:docMk/>
            <pc:sldMk cId="2401267023" sldId="2221"/>
            <ac:spMk id="3" creationId="{920C8CA6-E79C-10C3-BD05-9FC4EB2F4A34}"/>
          </ac:spMkLst>
        </pc:spChg>
        <pc:spChg chg="add mod">
          <ac:chgData name="Aurelien Domont" userId="6da7715ce44349b3" providerId="LiveId" clId="{837ED3B5-2B93-4163-8B85-A9A154D805BA}" dt="2023-01-12T23:14:02.840" v="1425" actId="207"/>
          <ac:spMkLst>
            <pc:docMk/>
            <pc:sldMk cId="2401267023" sldId="2221"/>
            <ac:spMk id="4" creationId="{29DC7707-D296-BF9E-47D8-1CA4F0A36356}"/>
          </ac:spMkLst>
        </pc:spChg>
        <pc:spChg chg="add del">
          <ac:chgData name="Aurelien Domont" userId="6da7715ce44349b3" providerId="LiveId" clId="{837ED3B5-2B93-4163-8B85-A9A154D805BA}" dt="2023-01-12T23:13:44.938" v="1418" actId="478"/>
          <ac:spMkLst>
            <pc:docMk/>
            <pc:sldMk cId="2401267023" sldId="2221"/>
            <ac:spMk id="6" creationId="{80C2FA24-C3FF-4F99-8694-BA262AB8070A}"/>
          </ac:spMkLst>
        </pc:spChg>
        <pc:spChg chg="add del">
          <ac:chgData name="Aurelien Domont" userId="6da7715ce44349b3" providerId="LiveId" clId="{837ED3B5-2B93-4163-8B85-A9A154D805BA}" dt="2023-01-12T23:13:44.938" v="1418" actId="478"/>
          <ac:spMkLst>
            <pc:docMk/>
            <pc:sldMk cId="2401267023" sldId="2221"/>
            <ac:spMk id="7" creationId="{AA474FA7-23F8-48D3-A4A1-46C7E7EF8CBF}"/>
          </ac:spMkLst>
        </pc:spChg>
        <pc:spChg chg="add del mod">
          <ac:chgData name="Aurelien Domont" userId="6da7715ce44349b3" providerId="LiveId" clId="{837ED3B5-2B93-4163-8B85-A9A154D805BA}" dt="2023-01-12T23:13:44.938" v="1418" actId="478"/>
          <ac:spMkLst>
            <pc:docMk/>
            <pc:sldMk cId="2401267023" sldId="2221"/>
            <ac:spMk id="8" creationId="{44D82846-5412-4854-9CE9-6BD4A4D3F201}"/>
          </ac:spMkLst>
        </pc:spChg>
        <pc:spChg chg="add del">
          <ac:chgData name="Aurelien Domont" userId="6da7715ce44349b3" providerId="LiveId" clId="{837ED3B5-2B93-4163-8B85-A9A154D805BA}" dt="2023-01-12T23:13:44.938" v="1418" actId="478"/>
          <ac:spMkLst>
            <pc:docMk/>
            <pc:sldMk cId="2401267023" sldId="2221"/>
            <ac:spMk id="10" creationId="{F6F130AE-016B-49E7-B056-02422308B35C}"/>
          </ac:spMkLst>
        </pc:spChg>
        <pc:spChg chg="add del">
          <ac:chgData name="Aurelien Domont" userId="6da7715ce44349b3" providerId="LiveId" clId="{837ED3B5-2B93-4163-8B85-A9A154D805BA}" dt="2023-01-12T23:13:44.938" v="1418" actId="478"/>
          <ac:spMkLst>
            <pc:docMk/>
            <pc:sldMk cId="2401267023" sldId="2221"/>
            <ac:spMk id="11" creationId="{381FC75F-03AC-4E06-95A5-77AA464D139B}"/>
          </ac:spMkLst>
        </pc:spChg>
        <pc:spChg chg="add del">
          <ac:chgData name="Aurelien Domont" userId="6da7715ce44349b3" providerId="LiveId" clId="{837ED3B5-2B93-4163-8B85-A9A154D805BA}" dt="2023-01-12T23:13:44.938" v="1418" actId="478"/>
          <ac:spMkLst>
            <pc:docMk/>
            <pc:sldMk cId="2401267023" sldId="2221"/>
            <ac:spMk id="12" creationId="{F22BF9F2-93B5-4D57-85D0-BA4BB3074ECE}"/>
          </ac:spMkLst>
        </pc:spChg>
        <pc:spChg chg="add mod">
          <ac:chgData name="Aurelien Domont" userId="6da7715ce44349b3" providerId="LiveId" clId="{837ED3B5-2B93-4163-8B85-A9A154D805BA}" dt="2023-01-12T23:13:59.258" v="1424"/>
          <ac:spMkLst>
            <pc:docMk/>
            <pc:sldMk cId="2401267023" sldId="2221"/>
            <ac:spMk id="15" creationId="{8F4B6872-A59A-DD8F-A343-509545917404}"/>
          </ac:spMkLst>
        </pc:spChg>
        <pc:spChg chg="mod">
          <ac:chgData name="Aurelien Domont" userId="6da7715ce44349b3" providerId="LiveId" clId="{837ED3B5-2B93-4163-8B85-A9A154D805BA}" dt="2023-01-12T23:14:11.037" v="1430" actId="20577"/>
          <ac:spMkLst>
            <pc:docMk/>
            <pc:sldMk cId="2401267023" sldId="2221"/>
            <ac:spMk id="16" creationId="{6C2BB713-9637-4B9B-938F-E9768876782A}"/>
          </ac:spMkLst>
        </pc:spChg>
        <pc:spChg chg="add mod">
          <ac:chgData name="Aurelien Domont" userId="6da7715ce44349b3" providerId="LiveId" clId="{837ED3B5-2B93-4163-8B85-A9A154D805BA}" dt="2023-01-12T23:13:59.258" v="1424"/>
          <ac:spMkLst>
            <pc:docMk/>
            <pc:sldMk cId="2401267023" sldId="2221"/>
            <ac:spMk id="17" creationId="{F7783167-483F-5ABC-337A-A4119E3635CB}"/>
          </ac:spMkLst>
        </pc:spChg>
        <pc:spChg chg="add mod">
          <ac:chgData name="Aurelien Domont" userId="6da7715ce44349b3" providerId="LiveId" clId="{837ED3B5-2B93-4163-8B85-A9A154D805BA}" dt="2023-01-12T23:13:59.258" v="1424"/>
          <ac:spMkLst>
            <pc:docMk/>
            <pc:sldMk cId="2401267023" sldId="2221"/>
            <ac:spMk id="18" creationId="{C3463F68-AC13-0655-077A-B216FF9787E5}"/>
          </ac:spMkLst>
        </pc:spChg>
        <pc:spChg chg="add mod">
          <ac:chgData name="Aurelien Domont" userId="6da7715ce44349b3" providerId="LiveId" clId="{837ED3B5-2B93-4163-8B85-A9A154D805BA}" dt="2023-01-12T23:14:05.384" v="1426" actId="207"/>
          <ac:spMkLst>
            <pc:docMk/>
            <pc:sldMk cId="2401267023" sldId="2221"/>
            <ac:spMk id="20" creationId="{0BC5DBBD-73B6-0114-E7F0-26500206AE11}"/>
          </ac:spMkLst>
        </pc:spChg>
        <pc:spChg chg="add mod">
          <ac:chgData name="Aurelien Domont" userId="6da7715ce44349b3" providerId="LiveId" clId="{837ED3B5-2B93-4163-8B85-A9A154D805BA}" dt="2023-01-12T23:13:59.258" v="1424"/>
          <ac:spMkLst>
            <pc:docMk/>
            <pc:sldMk cId="2401267023" sldId="2221"/>
            <ac:spMk id="22" creationId="{252425AF-A8BB-333B-7E33-FB77418E49D2}"/>
          </ac:spMkLst>
        </pc:spChg>
        <pc:spChg chg="add mod">
          <ac:chgData name="Aurelien Domont" userId="6da7715ce44349b3" providerId="LiveId" clId="{837ED3B5-2B93-4163-8B85-A9A154D805BA}" dt="2023-01-12T23:13:59.258" v="1424"/>
          <ac:spMkLst>
            <pc:docMk/>
            <pc:sldMk cId="2401267023" sldId="2221"/>
            <ac:spMk id="23" creationId="{860EB8B3-205B-1F22-DB46-DDA363006F3B}"/>
          </ac:spMkLst>
        </pc:spChg>
        <pc:spChg chg="add mod">
          <ac:chgData name="Aurelien Domont" userId="6da7715ce44349b3" providerId="LiveId" clId="{837ED3B5-2B93-4163-8B85-A9A154D805BA}" dt="2023-01-12T23:13:59.258" v="1424"/>
          <ac:spMkLst>
            <pc:docMk/>
            <pc:sldMk cId="2401267023" sldId="2221"/>
            <ac:spMk id="24" creationId="{EF55E991-5570-8FE4-BDB2-1537CF89A95C}"/>
          </ac:spMkLst>
        </pc:spChg>
        <pc:spChg chg="add mod">
          <ac:chgData name="Aurelien Domont" userId="6da7715ce44349b3" providerId="LiveId" clId="{837ED3B5-2B93-4163-8B85-A9A154D805BA}" dt="2023-01-12T23:13:59.258" v="1424"/>
          <ac:spMkLst>
            <pc:docMk/>
            <pc:sldMk cId="2401267023" sldId="2221"/>
            <ac:spMk id="25" creationId="{98E3DB13-8A04-FB5C-B873-2E877510A465}"/>
          </ac:spMkLst>
        </pc:spChg>
        <pc:spChg chg="add mod">
          <ac:chgData name="Aurelien Domont" userId="6da7715ce44349b3" providerId="LiveId" clId="{837ED3B5-2B93-4163-8B85-A9A154D805BA}" dt="2023-01-12T23:13:59.258" v="1424"/>
          <ac:spMkLst>
            <pc:docMk/>
            <pc:sldMk cId="2401267023" sldId="2221"/>
            <ac:spMk id="26" creationId="{D4386DCD-F5AD-5B47-8CB7-4A102CA85BC6}"/>
          </ac:spMkLst>
        </pc:spChg>
        <pc:spChg chg="add mod">
          <ac:chgData name="Aurelien Domont" userId="6da7715ce44349b3" providerId="LiveId" clId="{837ED3B5-2B93-4163-8B85-A9A154D805BA}" dt="2023-01-12T23:13:59.258" v="1424"/>
          <ac:spMkLst>
            <pc:docMk/>
            <pc:sldMk cId="2401267023" sldId="2221"/>
            <ac:spMk id="27" creationId="{76022443-6E3B-AB13-E549-A54F94D7BFF9}"/>
          </ac:spMkLst>
        </pc:spChg>
        <pc:spChg chg="add mod">
          <ac:chgData name="Aurelien Domont" userId="6da7715ce44349b3" providerId="LiveId" clId="{837ED3B5-2B93-4163-8B85-A9A154D805BA}" dt="2023-01-12T23:13:59.258" v="1424"/>
          <ac:spMkLst>
            <pc:docMk/>
            <pc:sldMk cId="2401267023" sldId="2221"/>
            <ac:spMk id="28" creationId="{9DB3CB45-6AA0-A958-C923-51C4D1B60EC5}"/>
          </ac:spMkLst>
        </pc:spChg>
        <pc:spChg chg="add mod">
          <ac:chgData name="Aurelien Domont" userId="6da7715ce44349b3" providerId="LiveId" clId="{837ED3B5-2B93-4163-8B85-A9A154D805BA}" dt="2023-01-12T23:13:59.258" v="1424"/>
          <ac:spMkLst>
            <pc:docMk/>
            <pc:sldMk cId="2401267023" sldId="2221"/>
            <ac:spMk id="29" creationId="{D3360EF7-8935-5900-85C5-20060807E001}"/>
          </ac:spMkLst>
        </pc:spChg>
        <pc:spChg chg="add mod">
          <ac:chgData name="Aurelien Domont" userId="6da7715ce44349b3" providerId="LiveId" clId="{837ED3B5-2B93-4163-8B85-A9A154D805BA}" dt="2023-01-12T23:13:59.258" v="1424"/>
          <ac:spMkLst>
            <pc:docMk/>
            <pc:sldMk cId="2401267023" sldId="2221"/>
            <ac:spMk id="30" creationId="{85D7F80D-90BD-D00D-B6FD-78BC5F0F230B}"/>
          </ac:spMkLst>
        </pc:spChg>
        <pc:spChg chg="add mod">
          <ac:chgData name="Aurelien Domont" userId="6da7715ce44349b3" providerId="LiveId" clId="{837ED3B5-2B93-4163-8B85-A9A154D805BA}" dt="2023-01-12T23:13:59.258" v="1424"/>
          <ac:spMkLst>
            <pc:docMk/>
            <pc:sldMk cId="2401267023" sldId="2221"/>
            <ac:spMk id="31" creationId="{D60C350D-A272-F441-E54C-F826F63BA234}"/>
          </ac:spMkLst>
        </pc:spChg>
        <pc:spChg chg="add mod">
          <ac:chgData name="Aurelien Domont" userId="6da7715ce44349b3" providerId="LiveId" clId="{837ED3B5-2B93-4163-8B85-A9A154D805BA}" dt="2023-01-12T23:13:59.258" v="1424"/>
          <ac:spMkLst>
            <pc:docMk/>
            <pc:sldMk cId="2401267023" sldId="2221"/>
            <ac:spMk id="32" creationId="{867F213F-29F5-BD1A-AB68-BC75C326A4F6}"/>
          </ac:spMkLst>
        </pc:spChg>
        <pc:spChg chg="add mod">
          <ac:chgData name="Aurelien Domont" userId="6da7715ce44349b3" providerId="LiveId" clId="{837ED3B5-2B93-4163-8B85-A9A154D805BA}" dt="2023-01-12T23:13:59.258" v="1424"/>
          <ac:spMkLst>
            <pc:docMk/>
            <pc:sldMk cId="2401267023" sldId="2221"/>
            <ac:spMk id="33" creationId="{8A356D0F-A975-3035-FFD8-D54208B53130}"/>
          </ac:spMkLst>
        </pc:spChg>
        <pc:spChg chg="add mod">
          <ac:chgData name="Aurelien Domont" userId="6da7715ce44349b3" providerId="LiveId" clId="{837ED3B5-2B93-4163-8B85-A9A154D805BA}" dt="2023-01-12T23:13:59.258" v="1424"/>
          <ac:spMkLst>
            <pc:docMk/>
            <pc:sldMk cId="2401267023" sldId="2221"/>
            <ac:spMk id="34" creationId="{DDC2889A-689E-DE7C-24B9-D6CF3FC826FD}"/>
          </ac:spMkLst>
        </pc:spChg>
        <pc:spChg chg="add del mod">
          <ac:chgData name="Aurelien Domont" userId="6da7715ce44349b3" providerId="LiveId" clId="{837ED3B5-2B93-4163-8B85-A9A154D805BA}" dt="2023-01-12T23:13:44.938" v="1418" actId="478"/>
          <ac:spMkLst>
            <pc:docMk/>
            <pc:sldMk cId="2401267023" sldId="2221"/>
            <ac:spMk id="44" creationId="{B37241D5-D790-45E8-BF55-A1BE78BE73CE}"/>
          </ac:spMkLst>
        </pc:spChg>
        <pc:spChg chg="add del">
          <ac:chgData name="Aurelien Domont" userId="6da7715ce44349b3" providerId="LiveId" clId="{837ED3B5-2B93-4163-8B85-A9A154D805BA}" dt="2023-01-12T23:13:44.938" v="1418" actId="478"/>
          <ac:spMkLst>
            <pc:docMk/>
            <pc:sldMk cId="2401267023" sldId="2221"/>
            <ac:spMk id="46" creationId="{ECF957D7-D8F3-458B-821C-47577E93E4F6}"/>
          </ac:spMkLst>
        </pc:spChg>
        <pc:picChg chg="add mod">
          <ac:chgData name="Aurelien Domont" userId="6da7715ce44349b3" providerId="LiveId" clId="{837ED3B5-2B93-4163-8B85-A9A154D805BA}" dt="2023-01-12T23:13:59.258" v="1424"/>
          <ac:picMkLst>
            <pc:docMk/>
            <pc:sldMk cId="2401267023" sldId="2221"/>
            <ac:picMk id="35" creationId="{340E9314-A82C-1767-DC75-12C0106C7466}"/>
          </ac:picMkLst>
        </pc:picChg>
        <pc:picChg chg="add mod">
          <ac:chgData name="Aurelien Domont" userId="6da7715ce44349b3" providerId="LiveId" clId="{837ED3B5-2B93-4163-8B85-A9A154D805BA}" dt="2023-01-12T23:13:59.258" v="1424"/>
          <ac:picMkLst>
            <pc:docMk/>
            <pc:sldMk cId="2401267023" sldId="2221"/>
            <ac:picMk id="36" creationId="{75419FFC-FA95-C588-B0D8-60BBB4D7F851}"/>
          </ac:picMkLst>
        </pc:picChg>
        <pc:picChg chg="add mod">
          <ac:chgData name="Aurelien Domont" userId="6da7715ce44349b3" providerId="LiveId" clId="{837ED3B5-2B93-4163-8B85-A9A154D805BA}" dt="2023-01-12T23:13:59.258" v="1424"/>
          <ac:picMkLst>
            <pc:docMk/>
            <pc:sldMk cId="2401267023" sldId="2221"/>
            <ac:picMk id="37" creationId="{1397F6E8-85ED-9E3B-F8FD-023EFD97BBD0}"/>
          </ac:picMkLst>
        </pc:picChg>
        <pc:cxnChg chg="add del">
          <ac:chgData name="Aurelien Domont" userId="6da7715ce44349b3" providerId="LiveId" clId="{837ED3B5-2B93-4163-8B85-A9A154D805BA}" dt="2023-01-12T23:13:44.938" v="1418" actId="478"/>
          <ac:cxnSpMkLst>
            <pc:docMk/>
            <pc:sldMk cId="2401267023" sldId="2221"/>
            <ac:cxnSpMk id="9" creationId="{938E2F11-EEE6-4CE3-AA18-0A0EFEAFC83C}"/>
          </ac:cxnSpMkLst>
        </pc:cxnChg>
        <pc:cxnChg chg="add del">
          <ac:chgData name="Aurelien Domont" userId="6da7715ce44349b3" providerId="LiveId" clId="{837ED3B5-2B93-4163-8B85-A9A154D805BA}" dt="2023-01-12T23:13:44.938" v="1418" actId="478"/>
          <ac:cxnSpMkLst>
            <pc:docMk/>
            <pc:sldMk cId="2401267023" sldId="2221"/>
            <ac:cxnSpMk id="14" creationId="{BD538E77-947C-4FAE-B4B2-3DD1EF8F7624}"/>
          </ac:cxnSpMkLst>
        </pc:cxnChg>
        <pc:cxnChg chg="add mod">
          <ac:chgData name="Aurelien Domont" userId="6da7715ce44349b3" providerId="LiveId" clId="{837ED3B5-2B93-4163-8B85-A9A154D805BA}" dt="2023-01-12T23:13:59.258" v="1424"/>
          <ac:cxnSpMkLst>
            <pc:docMk/>
            <pc:sldMk cId="2401267023" sldId="2221"/>
            <ac:cxnSpMk id="19" creationId="{BDD9D1B1-E0F5-BA31-31A9-0EFA9998E1E9}"/>
          </ac:cxnSpMkLst>
        </pc:cxnChg>
        <pc:cxnChg chg="add mod">
          <ac:chgData name="Aurelien Domont" userId="6da7715ce44349b3" providerId="LiveId" clId="{837ED3B5-2B93-4163-8B85-A9A154D805BA}" dt="2023-01-12T23:13:59.258" v="1424"/>
          <ac:cxnSpMkLst>
            <pc:docMk/>
            <pc:sldMk cId="2401267023" sldId="2221"/>
            <ac:cxnSpMk id="21" creationId="{0032490F-AEE6-16CF-68EB-5EC3215CBAAC}"/>
          </ac:cxnSpMkLst>
        </pc:cxnChg>
        <pc:cxnChg chg="add del">
          <ac:chgData name="Aurelien Domont" userId="6da7715ce44349b3" providerId="LiveId" clId="{837ED3B5-2B93-4163-8B85-A9A154D805BA}" dt="2023-01-12T23:13:44.938" v="1418" actId="478"/>
          <ac:cxnSpMkLst>
            <pc:docMk/>
            <pc:sldMk cId="2401267023" sldId="2221"/>
            <ac:cxnSpMk id="45" creationId="{B4F81B7A-6305-4E8C-BB6C-F5EA082CC1F4}"/>
          </ac:cxnSpMkLst>
        </pc:cxnChg>
      </pc:sldChg>
      <pc:sldChg chg="del">
        <pc:chgData name="Aurelien Domont" userId="6da7715ce44349b3" providerId="LiveId" clId="{837ED3B5-2B93-4163-8B85-A9A154D805BA}" dt="2021-08-04T02:01:20.055" v="101" actId="47"/>
        <pc:sldMkLst>
          <pc:docMk/>
          <pc:sldMk cId="921073650" sldId="2222"/>
        </pc:sldMkLst>
      </pc:sldChg>
      <pc:sldChg chg="del">
        <pc:chgData name="Aurelien Domont" userId="6da7715ce44349b3" providerId="LiveId" clId="{837ED3B5-2B93-4163-8B85-A9A154D805BA}" dt="2021-08-04T02:02:21.041" v="102" actId="47"/>
        <pc:sldMkLst>
          <pc:docMk/>
          <pc:sldMk cId="1399210170" sldId="2223"/>
        </pc:sldMkLst>
      </pc:sldChg>
      <pc:sldChg chg="del">
        <pc:chgData name="Aurelien Domont" userId="6da7715ce44349b3" providerId="LiveId" clId="{837ED3B5-2B93-4163-8B85-A9A154D805BA}" dt="2021-08-04T02:02:21.041" v="102" actId="47"/>
        <pc:sldMkLst>
          <pc:docMk/>
          <pc:sldMk cId="2925081276" sldId="2224"/>
        </pc:sldMkLst>
      </pc:sldChg>
      <pc:sldChg chg="del">
        <pc:chgData name="Aurelien Domont" userId="6da7715ce44349b3" providerId="LiveId" clId="{837ED3B5-2B93-4163-8B85-A9A154D805BA}" dt="2021-08-04T02:02:21.041" v="102" actId="47"/>
        <pc:sldMkLst>
          <pc:docMk/>
          <pc:sldMk cId="2380777894" sldId="2225"/>
        </pc:sldMkLst>
      </pc:sldChg>
      <pc:sldChg chg="del">
        <pc:chgData name="Aurelien Domont" userId="6da7715ce44349b3" providerId="LiveId" clId="{837ED3B5-2B93-4163-8B85-A9A154D805BA}" dt="2021-08-04T02:02:21.041" v="102" actId="47"/>
        <pc:sldMkLst>
          <pc:docMk/>
          <pc:sldMk cId="4177594278" sldId="2226"/>
        </pc:sldMkLst>
      </pc:sldChg>
      <pc:sldChg chg="del">
        <pc:chgData name="Aurelien Domont" userId="6da7715ce44349b3" providerId="LiveId" clId="{837ED3B5-2B93-4163-8B85-A9A154D805BA}" dt="2021-08-04T02:02:21.041" v="102" actId="47"/>
        <pc:sldMkLst>
          <pc:docMk/>
          <pc:sldMk cId="3833958801" sldId="2227"/>
        </pc:sldMkLst>
      </pc:sldChg>
      <pc:sldChg chg="del">
        <pc:chgData name="Aurelien Domont" userId="6da7715ce44349b3" providerId="LiveId" clId="{837ED3B5-2B93-4163-8B85-A9A154D805BA}" dt="2021-08-04T02:02:21.041" v="102" actId="47"/>
        <pc:sldMkLst>
          <pc:docMk/>
          <pc:sldMk cId="1279023810" sldId="2228"/>
        </pc:sldMkLst>
      </pc:sldChg>
      <pc:sldChg chg="addSp delSp modSp add mod">
        <pc:chgData name="Aurelien Domont" userId="6da7715ce44349b3" providerId="LiveId" clId="{837ED3B5-2B93-4163-8B85-A9A154D805BA}" dt="2023-01-12T23:08:01.840" v="1328" actId="167"/>
        <pc:sldMkLst>
          <pc:docMk/>
          <pc:sldMk cId="43093531" sldId="2229"/>
        </pc:sldMkLst>
        <pc:spChg chg="add mod">
          <ac:chgData name="Aurelien Domont" userId="6da7715ce44349b3" providerId="LiveId" clId="{837ED3B5-2B93-4163-8B85-A9A154D805BA}" dt="2023-01-12T23:04:38.918" v="1310"/>
          <ac:spMkLst>
            <pc:docMk/>
            <pc:sldMk cId="43093531" sldId="2229"/>
            <ac:spMk id="2" creationId="{5D0013F7-EF7F-04FE-EC80-11B72ECC0D7A}"/>
          </ac:spMkLst>
        </pc:spChg>
        <pc:spChg chg="add mod">
          <ac:chgData name="Aurelien Domont" userId="6da7715ce44349b3" providerId="LiveId" clId="{837ED3B5-2B93-4163-8B85-A9A154D805BA}" dt="2023-01-12T23:04:38.918" v="1310"/>
          <ac:spMkLst>
            <pc:docMk/>
            <pc:sldMk cId="43093531" sldId="2229"/>
            <ac:spMk id="3" creationId="{451A0F3C-FD72-DB0C-A9BB-2B5ECF9DEDB6}"/>
          </ac:spMkLst>
        </pc:spChg>
        <pc:spChg chg="add mod">
          <ac:chgData name="Aurelien Domont" userId="6da7715ce44349b3" providerId="LiveId" clId="{837ED3B5-2B93-4163-8B85-A9A154D805BA}" dt="2023-01-12T23:04:38.918" v="1310"/>
          <ac:spMkLst>
            <pc:docMk/>
            <pc:sldMk cId="43093531" sldId="2229"/>
            <ac:spMk id="4" creationId="{4E3A6C91-55A7-ADC5-A381-0CE4C0866FBD}"/>
          </ac:spMkLst>
        </pc:spChg>
        <pc:spChg chg="del">
          <ac:chgData name="Aurelien Domont" userId="6da7715ce44349b3" providerId="LiveId" clId="{837ED3B5-2B93-4163-8B85-A9A154D805BA}" dt="2023-01-12T23:04:38.549" v="1309" actId="478"/>
          <ac:spMkLst>
            <pc:docMk/>
            <pc:sldMk cId="43093531" sldId="2229"/>
            <ac:spMk id="6" creationId="{80C2FA24-C3FF-4F99-8694-BA262AB8070A}"/>
          </ac:spMkLst>
        </pc:spChg>
        <pc:spChg chg="del">
          <ac:chgData name="Aurelien Domont" userId="6da7715ce44349b3" providerId="LiveId" clId="{837ED3B5-2B93-4163-8B85-A9A154D805BA}" dt="2023-01-12T23:04:38.549" v="1309" actId="478"/>
          <ac:spMkLst>
            <pc:docMk/>
            <pc:sldMk cId="43093531" sldId="2229"/>
            <ac:spMk id="7" creationId="{AA474FA7-23F8-48D3-A4A1-46C7E7EF8CBF}"/>
          </ac:spMkLst>
        </pc:spChg>
        <pc:spChg chg="del mod">
          <ac:chgData name="Aurelien Domont" userId="6da7715ce44349b3" providerId="LiveId" clId="{837ED3B5-2B93-4163-8B85-A9A154D805BA}" dt="2023-01-12T23:04:38.549" v="1309" actId="478"/>
          <ac:spMkLst>
            <pc:docMk/>
            <pc:sldMk cId="43093531" sldId="2229"/>
            <ac:spMk id="8" creationId="{44D82846-5412-4854-9CE9-6BD4A4D3F201}"/>
          </ac:spMkLst>
        </pc:spChg>
        <pc:spChg chg="del">
          <ac:chgData name="Aurelien Domont" userId="6da7715ce44349b3" providerId="LiveId" clId="{837ED3B5-2B93-4163-8B85-A9A154D805BA}" dt="2023-01-12T23:04:38.549" v="1309" actId="478"/>
          <ac:spMkLst>
            <pc:docMk/>
            <pc:sldMk cId="43093531" sldId="2229"/>
            <ac:spMk id="10" creationId="{F6F130AE-016B-49E7-B056-02422308B35C}"/>
          </ac:spMkLst>
        </pc:spChg>
        <pc:spChg chg="del">
          <ac:chgData name="Aurelien Domont" userId="6da7715ce44349b3" providerId="LiveId" clId="{837ED3B5-2B93-4163-8B85-A9A154D805BA}" dt="2023-01-12T23:04:38.549" v="1309" actId="478"/>
          <ac:spMkLst>
            <pc:docMk/>
            <pc:sldMk cId="43093531" sldId="2229"/>
            <ac:spMk id="11" creationId="{381FC75F-03AC-4E06-95A5-77AA464D139B}"/>
          </ac:spMkLst>
        </pc:spChg>
        <pc:spChg chg="del">
          <ac:chgData name="Aurelien Domont" userId="6da7715ce44349b3" providerId="LiveId" clId="{837ED3B5-2B93-4163-8B85-A9A154D805BA}" dt="2023-01-12T23:04:38.549" v="1309" actId="478"/>
          <ac:spMkLst>
            <pc:docMk/>
            <pc:sldMk cId="43093531" sldId="2229"/>
            <ac:spMk id="12" creationId="{F22BF9F2-93B5-4D57-85D0-BA4BB3074ECE}"/>
          </ac:spMkLst>
        </pc:spChg>
        <pc:spChg chg="add mod">
          <ac:chgData name="Aurelien Domont" userId="6da7715ce44349b3" providerId="LiveId" clId="{837ED3B5-2B93-4163-8B85-A9A154D805BA}" dt="2023-01-12T23:04:38.918" v="1310"/>
          <ac:spMkLst>
            <pc:docMk/>
            <pc:sldMk cId="43093531" sldId="2229"/>
            <ac:spMk id="15" creationId="{6A6E9FAF-E8B5-D9DF-92AD-59BCB44D41EA}"/>
          </ac:spMkLst>
        </pc:spChg>
        <pc:spChg chg="mod">
          <ac:chgData name="Aurelien Domont" userId="6da7715ce44349b3" providerId="LiveId" clId="{837ED3B5-2B93-4163-8B85-A9A154D805BA}" dt="2021-08-04T02:00:53.217" v="36" actId="20577"/>
          <ac:spMkLst>
            <pc:docMk/>
            <pc:sldMk cId="43093531" sldId="2229"/>
            <ac:spMk id="16" creationId="{6C2BB713-9637-4B9B-938F-E9768876782A}"/>
          </ac:spMkLst>
        </pc:spChg>
        <pc:spChg chg="add mod ord">
          <ac:chgData name="Aurelien Domont" userId="6da7715ce44349b3" providerId="LiveId" clId="{837ED3B5-2B93-4163-8B85-A9A154D805BA}" dt="2023-01-12T23:08:01.840" v="1328" actId="167"/>
          <ac:spMkLst>
            <pc:docMk/>
            <pc:sldMk cId="43093531" sldId="2229"/>
            <ac:spMk id="17" creationId="{2302F4AE-CE77-436B-A364-9D9FC8BC6C5A}"/>
          </ac:spMkLst>
        </pc:spChg>
        <pc:spChg chg="add mod">
          <ac:chgData name="Aurelien Domont" userId="6da7715ce44349b3" providerId="LiveId" clId="{837ED3B5-2B93-4163-8B85-A9A154D805BA}" dt="2023-01-12T23:04:38.918" v="1310"/>
          <ac:spMkLst>
            <pc:docMk/>
            <pc:sldMk cId="43093531" sldId="2229"/>
            <ac:spMk id="18" creationId="{487E4BAB-4E8A-7470-0753-9FD77FAAB3B5}"/>
          </ac:spMkLst>
        </pc:spChg>
        <pc:spChg chg="add mod">
          <ac:chgData name="Aurelien Domont" userId="6da7715ce44349b3" providerId="LiveId" clId="{837ED3B5-2B93-4163-8B85-A9A154D805BA}" dt="2023-01-12T23:04:38.918" v="1310"/>
          <ac:spMkLst>
            <pc:docMk/>
            <pc:sldMk cId="43093531" sldId="2229"/>
            <ac:spMk id="20" creationId="{0C607D86-F533-3BD0-D6E4-9E0271907242}"/>
          </ac:spMkLst>
        </pc:spChg>
        <pc:spChg chg="add mod">
          <ac:chgData name="Aurelien Domont" userId="6da7715ce44349b3" providerId="LiveId" clId="{837ED3B5-2B93-4163-8B85-A9A154D805BA}" dt="2023-01-12T23:04:38.918" v="1310"/>
          <ac:spMkLst>
            <pc:docMk/>
            <pc:sldMk cId="43093531" sldId="2229"/>
            <ac:spMk id="22" creationId="{BF5BD295-0ACD-B0AE-AA66-73ED7B379754}"/>
          </ac:spMkLst>
        </pc:spChg>
        <pc:spChg chg="add mod">
          <ac:chgData name="Aurelien Domont" userId="6da7715ce44349b3" providerId="LiveId" clId="{837ED3B5-2B93-4163-8B85-A9A154D805BA}" dt="2023-01-12T23:04:38.918" v="1310"/>
          <ac:spMkLst>
            <pc:docMk/>
            <pc:sldMk cId="43093531" sldId="2229"/>
            <ac:spMk id="23" creationId="{E9D1F1D5-A6E2-2B82-45F4-23EF4D814ABF}"/>
          </ac:spMkLst>
        </pc:spChg>
        <pc:spChg chg="add mod">
          <ac:chgData name="Aurelien Domont" userId="6da7715ce44349b3" providerId="LiveId" clId="{837ED3B5-2B93-4163-8B85-A9A154D805BA}" dt="2023-01-12T23:04:38.918" v="1310"/>
          <ac:spMkLst>
            <pc:docMk/>
            <pc:sldMk cId="43093531" sldId="2229"/>
            <ac:spMk id="24" creationId="{3571F289-1E89-F16E-1AED-8C437E12AB0D}"/>
          </ac:spMkLst>
        </pc:spChg>
        <pc:spChg chg="add mod">
          <ac:chgData name="Aurelien Domont" userId="6da7715ce44349b3" providerId="LiveId" clId="{837ED3B5-2B93-4163-8B85-A9A154D805BA}" dt="2023-01-12T23:04:38.918" v="1310"/>
          <ac:spMkLst>
            <pc:docMk/>
            <pc:sldMk cId="43093531" sldId="2229"/>
            <ac:spMk id="25" creationId="{1A88289D-32D2-4595-B10B-8DAF8922D4CE}"/>
          </ac:spMkLst>
        </pc:spChg>
        <pc:spChg chg="add mod">
          <ac:chgData name="Aurelien Domont" userId="6da7715ce44349b3" providerId="LiveId" clId="{837ED3B5-2B93-4163-8B85-A9A154D805BA}" dt="2023-01-12T23:04:38.918" v="1310"/>
          <ac:spMkLst>
            <pc:docMk/>
            <pc:sldMk cId="43093531" sldId="2229"/>
            <ac:spMk id="26" creationId="{30B6D0A9-E6A3-B367-5DD4-93B94FB333BD}"/>
          </ac:spMkLst>
        </pc:spChg>
        <pc:spChg chg="add mod">
          <ac:chgData name="Aurelien Domont" userId="6da7715ce44349b3" providerId="LiveId" clId="{837ED3B5-2B93-4163-8B85-A9A154D805BA}" dt="2023-01-12T23:04:38.918" v="1310"/>
          <ac:spMkLst>
            <pc:docMk/>
            <pc:sldMk cId="43093531" sldId="2229"/>
            <ac:spMk id="27" creationId="{637CCC2E-9FAF-1401-1B62-3B8B063DF582}"/>
          </ac:spMkLst>
        </pc:spChg>
        <pc:spChg chg="add mod">
          <ac:chgData name="Aurelien Domont" userId="6da7715ce44349b3" providerId="LiveId" clId="{837ED3B5-2B93-4163-8B85-A9A154D805BA}" dt="2023-01-12T23:04:38.918" v="1310"/>
          <ac:spMkLst>
            <pc:docMk/>
            <pc:sldMk cId="43093531" sldId="2229"/>
            <ac:spMk id="28" creationId="{602E80CB-A469-9FAA-2DB8-FCB6358DDAE3}"/>
          </ac:spMkLst>
        </pc:spChg>
        <pc:spChg chg="add mod">
          <ac:chgData name="Aurelien Domont" userId="6da7715ce44349b3" providerId="LiveId" clId="{837ED3B5-2B93-4163-8B85-A9A154D805BA}" dt="2023-01-12T23:04:38.918" v="1310"/>
          <ac:spMkLst>
            <pc:docMk/>
            <pc:sldMk cId="43093531" sldId="2229"/>
            <ac:spMk id="29" creationId="{89E8783D-0CEC-AE53-92A1-4CBBBC380FD6}"/>
          </ac:spMkLst>
        </pc:spChg>
        <pc:spChg chg="add mod">
          <ac:chgData name="Aurelien Domont" userId="6da7715ce44349b3" providerId="LiveId" clId="{837ED3B5-2B93-4163-8B85-A9A154D805BA}" dt="2023-01-12T23:04:38.918" v="1310"/>
          <ac:spMkLst>
            <pc:docMk/>
            <pc:sldMk cId="43093531" sldId="2229"/>
            <ac:spMk id="30" creationId="{08FB663E-FD9B-09CD-0DF4-1C88D599311D}"/>
          </ac:spMkLst>
        </pc:spChg>
        <pc:spChg chg="add mod">
          <ac:chgData name="Aurelien Domont" userId="6da7715ce44349b3" providerId="LiveId" clId="{837ED3B5-2B93-4163-8B85-A9A154D805BA}" dt="2023-01-12T23:04:38.918" v="1310"/>
          <ac:spMkLst>
            <pc:docMk/>
            <pc:sldMk cId="43093531" sldId="2229"/>
            <ac:spMk id="31" creationId="{74F9C3F2-96CD-E0E2-5283-47282F446ED0}"/>
          </ac:spMkLst>
        </pc:spChg>
        <pc:spChg chg="add mod">
          <ac:chgData name="Aurelien Domont" userId="6da7715ce44349b3" providerId="LiveId" clId="{837ED3B5-2B93-4163-8B85-A9A154D805BA}" dt="2023-01-12T23:04:38.918" v="1310"/>
          <ac:spMkLst>
            <pc:docMk/>
            <pc:sldMk cId="43093531" sldId="2229"/>
            <ac:spMk id="32" creationId="{EE739D0C-1D8A-0C54-74CA-E7F671882C55}"/>
          </ac:spMkLst>
        </pc:spChg>
        <pc:spChg chg="add mod">
          <ac:chgData name="Aurelien Domont" userId="6da7715ce44349b3" providerId="LiveId" clId="{837ED3B5-2B93-4163-8B85-A9A154D805BA}" dt="2023-01-12T23:04:38.918" v="1310"/>
          <ac:spMkLst>
            <pc:docMk/>
            <pc:sldMk cId="43093531" sldId="2229"/>
            <ac:spMk id="33" creationId="{C5E721A6-5F25-17DB-9417-9B7E6C948B56}"/>
          </ac:spMkLst>
        </pc:spChg>
        <pc:spChg chg="add mod">
          <ac:chgData name="Aurelien Domont" userId="6da7715ce44349b3" providerId="LiveId" clId="{837ED3B5-2B93-4163-8B85-A9A154D805BA}" dt="2023-01-12T23:04:38.918" v="1310"/>
          <ac:spMkLst>
            <pc:docMk/>
            <pc:sldMk cId="43093531" sldId="2229"/>
            <ac:spMk id="34" creationId="{2450E9E3-28CA-FC75-CF68-FCA97D19BD48}"/>
          </ac:spMkLst>
        </pc:spChg>
        <pc:spChg chg="del mod">
          <ac:chgData name="Aurelien Domont" userId="6da7715ce44349b3" providerId="LiveId" clId="{837ED3B5-2B93-4163-8B85-A9A154D805BA}" dt="2023-01-12T23:04:38.549" v="1309" actId="478"/>
          <ac:spMkLst>
            <pc:docMk/>
            <pc:sldMk cId="43093531" sldId="2229"/>
            <ac:spMk id="44" creationId="{B37241D5-D790-45E8-BF55-A1BE78BE73CE}"/>
          </ac:spMkLst>
        </pc:spChg>
        <pc:spChg chg="del">
          <ac:chgData name="Aurelien Domont" userId="6da7715ce44349b3" providerId="LiveId" clId="{837ED3B5-2B93-4163-8B85-A9A154D805BA}" dt="2023-01-12T23:04:38.549" v="1309" actId="478"/>
          <ac:spMkLst>
            <pc:docMk/>
            <pc:sldMk cId="43093531" sldId="2229"/>
            <ac:spMk id="46" creationId="{ECF957D7-D8F3-458B-821C-47577E93E4F6}"/>
          </ac:spMkLst>
        </pc:spChg>
        <pc:picChg chg="add mod">
          <ac:chgData name="Aurelien Domont" userId="6da7715ce44349b3" providerId="LiveId" clId="{837ED3B5-2B93-4163-8B85-A9A154D805BA}" dt="2023-01-12T23:04:38.918" v="1310"/>
          <ac:picMkLst>
            <pc:docMk/>
            <pc:sldMk cId="43093531" sldId="2229"/>
            <ac:picMk id="35" creationId="{366E577C-7704-1273-DFEF-3B75D78032CB}"/>
          </ac:picMkLst>
        </pc:picChg>
        <pc:picChg chg="add mod">
          <ac:chgData name="Aurelien Domont" userId="6da7715ce44349b3" providerId="LiveId" clId="{837ED3B5-2B93-4163-8B85-A9A154D805BA}" dt="2023-01-12T23:04:38.918" v="1310"/>
          <ac:picMkLst>
            <pc:docMk/>
            <pc:sldMk cId="43093531" sldId="2229"/>
            <ac:picMk id="36" creationId="{6A9B682C-1741-2AA6-B98F-1F808FE925BC}"/>
          </ac:picMkLst>
        </pc:picChg>
        <pc:picChg chg="add mod">
          <ac:chgData name="Aurelien Domont" userId="6da7715ce44349b3" providerId="LiveId" clId="{837ED3B5-2B93-4163-8B85-A9A154D805BA}" dt="2023-01-12T23:04:38.918" v="1310"/>
          <ac:picMkLst>
            <pc:docMk/>
            <pc:sldMk cId="43093531" sldId="2229"/>
            <ac:picMk id="37" creationId="{67445EE8-2DCA-3260-D0AA-CEFBDCD3D838}"/>
          </ac:picMkLst>
        </pc:picChg>
        <pc:cxnChg chg="del">
          <ac:chgData name="Aurelien Domont" userId="6da7715ce44349b3" providerId="LiveId" clId="{837ED3B5-2B93-4163-8B85-A9A154D805BA}" dt="2023-01-12T23:04:38.549" v="1309" actId="478"/>
          <ac:cxnSpMkLst>
            <pc:docMk/>
            <pc:sldMk cId="43093531" sldId="2229"/>
            <ac:cxnSpMk id="9" creationId="{938E2F11-EEE6-4CE3-AA18-0A0EFEAFC83C}"/>
          </ac:cxnSpMkLst>
        </pc:cxnChg>
        <pc:cxnChg chg="del">
          <ac:chgData name="Aurelien Domont" userId="6da7715ce44349b3" providerId="LiveId" clId="{837ED3B5-2B93-4163-8B85-A9A154D805BA}" dt="2023-01-12T23:04:38.549" v="1309" actId="478"/>
          <ac:cxnSpMkLst>
            <pc:docMk/>
            <pc:sldMk cId="43093531" sldId="2229"/>
            <ac:cxnSpMk id="14" creationId="{BD538E77-947C-4FAE-B4B2-3DD1EF8F7624}"/>
          </ac:cxnSpMkLst>
        </pc:cxnChg>
        <pc:cxnChg chg="add mod">
          <ac:chgData name="Aurelien Domont" userId="6da7715ce44349b3" providerId="LiveId" clId="{837ED3B5-2B93-4163-8B85-A9A154D805BA}" dt="2023-01-12T23:04:38.918" v="1310"/>
          <ac:cxnSpMkLst>
            <pc:docMk/>
            <pc:sldMk cId="43093531" sldId="2229"/>
            <ac:cxnSpMk id="19" creationId="{859962B3-B67D-00CE-64E4-0D10DC7EB883}"/>
          </ac:cxnSpMkLst>
        </pc:cxnChg>
        <pc:cxnChg chg="add mod">
          <ac:chgData name="Aurelien Domont" userId="6da7715ce44349b3" providerId="LiveId" clId="{837ED3B5-2B93-4163-8B85-A9A154D805BA}" dt="2023-01-12T23:04:38.918" v="1310"/>
          <ac:cxnSpMkLst>
            <pc:docMk/>
            <pc:sldMk cId="43093531" sldId="2229"/>
            <ac:cxnSpMk id="21" creationId="{9B523359-B2FF-4E79-2A75-0E47351DE678}"/>
          </ac:cxnSpMkLst>
        </pc:cxnChg>
        <pc:cxnChg chg="del">
          <ac:chgData name="Aurelien Domont" userId="6da7715ce44349b3" providerId="LiveId" clId="{837ED3B5-2B93-4163-8B85-A9A154D805BA}" dt="2023-01-12T23:04:38.549" v="1309" actId="478"/>
          <ac:cxnSpMkLst>
            <pc:docMk/>
            <pc:sldMk cId="43093531" sldId="2229"/>
            <ac:cxnSpMk id="45" creationId="{B4F81B7A-6305-4E8C-BB6C-F5EA082CC1F4}"/>
          </ac:cxnSpMkLst>
        </pc:cxnChg>
      </pc:sldChg>
      <pc:sldChg chg="addSp delSp modSp add mod ord">
        <pc:chgData name="Aurelien Domont" userId="6da7715ce44349b3" providerId="LiveId" clId="{837ED3B5-2B93-4163-8B85-A9A154D805BA}" dt="2021-08-05T01:07:53.713" v="1110"/>
        <pc:sldMkLst>
          <pc:docMk/>
          <pc:sldMk cId="4162893590" sldId="2230"/>
        </pc:sldMkLst>
        <pc:spChg chg="add del mod">
          <ac:chgData name="Aurelien Domont" userId="6da7715ce44349b3" providerId="LiveId" clId="{837ED3B5-2B93-4163-8B85-A9A154D805BA}" dt="2021-08-05T00:49:32.055" v="813" actId="478"/>
          <ac:spMkLst>
            <pc:docMk/>
            <pc:sldMk cId="4162893590" sldId="2230"/>
            <ac:spMk id="2" creationId="{B51C672F-E8ED-4CBE-A702-B8EDC9ACF57A}"/>
          </ac:spMkLst>
        </pc:spChg>
        <pc:spChg chg="mod">
          <ac:chgData name="Aurelien Domont" userId="6da7715ce44349b3" providerId="LiveId" clId="{837ED3B5-2B93-4163-8B85-A9A154D805BA}" dt="2021-08-05T00:51:30.883" v="870" actId="20577"/>
          <ac:spMkLst>
            <pc:docMk/>
            <pc:sldMk cId="4162893590" sldId="2230"/>
            <ac:spMk id="16" creationId="{6C2BB713-9637-4B9B-938F-E9768876782A}"/>
          </ac:spMkLst>
        </pc:spChg>
        <pc:spChg chg="del">
          <ac:chgData name="Aurelien Domont" userId="6da7715ce44349b3" providerId="LiveId" clId="{837ED3B5-2B93-4163-8B85-A9A154D805BA}" dt="2021-08-04T03:11:21.787" v="177" actId="478"/>
          <ac:spMkLst>
            <pc:docMk/>
            <pc:sldMk cId="4162893590" sldId="2230"/>
            <ac:spMk id="39" creationId="{82D871D3-3E43-4C8B-B400-AF95DF7EBACF}"/>
          </ac:spMkLst>
        </pc:spChg>
        <pc:spChg chg="del">
          <ac:chgData name="Aurelien Domont" userId="6da7715ce44349b3" providerId="LiveId" clId="{837ED3B5-2B93-4163-8B85-A9A154D805BA}" dt="2021-08-04T03:11:21.787" v="177" actId="478"/>
          <ac:spMkLst>
            <pc:docMk/>
            <pc:sldMk cId="4162893590" sldId="2230"/>
            <ac:spMk id="40" creationId="{BE66D6FD-2100-427E-B88B-E7F6D6D174CE}"/>
          </ac:spMkLst>
        </pc:spChg>
        <pc:spChg chg="del">
          <ac:chgData name="Aurelien Domont" userId="6da7715ce44349b3" providerId="LiveId" clId="{837ED3B5-2B93-4163-8B85-A9A154D805BA}" dt="2021-08-04T03:11:21.787" v="177" actId="478"/>
          <ac:spMkLst>
            <pc:docMk/>
            <pc:sldMk cId="4162893590" sldId="2230"/>
            <ac:spMk id="41" creationId="{DF4B53A2-01EB-4D6D-937B-0795B8163253}"/>
          </ac:spMkLst>
        </pc:spChg>
        <pc:spChg chg="del">
          <ac:chgData name="Aurelien Domont" userId="6da7715ce44349b3" providerId="LiveId" clId="{837ED3B5-2B93-4163-8B85-A9A154D805BA}" dt="2021-08-04T03:11:21.787" v="177" actId="478"/>
          <ac:spMkLst>
            <pc:docMk/>
            <pc:sldMk cId="4162893590" sldId="2230"/>
            <ac:spMk id="59" creationId="{77C4986A-501F-49B6-868B-8E0D429328E8}"/>
          </ac:spMkLst>
        </pc:spChg>
        <pc:spChg chg="del">
          <ac:chgData name="Aurelien Domont" userId="6da7715ce44349b3" providerId="LiveId" clId="{837ED3B5-2B93-4163-8B85-A9A154D805BA}" dt="2021-08-04T03:11:21.787" v="177" actId="478"/>
          <ac:spMkLst>
            <pc:docMk/>
            <pc:sldMk cId="4162893590" sldId="2230"/>
            <ac:spMk id="60" creationId="{75FC6706-32AF-4E80-A03B-DABA9C6837E1}"/>
          </ac:spMkLst>
        </pc:spChg>
        <pc:spChg chg="del">
          <ac:chgData name="Aurelien Domont" userId="6da7715ce44349b3" providerId="LiveId" clId="{837ED3B5-2B93-4163-8B85-A9A154D805BA}" dt="2021-08-04T03:11:21.787" v="177" actId="478"/>
          <ac:spMkLst>
            <pc:docMk/>
            <pc:sldMk cId="4162893590" sldId="2230"/>
            <ac:spMk id="61" creationId="{470E58F3-3DF4-4A3B-9ABC-5D8EA4B37C71}"/>
          </ac:spMkLst>
        </pc:spChg>
        <pc:spChg chg="del">
          <ac:chgData name="Aurelien Domont" userId="6da7715ce44349b3" providerId="LiveId" clId="{837ED3B5-2B93-4163-8B85-A9A154D805BA}" dt="2021-08-04T03:11:21.787" v="177" actId="478"/>
          <ac:spMkLst>
            <pc:docMk/>
            <pc:sldMk cId="4162893590" sldId="2230"/>
            <ac:spMk id="62" creationId="{D418F7C2-F8DF-4C80-BBCB-5B28A7641956}"/>
          </ac:spMkLst>
        </pc:spChg>
        <pc:spChg chg="del">
          <ac:chgData name="Aurelien Domont" userId="6da7715ce44349b3" providerId="LiveId" clId="{837ED3B5-2B93-4163-8B85-A9A154D805BA}" dt="2021-08-04T03:11:21.787" v="177" actId="478"/>
          <ac:spMkLst>
            <pc:docMk/>
            <pc:sldMk cId="4162893590" sldId="2230"/>
            <ac:spMk id="63" creationId="{AACE2542-3AB2-4919-A686-612D279DA965}"/>
          </ac:spMkLst>
        </pc:spChg>
        <pc:spChg chg="del">
          <ac:chgData name="Aurelien Domont" userId="6da7715ce44349b3" providerId="LiveId" clId="{837ED3B5-2B93-4163-8B85-A9A154D805BA}" dt="2021-08-04T03:11:21.787" v="177" actId="478"/>
          <ac:spMkLst>
            <pc:docMk/>
            <pc:sldMk cId="4162893590" sldId="2230"/>
            <ac:spMk id="64" creationId="{48BA92E7-9ED8-4E72-9F1C-F2DEF838E461}"/>
          </ac:spMkLst>
        </pc:spChg>
        <pc:spChg chg="del">
          <ac:chgData name="Aurelien Domont" userId="6da7715ce44349b3" providerId="LiveId" clId="{837ED3B5-2B93-4163-8B85-A9A154D805BA}" dt="2021-08-04T03:11:21.787" v="177" actId="478"/>
          <ac:spMkLst>
            <pc:docMk/>
            <pc:sldMk cId="4162893590" sldId="2230"/>
            <ac:spMk id="65" creationId="{DD2A0D6C-8D00-4EE1-BA77-D646EC028E8F}"/>
          </ac:spMkLst>
        </pc:spChg>
        <pc:spChg chg="del">
          <ac:chgData name="Aurelien Domont" userId="6da7715ce44349b3" providerId="LiveId" clId="{837ED3B5-2B93-4163-8B85-A9A154D805BA}" dt="2021-08-04T03:11:21.787" v="177" actId="478"/>
          <ac:spMkLst>
            <pc:docMk/>
            <pc:sldMk cId="4162893590" sldId="2230"/>
            <ac:spMk id="66" creationId="{72BFA308-394F-42E0-89BF-BBB3DE65B748}"/>
          </ac:spMkLst>
        </pc:spChg>
        <pc:graphicFrameChg chg="del">
          <ac:chgData name="Aurelien Domont" userId="6da7715ce44349b3" providerId="LiveId" clId="{837ED3B5-2B93-4163-8B85-A9A154D805BA}" dt="2021-08-04T03:11:18.878" v="176" actId="478"/>
          <ac:graphicFrameMkLst>
            <pc:docMk/>
            <pc:sldMk cId="4162893590" sldId="2230"/>
            <ac:graphicFrameMk id="38" creationId="{D80FFF2E-1CFA-4B6F-9738-3C9DC7F30FC7}"/>
          </ac:graphicFrameMkLst>
        </pc:graphicFrameChg>
        <pc:picChg chg="add mod">
          <ac:chgData name="Aurelien Domont" userId="6da7715ce44349b3" providerId="LiveId" clId="{837ED3B5-2B93-4163-8B85-A9A154D805BA}" dt="2021-08-05T00:50:19.141" v="821" actId="1440"/>
          <ac:picMkLst>
            <pc:docMk/>
            <pc:sldMk cId="4162893590" sldId="2230"/>
            <ac:picMk id="5" creationId="{9639206E-1E34-4EA9-9A19-C076A706E053}"/>
          </ac:picMkLst>
        </pc:picChg>
      </pc:sldChg>
      <pc:sldChg chg="modSp add del mod">
        <pc:chgData name="Aurelien Domont" userId="6da7715ce44349b3" providerId="LiveId" clId="{837ED3B5-2B93-4163-8B85-A9A154D805BA}" dt="2023-01-12T23:12:09.994" v="1335" actId="47"/>
        <pc:sldMkLst>
          <pc:docMk/>
          <pc:sldMk cId="4001351399" sldId="2231"/>
        </pc:sldMkLst>
        <pc:spChg chg="mod">
          <ac:chgData name="Aurelien Domont" userId="6da7715ce44349b3" providerId="LiveId" clId="{837ED3B5-2B93-4163-8B85-A9A154D805BA}" dt="2021-08-04T03:16:34.776" v="214" actId="14100"/>
          <ac:spMkLst>
            <pc:docMk/>
            <pc:sldMk cId="4001351399" sldId="2231"/>
            <ac:spMk id="17" creationId="{2302F4AE-CE77-436B-A364-9D9FC8BC6C5A}"/>
          </ac:spMkLst>
        </pc:spChg>
      </pc:sldChg>
      <pc:sldChg chg="modSp add del mod">
        <pc:chgData name="Aurelien Domont" userId="6da7715ce44349b3" providerId="LiveId" clId="{837ED3B5-2B93-4163-8B85-A9A154D805BA}" dt="2021-08-05T00:58:32.605" v="1014" actId="47"/>
        <pc:sldMkLst>
          <pc:docMk/>
          <pc:sldMk cId="2913196747" sldId="2232"/>
        </pc:sldMkLst>
        <pc:spChg chg="mod">
          <ac:chgData name="Aurelien Domont" userId="6da7715ce44349b3" providerId="LiveId" clId="{837ED3B5-2B93-4163-8B85-A9A154D805BA}" dt="2021-08-05T00:53:08.402" v="912" actId="20577"/>
          <ac:spMkLst>
            <pc:docMk/>
            <pc:sldMk cId="2913196747" sldId="2232"/>
            <ac:spMk id="16" creationId="{6C2BB713-9637-4B9B-938F-E9768876782A}"/>
          </ac:spMkLst>
        </pc:spChg>
      </pc:sldChg>
      <pc:sldChg chg="addSp delSp modSp add mod">
        <pc:chgData name="Aurelien Domont" userId="6da7715ce44349b3" providerId="LiveId" clId="{837ED3B5-2B93-4163-8B85-A9A154D805BA}" dt="2021-08-05T01:34:10.325" v="1273" actId="1076"/>
        <pc:sldMkLst>
          <pc:docMk/>
          <pc:sldMk cId="926594271" sldId="2233"/>
        </pc:sldMkLst>
        <pc:spChg chg="add mod">
          <ac:chgData name="Aurelien Domont" userId="6da7715ce44349b3" providerId="LiveId" clId="{837ED3B5-2B93-4163-8B85-A9A154D805BA}" dt="2021-08-05T00:58:29.874" v="1013" actId="1035"/>
          <ac:spMkLst>
            <pc:docMk/>
            <pc:sldMk cId="926594271" sldId="2233"/>
            <ac:spMk id="5" creationId="{0550D2D2-AB65-42BC-8CA8-07D4B69E65F6}"/>
          </ac:spMkLst>
        </pc:spChg>
        <pc:spChg chg="mod">
          <ac:chgData name="Aurelien Domont" userId="6da7715ce44349b3" providerId="LiveId" clId="{837ED3B5-2B93-4163-8B85-A9A154D805BA}" dt="2021-08-05T01:09:16.430" v="1178" actId="404"/>
          <ac:spMkLst>
            <pc:docMk/>
            <pc:sldMk cId="926594271" sldId="2233"/>
            <ac:spMk id="16" creationId="{6C2BB713-9637-4B9B-938F-E9768876782A}"/>
          </ac:spMkLst>
        </pc:spChg>
        <pc:picChg chg="add del mod modCrop">
          <ac:chgData name="Aurelien Domont" userId="6da7715ce44349b3" providerId="LiveId" clId="{837ED3B5-2B93-4163-8B85-A9A154D805BA}" dt="2021-08-05T01:15:56.868" v="1252" actId="478"/>
          <ac:picMkLst>
            <pc:docMk/>
            <pc:sldMk cId="926594271" sldId="2233"/>
            <ac:picMk id="4" creationId="{09C648B4-9F7E-4546-889A-1E4AC205A0AF}"/>
          </ac:picMkLst>
        </pc:picChg>
        <pc:picChg chg="add mod">
          <ac:chgData name="Aurelien Domont" userId="6da7715ce44349b3" providerId="LiveId" clId="{837ED3B5-2B93-4163-8B85-A9A154D805BA}" dt="2021-08-05T01:34:10.325" v="1273" actId="1076"/>
          <ac:picMkLst>
            <pc:docMk/>
            <pc:sldMk cId="926594271" sldId="2233"/>
            <ac:picMk id="4" creationId="{10672D1D-794A-4DC2-9FD7-0445C100CABD}"/>
          </ac:picMkLst>
        </pc:picChg>
        <pc:picChg chg="add del mod">
          <ac:chgData name="Aurelien Domont" userId="6da7715ce44349b3" providerId="LiveId" clId="{837ED3B5-2B93-4163-8B85-A9A154D805BA}" dt="2021-08-05T01:33:57.306" v="1265" actId="478"/>
          <ac:picMkLst>
            <pc:docMk/>
            <pc:sldMk cId="926594271" sldId="2233"/>
            <ac:picMk id="7" creationId="{6690CB1D-1F2F-4F3A-837B-C04ECF62DBCF}"/>
          </ac:picMkLst>
        </pc:picChg>
      </pc:sldChg>
      <pc:sldChg chg="modSp add del mod">
        <pc:chgData name="Aurelien Domont" userId="6da7715ce44349b3" providerId="LiveId" clId="{837ED3B5-2B93-4163-8B85-A9A154D805BA}" dt="2023-01-12T23:12:33.754" v="1355" actId="47"/>
        <pc:sldMkLst>
          <pc:docMk/>
          <pc:sldMk cId="567194634" sldId="2234"/>
        </pc:sldMkLst>
        <pc:spChg chg="mod">
          <ac:chgData name="Aurelien Domont" userId="6da7715ce44349b3" providerId="LiveId" clId="{837ED3B5-2B93-4163-8B85-A9A154D805BA}" dt="2021-08-04T03:24:41.672" v="476" actId="1036"/>
          <ac:spMkLst>
            <pc:docMk/>
            <pc:sldMk cId="567194634" sldId="2234"/>
            <ac:spMk id="17" creationId="{2302F4AE-CE77-436B-A364-9D9FC8BC6C5A}"/>
          </ac:spMkLst>
        </pc:spChg>
      </pc:sldChg>
      <pc:sldChg chg="modSp add del mod">
        <pc:chgData name="Aurelien Domont" userId="6da7715ce44349b3" providerId="LiveId" clId="{837ED3B5-2B93-4163-8B85-A9A154D805BA}" dt="2023-01-12T23:12:46.122" v="1370" actId="47"/>
        <pc:sldMkLst>
          <pc:docMk/>
          <pc:sldMk cId="3203903634" sldId="2235"/>
        </pc:sldMkLst>
        <pc:spChg chg="mod">
          <ac:chgData name="Aurelien Domont" userId="6da7715ce44349b3" providerId="LiveId" clId="{837ED3B5-2B93-4163-8B85-A9A154D805BA}" dt="2021-08-04T03:27:51.826" v="528" actId="1035"/>
          <ac:spMkLst>
            <pc:docMk/>
            <pc:sldMk cId="3203903634" sldId="2235"/>
            <ac:spMk id="17" creationId="{2302F4AE-CE77-436B-A364-9D9FC8BC6C5A}"/>
          </ac:spMkLst>
        </pc:spChg>
      </pc:sldChg>
      <pc:sldChg chg="modSp add del mod">
        <pc:chgData name="Aurelien Domont" userId="6da7715ce44349b3" providerId="LiveId" clId="{837ED3B5-2B93-4163-8B85-A9A154D805BA}" dt="2023-01-12T23:12:59.956" v="1384" actId="47"/>
        <pc:sldMkLst>
          <pc:docMk/>
          <pc:sldMk cId="1850513730" sldId="2236"/>
        </pc:sldMkLst>
        <pc:spChg chg="mod">
          <ac:chgData name="Aurelien Domont" userId="6da7715ce44349b3" providerId="LiveId" clId="{837ED3B5-2B93-4163-8B85-A9A154D805BA}" dt="2021-08-04T03:27:59.637" v="552" actId="1035"/>
          <ac:spMkLst>
            <pc:docMk/>
            <pc:sldMk cId="1850513730" sldId="2236"/>
            <ac:spMk id="17" creationId="{2302F4AE-CE77-436B-A364-9D9FC8BC6C5A}"/>
          </ac:spMkLst>
        </pc:spChg>
      </pc:sldChg>
      <pc:sldChg chg="modSp add del mod">
        <pc:chgData name="Aurelien Domont" userId="6da7715ce44349b3" providerId="LiveId" clId="{837ED3B5-2B93-4163-8B85-A9A154D805BA}" dt="2023-01-12T23:13:19.327" v="1411" actId="47"/>
        <pc:sldMkLst>
          <pc:docMk/>
          <pc:sldMk cId="3648245117" sldId="2237"/>
        </pc:sldMkLst>
        <pc:spChg chg="mod">
          <ac:chgData name="Aurelien Domont" userId="6da7715ce44349b3" providerId="LiveId" clId="{837ED3B5-2B93-4163-8B85-A9A154D805BA}" dt="2021-08-04T03:28:06.644" v="587" actId="1036"/>
          <ac:spMkLst>
            <pc:docMk/>
            <pc:sldMk cId="3648245117" sldId="2237"/>
            <ac:spMk id="17" creationId="{2302F4AE-CE77-436B-A364-9D9FC8BC6C5A}"/>
          </ac:spMkLst>
        </pc:spChg>
      </pc:sldChg>
      <pc:sldChg chg="delSp modSp add del mod">
        <pc:chgData name="Aurelien Domont" userId="6da7715ce44349b3" providerId="LiveId" clId="{837ED3B5-2B93-4163-8B85-A9A154D805BA}" dt="2021-08-05T01:02:02.094" v="1049" actId="47"/>
        <pc:sldMkLst>
          <pc:docMk/>
          <pc:sldMk cId="4102234308" sldId="2238"/>
        </pc:sldMkLst>
        <pc:spChg chg="mod">
          <ac:chgData name="Aurelien Domont" userId="6da7715ce44349b3" providerId="LiveId" clId="{837ED3B5-2B93-4163-8B85-A9A154D805BA}" dt="2021-08-04T03:35:44.419" v="688"/>
          <ac:spMkLst>
            <pc:docMk/>
            <pc:sldMk cId="4102234308" sldId="2238"/>
            <ac:spMk id="16" creationId="{6C2BB713-9637-4B9B-938F-E9768876782A}"/>
          </ac:spMkLst>
        </pc:spChg>
        <pc:spChg chg="del">
          <ac:chgData name="Aurelien Domont" userId="6da7715ce44349b3" providerId="LiveId" clId="{837ED3B5-2B93-4163-8B85-A9A154D805BA}" dt="2021-08-04T03:32:04.666" v="617" actId="478"/>
          <ac:spMkLst>
            <pc:docMk/>
            <pc:sldMk cId="4102234308" sldId="2238"/>
            <ac:spMk id="39" creationId="{82D871D3-3E43-4C8B-B400-AF95DF7EBACF}"/>
          </ac:spMkLst>
        </pc:spChg>
        <pc:spChg chg="del">
          <ac:chgData name="Aurelien Domont" userId="6da7715ce44349b3" providerId="LiveId" clId="{837ED3B5-2B93-4163-8B85-A9A154D805BA}" dt="2021-08-04T03:32:04.666" v="617" actId="478"/>
          <ac:spMkLst>
            <pc:docMk/>
            <pc:sldMk cId="4102234308" sldId="2238"/>
            <ac:spMk id="40" creationId="{BE66D6FD-2100-427E-B88B-E7F6D6D174CE}"/>
          </ac:spMkLst>
        </pc:spChg>
        <pc:spChg chg="del">
          <ac:chgData name="Aurelien Domont" userId="6da7715ce44349b3" providerId="LiveId" clId="{837ED3B5-2B93-4163-8B85-A9A154D805BA}" dt="2021-08-04T03:32:04.666" v="617" actId="478"/>
          <ac:spMkLst>
            <pc:docMk/>
            <pc:sldMk cId="4102234308" sldId="2238"/>
            <ac:spMk id="41" creationId="{DF4B53A2-01EB-4D6D-937B-0795B8163253}"/>
          </ac:spMkLst>
        </pc:spChg>
        <pc:spChg chg="del">
          <ac:chgData name="Aurelien Domont" userId="6da7715ce44349b3" providerId="LiveId" clId="{837ED3B5-2B93-4163-8B85-A9A154D805BA}" dt="2021-08-04T03:32:04.666" v="617" actId="478"/>
          <ac:spMkLst>
            <pc:docMk/>
            <pc:sldMk cId="4102234308" sldId="2238"/>
            <ac:spMk id="59" creationId="{77C4986A-501F-49B6-868B-8E0D429328E8}"/>
          </ac:spMkLst>
        </pc:spChg>
        <pc:spChg chg="del">
          <ac:chgData name="Aurelien Domont" userId="6da7715ce44349b3" providerId="LiveId" clId="{837ED3B5-2B93-4163-8B85-A9A154D805BA}" dt="2021-08-04T03:32:04.666" v="617" actId="478"/>
          <ac:spMkLst>
            <pc:docMk/>
            <pc:sldMk cId="4102234308" sldId="2238"/>
            <ac:spMk id="60" creationId="{75FC6706-32AF-4E80-A03B-DABA9C6837E1}"/>
          </ac:spMkLst>
        </pc:spChg>
        <pc:spChg chg="del">
          <ac:chgData name="Aurelien Domont" userId="6da7715ce44349b3" providerId="LiveId" clId="{837ED3B5-2B93-4163-8B85-A9A154D805BA}" dt="2021-08-04T03:32:04.666" v="617" actId="478"/>
          <ac:spMkLst>
            <pc:docMk/>
            <pc:sldMk cId="4102234308" sldId="2238"/>
            <ac:spMk id="61" creationId="{470E58F3-3DF4-4A3B-9ABC-5D8EA4B37C71}"/>
          </ac:spMkLst>
        </pc:spChg>
        <pc:spChg chg="del">
          <ac:chgData name="Aurelien Domont" userId="6da7715ce44349b3" providerId="LiveId" clId="{837ED3B5-2B93-4163-8B85-A9A154D805BA}" dt="2021-08-04T03:32:04.666" v="617" actId="478"/>
          <ac:spMkLst>
            <pc:docMk/>
            <pc:sldMk cId="4102234308" sldId="2238"/>
            <ac:spMk id="62" creationId="{D418F7C2-F8DF-4C80-BBCB-5B28A7641956}"/>
          </ac:spMkLst>
        </pc:spChg>
        <pc:spChg chg="del">
          <ac:chgData name="Aurelien Domont" userId="6da7715ce44349b3" providerId="LiveId" clId="{837ED3B5-2B93-4163-8B85-A9A154D805BA}" dt="2021-08-04T03:32:04.666" v="617" actId="478"/>
          <ac:spMkLst>
            <pc:docMk/>
            <pc:sldMk cId="4102234308" sldId="2238"/>
            <ac:spMk id="63" creationId="{AACE2542-3AB2-4919-A686-612D279DA965}"/>
          </ac:spMkLst>
        </pc:spChg>
        <pc:spChg chg="del">
          <ac:chgData name="Aurelien Domont" userId="6da7715ce44349b3" providerId="LiveId" clId="{837ED3B5-2B93-4163-8B85-A9A154D805BA}" dt="2021-08-04T03:32:04.666" v="617" actId="478"/>
          <ac:spMkLst>
            <pc:docMk/>
            <pc:sldMk cId="4102234308" sldId="2238"/>
            <ac:spMk id="64" creationId="{48BA92E7-9ED8-4E72-9F1C-F2DEF838E461}"/>
          </ac:spMkLst>
        </pc:spChg>
        <pc:spChg chg="del">
          <ac:chgData name="Aurelien Domont" userId="6da7715ce44349b3" providerId="LiveId" clId="{837ED3B5-2B93-4163-8B85-A9A154D805BA}" dt="2021-08-04T03:32:04.666" v="617" actId="478"/>
          <ac:spMkLst>
            <pc:docMk/>
            <pc:sldMk cId="4102234308" sldId="2238"/>
            <ac:spMk id="65" creationId="{DD2A0D6C-8D00-4EE1-BA77-D646EC028E8F}"/>
          </ac:spMkLst>
        </pc:spChg>
        <pc:spChg chg="del">
          <ac:chgData name="Aurelien Domont" userId="6da7715ce44349b3" providerId="LiveId" clId="{837ED3B5-2B93-4163-8B85-A9A154D805BA}" dt="2021-08-04T03:32:04.666" v="617" actId="478"/>
          <ac:spMkLst>
            <pc:docMk/>
            <pc:sldMk cId="4102234308" sldId="2238"/>
            <ac:spMk id="66" creationId="{72BFA308-394F-42E0-89BF-BBB3DE65B748}"/>
          </ac:spMkLst>
        </pc:spChg>
        <pc:graphicFrameChg chg="del">
          <ac:chgData name="Aurelien Domont" userId="6da7715ce44349b3" providerId="LiveId" clId="{837ED3B5-2B93-4163-8B85-A9A154D805BA}" dt="2021-08-04T03:32:04.666" v="617" actId="478"/>
          <ac:graphicFrameMkLst>
            <pc:docMk/>
            <pc:sldMk cId="4102234308" sldId="2238"/>
            <ac:graphicFrameMk id="38" creationId="{D80FFF2E-1CFA-4B6F-9738-3C9DC7F30FC7}"/>
          </ac:graphicFrameMkLst>
        </pc:graphicFrameChg>
      </pc:sldChg>
      <pc:sldChg chg="modSp add del mod">
        <pc:chgData name="Aurelien Domont" userId="6da7715ce44349b3" providerId="LiveId" clId="{837ED3B5-2B93-4163-8B85-A9A154D805BA}" dt="2021-08-05T01:04:09.080" v="1076" actId="47"/>
        <pc:sldMkLst>
          <pc:docMk/>
          <pc:sldMk cId="382339326" sldId="2239"/>
        </pc:sldMkLst>
        <pc:spChg chg="mod">
          <ac:chgData name="Aurelien Domont" userId="6da7715ce44349b3" providerId="LiveId" clId="{837ED3B5-2B93-4163-8B85-A9A154D805BA}" dt="2021-08-04T03:32:14.898" v="628" actId="20577"/>
          <ac:spMkLst>
            <pc:docMk/>
            <pc:sldMk cId="382339326" sldId="2239"/>
            <ac:spMk id="16" creationId="{6C2BB713-9637-4B9B-938F-E9768876782A}"/>
          </ac:spMkLst>
        </pc:spChg>
      </pc:sldChg>
      <pc:sldChg chg="modSp add del mod">
        <pc:chgData name="Aurelien Domont" userId="6da7715ce44349b3" providerId="LiveId" clId="{837ED3B5-2B93-4163-8B85-A9A154D805BA}" dt="2021-08-05T01:05:13.214" v="1092" actId="47"/>
        <pc:sldMkLst>
          <pc:docMk/>
          <pc:sldMk cId="2342951513" sldId="2240"/>
        </pc:sldMkLst>
        <pc:spChg chg="mod">
          <ac:chgData name="Aurelien Domont" userId="6da7715ce44349b3" providerId="LiveId" clId="{837ED3B5-2B93-4163-8B85-A9A154D805BA}" dt="2021-08-04T03:35:36.079" v="687"/>
          <ac:spMkLst>
            <pc:docMk/>
            <pc:sldMk cId="2342951513" sldId="2240"/>
            <ac:spMk id="16" creationId="{6C2BB713-9637-4B9B-938F-E9768876782A}"/>
          </ac:spMkLst>
        </pc:spChg>
      </pc:sldChg>
      <pc:sldChg chg="modSp add del mod">
        <pc:chgData name="Aurelien Domont" userId="6da7715ce44349b3" providerId="LiveId" clId="{837ED3B5-2B93-4163-8B85-A9A154D805BA}" dt="2021-08-05T01:05:15.997" v="1093" actId="47"/>
        <pc:sldMkLst>
          <pc:docMk/>
          <pc:sldMk cId="2161302669" sldId="2241"/>
        </pc:sldMkLst>
        <pc:spChg chg="mod">
          <ac:chgData name="Aurelien Domont" userId="6da7715ce44349b3" providerId="LiveId" clId="{837ED3B5-2B93-4163-8B85-A9A154D805BA}" dt="2021-08-04T03:33:23.127" v="649" actId="20577"/>
          <ac:spMkLst>
            <pc:docMk/>
            <pc:sldMk cId="2161302669" sldId="2241"/>
            <ac:spMk id="16" creationId="{6C2BB713-9637-4B9B-938F-E9768876782A}"/>
          </ac:spMkLst>
        </pc:spChg>
      </pc:sldChg>
      <pc:sldChg chg="modSp add del mod">
        <pc:chgData name="Aurelien Domont" userId="6da7715ce44349b3" providerId="LiveId" clId="{837ED3B5-2B93-4163-8B85-A9A154D805BA}" dt="2021-08-05T01:12:36.185" v="1224" actId="47"/>
        <pc:sldMkLst>
          <pc:docMk/>
          <pc:sldMk cId="3152169588" sldId="2242"/>
        </pc:sldMkLst>
        <pc:spChg chg="mod">
          <ac:chgData name="Aurelien Domont" userId="6da7715ce44349b3" providerId="LiveId" clId="{837ED3B5-2B93-4163-8B85-A9A154D805BA}" dt="2021-08-04T03:35:30.505" v="686"/>
          <ac:spMkLst>
            <pc:docMk/>
            <pc:sldMk cId="3152169588" sldId="2242"/>
            <ac:spMk id="16" creationId="{6C2BB713-9637-4B9B-938F-E9768876782A}"/>
          </ac:spMkLst>
        </pc:spChg>
      </pc:sldChg>
      <pc:sldChg chg="modSp add del mod">
        <pc:chgData name="Aurelien Domont" userId="6da7715ce44349b3" providerId="LiveId" clId="{837ED3B5-2B93-4163-8B85-A9A154D805BA}" dt="2021-08-05T01:12:37.417" v="1225" actId="47"/>
        <pc:sldMkLst>
          <pc:docMk/>
          <pc:sldMk cId="876287027" sldId="2243"/>
        </pc:sldMkLst>
        <pc:spChg chg="mod">
          <ac:chgData name="Aurelien Domont" userId="6da7715ce44349b3" providerId="LiveId" clId="{837ED3B5-2B93-4163-8B85-A9A154D805BA}" dt="2021-08-04T03:34:57.249" v="678" actId="20577"/>
          <ac:spMkLst>
            <pc:docMk/>
            <pc:sldMk cId="876287027" sldId="2243"/>
            <ac:spMk id="16" creationId="{6C2BB713-9637-4B9B-938F-E9768876782A}"/>
          </ac:spMkLst>
        </pc:spChg>
      </pc:sldChg>
      <pc:sldChg chg="modSp add del mod">
        <pc:chgData name="Aurelien Domont" userId="6da7715ce44349b3" providerId="LiveId" clId="{837ED3B5-2B93-4163-8B85-A9A154D805BA}" dt="2021-08-05T01:14:41.964" v="1246" actId="47"/>
        <pc:sldMkLst>
          <pc:docMk/>
          <pc:sldMk cId="3015801589" sldId="2244"/>
        </pc:sldMkLst>
        <pc:spChg chg="mod">
          <ac:chgData name="Aurelien Domont" userId="6da7715ce44349b3" providerId="LiveId" clId="{837ED3B5-2B93-4163-8B85-A9A154D805BA}" dt="2021-08-04T03:37:20.056" v="718"/>
          <ac:spMkLst>
            <pc:docMk/>
            <pc:sldMk cId="3015801589" sldId="2244"/>
            <ac:spMk id="16" creationId="{6C2BB713-9637-4B9B-938F-E9768876782A}"/>
          </ac:spMkLst>
        </pc:spChg>
      </pc:sldChg>
      <pc:sldChg chg="modSp add del mod">
        <pc:chgData name="Aurelien Domont" userId="6da7715ce44349b3" providerId="LiveId" clId="{837ED3B5-2B93-4163-8B85-A9A154D805BA}" dt="2021-08-05T01:14:46.074" v="1247" actId="47"/>
        <pc:sldMkLst>
          <pc:docMk/>
          <pc:sldMk cId="1193128827" sldId="2245"/>
        </pc:sldMkLst>
        <pc:spChg chg="mod">
          <ac:chgData name="Aurelien Domont" userId="6da7715ce44349b3" providerId="LiveId" clId="{837ED3B5-2B93-4163-8B85-A9A154D805BA}" dt="2021-08-04T03:36:50.502" v="715"/>
          <ac:spMkLst>
            <pc:docMk/>
            <pc:sldMk cId="1193128827" sldId="2245"/>
            <ac:spMk id="16" creationId="{6C2BB713-9637-4B9B-938F-E9768876782A}"/>
          </ac:spMkLst>
        </pc:spChg>
      </pc:sldChg>
      <pc:sldChg chg="addSp delSp modSp add mod ord">
        <pc:chgData name="Aurelien Domont" userId="6da7715ce44349b3" providerId="LiveId" clId="{837ED3B5-2B93-4163-8B85-A9A154D805BA}" dt="2021-08-05T01:38:12.682" v="1282"/>
        <pc:sldMkLst>
          <pc:docMk/>
          <pc:sldMk cId="2972229365" sldId="2246"/>
        </pc:sldMkLst>
        <pc:spChg chg="mod">
          <ac:chgData name="Aurelien Domont" userId="6da7715ce44349b3" providerId="LiveId" clId="{837ED3B5-2B93-4163-8B85-A9A154D805BA}" dt="2021-08-05T01:00:53.291" v="1041" actId="20577"/>
          <ac:spMkLst>
            <pc:docMk/>
            <pc:sldMk cId="2972229365" sldId="2246"/>
            <ac:spMk id="5" creationId="{0550D2D2-AB65-42BC-8CA8-07D4B69E65F6}"/>
          </ac:spMkLst>
        </pc:spChg>
        <pc:spChg chg="mod">
          <ac:chgData name="Aurelien Domont" userId="6da7715ce44349b3" providerId="LiveId" clId="{837ED3B5-2B93-4163-8B85-A9A154D805BA}" dt="2021-08-05T01:09:25.259" v="1179" actId="404"/>
          <ac:spMkLst>
            <pc:docMk/>
            <pc:sldMk cId="2972229365" sldId="2246"/>
            <ac:spMk id="16" creationId="{6C2BB713-9637-4B9B-938F-E9768876782A}"/>
          </ac:spMkLst>
        </pc:spChg>
        <pc:picChg chg="del">
          <ac:chgData name="Aurelien Domont" userId="6da7715ce44349b3" providerId="LiveId" clId="{837ED3B5-2B93-4163-8B85-A9A154D805BA}" dt="2021-08-05T00:59:35.324" v="1029" actId="478"/>
          <ac:picMkLst>
            <pc:docMk/>
            <pc:sldMk cId="2972229365" sldId="2246"/>
            <ac:picMk id="4" creationId="{09C648B4-9F7E-4546-889A-1E4AC205A0AF}"/>
          </ac:picMkLst>
        </pc:picChg>
        <pc:picChg chg="add mod">
          <ac:chgData name="Aurelien Domont" userId="6da7715ce44349b3" providerId="LiveId" clId="{837ED3B5-2B93-4163-8B85-A9A154D805BA}" dt="2021-08-05T01:37:57.132" v="1280" actId="962"/>
          <ac:picMkLst>
            <pc:docMk/>
            <pc:sldMk cId="2972229365" sldId="2246"/>
            <ac:picMk id="4" creationId="{BAC59A7C-3301-4F7C-A1E0-B9EE44ED2312}"/>
          </ac:picMkLst>
        </pc:picChg>
        <pc:picChg chg="add del mod">
          <ac:chgData name="Aurelien Domont" userId="6da7715ce44349b3" providerId="LiveId" clId="{837ED3B5-2B93-4163-8B85-A9A154D805BA}" dt="2021-08-05T01:01:14.040" v="1043" actId="478"/>
          <ac:picMkLst>
            <pc:docMk/>
            <pc:sldMk cId="2972229365" sldId="2246"/>
            <ac:picMk id="6" creationId="{43E15676-9E14-4151-8C7E-D2054783487B}"/>
          </ac:picMkLst>
        </pc:picChg>
        <pc:picChg chg="add del mod">
          <ac:chgData name="Aurelien Domont" userId="6da7715ce44349b3" providerId="LiveId" clId="{837ED3B5-2B93-4163-8B85-A9A154D805BA}" dt="2021-08-05T01:37:47.510" v="1274" actId="478"/>
          <ac:picMkLst>
            <pc:docMk/>
            <pc:sldMk cId="2972229365" sldId="2246"/>
            <ac:picMk id="8" creationId="{14B99AD7-9854-44EC-B8D8-BBE4047D91E3}"/>
          </ac:picMkLst>
        </pc:picChg>
      </pc:sldChg>
      <pc:sldChg chg="addSp delSp modSp add mod">
        <pc:chgData name="Aurelien Domont" userId="6da7715ce44349b3" providerId="LiveId" clId="{837ED3B5-2B93-4163-8B85-A9A154D805BA}" dt="2021-08-05T01:12:18.315" v="1214" actId="1076"/>
        <pc:sldMkLst>
          <pc:docMk/>
          <pc:sldMk cId="3418237307" sldId="2247"/>
        </pc:sldMkLst>
        <pc:spChg chg="mod">
          <ac:chgData name="Aurelien Domont" userId="6da7715ce44349b3" providerId="LiveId" clId="{837ED3B5-2B93-4163-8B85-A9A154D805BA}" dt="2021-08-05T01:05:04.617" v="1090" actId="20577"/>
          <ac:spMkLst>
            <pc:docMk/>
            <pc:sldMk cId="3418237307" sldId="2247"/>
            <ac:spMk id="5" creationId="{0550D2D2-AB65-42BC-8CA8-07D4B69E65F6}"/>
          </ac:spMkLst>
        </pc:spChg>
        <pc:spChg chg="mod">
          <ac:chgData name="Aurelien Domont" userId="6da7715ce44349b3" providerId="LiveId" clId="{837ED3B5-2B93-4163-8B85-A9A154D805BA}" dt="2021-08-05T01:09:31.778" v="1180" actId="404"/>
          <ac:spMkLst>
            <pc:docMk/>
            <pc:sldMk cId="3418237307" sldId="2247"/>
            <ac:spMk id="16" creationId="{6C2BB713-9637-4B9B-938F-E9768876782A}"/>
          </ac:spMkLst>
        </pc:spChg>
        <pc:picChg chg="del">
          <ac:chgData name="Aurelien Domont" userId="6da7715ce44349b3" providerId="LiveId" clId="{837ED3B5-2B93-4163-8B85-A9A154D805BA}" dt="2021-08-05T01:05:09.976" v="1091" actId="478"/>
          <ac:picMkLst>
            <pc:docMk/>
            <pc:sldMk cId="3418237307" sldId="2247"/>
            <ac:picMk id="4" creationId="{09C648B4-9F7E-4546-889A-1E4AC205A0AF}"/>
          </ac:picMkLst>
        </pc:picChg>
        <pc:picChg chg="add mod">
          <ac:chgData name="Aurelien Domont" userId="6da7715ce44349b3" providerId="LiveId" clId="{837ED3B5-2B93-4163-8B85-A9A154D805BA}" dt="2021-08-05T01:12:18.315" v="1214" actId="1076"/>
          <ac:picMkLst>
            <pc:docMk/>
            <pc:sldMk cId="3418237307" sldId="2247"/>
            <ac:picMk id="6" creationId="{E7235A4C-7051-4E9D-9B1B-589A163148C8}"/>
          </ac:picMkLst>
        </pc:picChg>
      </pc:sldChg>
      <pc:sldChg chg="modSp add mod ord">
        <pc:chgData name="Aurelien Domont" userId="6da7715ce44349b3" providerId="LiveId" clId="{837ED3B5-2B93-4163-8B85-A9A154D805BA}" dt="2021-08-05T01:44:56.741" v="1288"/>
        <pc:sldMkLst>
          <pc:docMk/>
          <pc:sldMk cId="263676232" sldId="2248"/>
        </pc:sldMkLst>
        <pc:spChg chg="mod">
          <ac:chgData name="Aurelien Domont" userId="6da7715ce44349b3" providerId="LiveId" clId="{837ED3B5-2B93-4163-8B85-A9A154D805BA}" dt="2021-08-05T01:09:35.266" v="1181" actId="404"/>
          <ac:spMkLst>
            <pc:docMk/>
            <pc:sldMk cId="263676232" sldId="2248"/>
            <ac:spMk id="16" creationId="{6C2BB713-9637-4B9B-938F-E9768876782A}"/>
          </ac:spMkLst>
        </pc:spChg>
        <pc:graphicFrameChg chg="mod modGraphic">
          <ac:chgData name="Aurelien Domont" userId="6da7715ce44349b3" providerId="LiveId" clId="{837ED3B5-2B93-4163-8B85-A9A154D805BA}" dt="2021-08-05T01:08:33.291" v="1174"/>
          <ac:graphicFrameMkLst>
            <pc:docMk/>
            <pc:sldMk cId="263676232" sldId="2248"/>
            <ac:graphicFrameMk id="38" creationId="{D80FFF2E-1CFA-4B6F-9738-3C9DC7F30FC7}"/>
          </ac:graphicFrameMkLst>
        </pc:graphicFrameChg>
      </pc:sldChg>
      <pc:sldChg chg="addSp delSp modSp add mod">
        <pc:chgData name="Aurelien Domont" userId="6da7715ce44349b3" providerId="LiveId" clId="{837ED3B5-2B93-4163-8B85-A9A154D805BA}" dt="2021-08-05T01:12:09.128" v="1212" actId="1440"/>
        <pc:sldMkLst>
          <pc:docMk/>
          <pc:sldMk cId="2144659112" sldId="2249"/>
        </pc:sldMkLst>
        <pc:spChg chg="mod">
          <ac:chgData name="Aurelien Domont" userId="6da7715ce44349b3" providerId="LiveId" clId="{837ED3B5-2B93-4163-8B85-A9A154D805BA}" dt="2021-08-05T01:11:37.480" v="1203" actId="20577"/>
          <ac:spMkLst>
            <pc:docMk/>
            <pc:sldMk cId="2144659112" sldId="2249"/>
            <ac:spMk id="5" creationId="{0550D2D2-AB65-42BC-8CA8-07D4B69E65F6}"/>
          </ac:spMkLst>
        </pc:spChg>
        <pc:spChg chg="mod">
          <ac:chgData name="Aurelien Domont" userId="6da7715ce44349b3" providerId="LiveId" clId="{837ED3B5-2B93-4163-8B85-A9A154D805BA}" dt="2021-08-05T01:11:15" v="1198" actId="20577"/>
          <ac:spMkLst>
            <pc:docMk/>
            <pc:sldMk cId="2144659112" sldId="2249"/>
            <ac:spMk id="16" creationId="{6C2BB713-9637-4B9B-938F-E9768876782A}"/>
          </ac:spMkLst>
        </pc:spChg>
        <pc:picChg chg="add mod">
          <ac:chgData name="Aurelien Domont" userId="6da7715ce44349b3" providerId="LiveId" clId="{837ED3B5-2B93-4163-8B85-A9A154D805BA}" dt="2021-08-05T01:12:09.128" v="1212" actId="1440"/>
          <ac:picMkLst>
            <pc:docMk/>
            <pc:sldMk cId="2144659112" sldId="2249"/>
            <ac:picMk id="4" creationId="{E6850986-3917-47A5-B8B3-AC0735C6E114}"/>
          </ac:picMkLst>
        </pc:picChg>
        <pc:picChg chg="del">
          <ac:chgData name="Aurelien Domont" userId="6da7715ce44349b3" providerId="LiveId" clId="{837ED3B5-2B93-4163-8B85-A9A154D805BA}" dt="2021-08-05T01:11:40.090" v="1204" actId="478"/>
          <ac:picMkLst>
            <pc:docMk/>
            <pc:sldMk cId="2144659112" sldId="2249"/>
            <ac:picMk id="8" creationId="{14B99AD7-9854-44EC-B8D8-BBE4047D91E3}"/>
          </ac:picMkLst>
        </pc:picChg>
      </pc:sldChg>
      <pc:sldChg chg="modSp add mod ord">
        <pc:chgData name="Aurelien Domont" userId="6da7715ce44349b3" providerId="LiveId" clId="{837ED3B5-2B93-4163-8B85-A9A154D805BA}" dt="2021-08-05T01:46:51.165" v="1290"/>
        <pc:sldMkLst>
          <pc:docMk/>
          <pc:sldMk cId="320718755" sldId="2250"/>
        </pc:sldMkLst>
        <pc:spChg chg="mod">
          <ac:chgData name="Aurelien Domont" userId="6da7715ce44349b3" providerId="LiveId" clId="{837ED3B5-2B93-4163-8B85-A9A154D805BA}" dt="2021-08-05T01:12:30.905" v="1223" actId="20577"/>
          <ac:spMkLst>
            <pc:docMk/>
            <pc:sldMk cId="320718755" sldId="2250"/>
            <ac:spMk id="16" creationId="{6C2BB713-9637-4B9B-938F-E9768876782A}"/>
          </ac:spMkLst>
        </pc:spChg>
      </pc:sldChg>
      <pc:sldChg chg="addSp delSp modSp add mod">
        <pc:chgData name="Aurelien Domont" userId="6da7715ce44349b3" providerId="LiveId" clId="{837ED3B5-2B93-4163-8B85-A9A154D805BA}" dt="2021-08-05T01:14:37.281" v="1245" actId="1076"/>
        <pc:sldMkLst>
          <pc:docMk/>
          <pc:sldMk cId="3437807892" sldId="2251"/>
        </pc:sldMkLst>
        <pc:spChg chg="mod">
          <ac:chgData name="Aurelien Domont" userId="6da7715ce44349b3" providerId="LiveId" clId="{837ED3B5-2B93-4163-8B85-A9A154D805BA}" dt="2021-08-05T01:13:37.949" v="1236" actId="20577"/>
          <ac:spMkLst>
            <pc:docMk/>
            <pc:sldMk cId="3437807892" sldId="2251"/>
            <ac:spMk id="5" creationId="{0550D2D2-AB65-42BC-8CA8-07D4B69E65F6}"/>
          </ac:spMkLst>
        </pc:spChg>
        <pc:spChg chg="mod">
          <ac:chgData name="Aurelien Domont" userId="6da7715ce44349b3" providerId="LiveId" clId="{837ED3B5-2B93-4163-8B85-A9A154D805BA}" dt="2021-08-05T01:13:24.334" v="1234" actId="20577"/>
          <ac:spMkLst>
            <pc:docMk/>
            <pc:sldMk cId="3437807892" sldId="2251"/>
            <ac:spMk id="16" creationId="{6C2BB713-9637-4B9B-938F-E9768876782A}"/>
          </ac:spMkLst>
        </pc:spChg>
        <pc:picChg chg="del">
          <ac:chgData name="Aurelien Domont" userId="6da7715ce44349b3" providerId="LiveId" clId="{837ED3B5-2B93-4163-8B85-A9A154D805BA}" dt="2021-08-05T01:13:40.244" v="1237" actId="478"/>
          <ac:picMkLst>
            <pc:docMk/>
            <pc:sldMk cId="3437807892" sldId="2251"/>
            <ac:picMk id="4" creationId="{E6850986-3917-47A5-B8B3-AC0735C6E114}"/>
          </ac:picMkLst>
        </pc:picChg>
        <pc:picChg chg="add mod">
          <ac:chgData name="Aurelien Domont" userId="6da7715ce44349b3" providerId="LiveId" clId="{837ED3B5-2B93-4163-8B85-A9A154D805BA}" dt="2021-08-05T01:14:37.281" v="1245" actId="1076"/>
          <ac:picMkLst>
            <pc:docMk/>
            <pc:sldMk cId="3437807892" sldId="2251"/>
            <ac:picMk id="6" creationId="{B865E54A-71C6-49E3-9F91-09ED744857F1}"/>
          </ac:picMkLst>
        </pc:picChg>
      </pc:sldChg>
      <pc:sldChg chg="del">
        <pc:chgData name="Aurelien Domont" userId="6da7715ce44349b3" providerId="LiveId" clId="{837ED3B5-2B93-4163-8B85-A9A154D805BA}" dt="2023-01-12T23:11:55.606" v="1333" actId="47"/>
        <pc:sldMkLst>
          <pc:docMk/>
          <pc:sldMk cId="2729887286" sldId="2396"/>
        </pc:sldMkLst>
      </pc:sldChg>
      <pc:sldChg chg="addSp modSp add mod">
        <pc:chgData name="Aurelien Domont" userId="6da7715ce44349b3" providerId="LiveId" clId="{837ED3B5-2B93-4163-8B85-A9A154D805BA}" dt="2023-01-12T23:11:53.753" v="1332"/>
        <pc:sldMkLst>
          <pc:docMk/>
          <pc:sldMk cId="1440965320" sldId="2405"/>
        </pc:sldMkLst>
        <pc:spChg chg="add mod">
          <ac:chgData name="Aurelien Domont" userId="6da7715ce44349b3" providerId="LiveId" clId="{837ED3B5-2B93-4163-8B85-A9A154D805BA}" dt="2023-01-12T23:11:50.390" v="1331" actId="1076"/>
          <ac:spMkLst>
            <pc:docMk/>
            <pc:sldMk cId="1440965320" sldId="2405"/>
            <ac:spMk id="6" creationId="{67502F91-58F1-1DE6-22B5-37DFE00DD495}"/>
          </ac:spMkLst>
        </pc:spChg>
        <pc:spChg chg="add mod">
          <ac:chgData name="Aurelien Domont" userId="6da7715ce44349b3" providerId="LiveId" clId="{837ED3B5-2B93-4163-8B85-A9A154D805BA}" dt="2023-01-12T23:11:53.753" v="1332"/>
          <ac:spMkLst>
            <pc:docMk/>
            <pc:sldMk cId="1440965320" sldId="2405"/>
            <ac:spMk id="7" creationId="{CCA7E536-0091-F417-1505-62F6E48117D1}"/>
          </ac:spMkLst>
        </pc:spChg>
      </pc:sldChg>
      <pc:sldChg chg="modSp add mod">
        <pc:chgData name="Aurelien Domont" userId="6da7715ce44349b3" providerId="LiveId" clId="{837ED3B5-2B93-4163-8B85-A9A154D805BA}" dt="2023-01-12T23:12:25.147" v="1353" actId="1036"/>
        <pc:sldMkLst>
          <pc:docMk/>
          <pc:sldMk cId="1501378537" sldId="2406"/>
        </pc:sldMkLst>
        <pc:spChg chg="mod">
          <ac:chgData name="Aurelien Domont" userId="6da7715ce44349b3" providerId="LiveId" clId="{837ED3B5-2B93-4163-8B85-A9A154D805BA}" dt="2023-01-12T23:12:25.147" v="1353" actId="1036"/>
          <ac:spMkLst>
            <pc:docMk/>
            <pc:sldMk cId="1501378537" sldId="2406"/>
            <ac:spMk id="17" creationId="{2302F4AE-CE77-436B-A364-9D9FC8BC6C5A}"/>
          </ac:spMkLst>
        </pc:spChg>
      </pc:sldChg>
      <pc:sldChg chg="modSp add mod">
        <pc:chgData name="Aurelien Domont" userId="6da7715ce44349b3" providerId="LiveId" clId="{837ED3B5-2B93-4163-8B85-A9A154D805BA}" dt="2023-01-12T23:12:38.447" v="1368" actId="1036"/>
        <pc:sldMkLst>
          <pc:docMk/>
          <pc:sldMk cId="2261253459" sldId="2407"/>
        </pc:sldMkLst>
        <pc:spChg chg="mod">
          <ac:chgData name="Aurelien Domont" userId="6da7715ce44349b3" providerId="LiveId" clId="{837ED3B5-2B93-4163-8B85-A9A154D805BA}" dt="2023-01-12T23:12:38.447" v="1368" actId="1036"/>
          <ac:spMkLst>
            <pc:docMk/>
            <pc:sldMk cId="2261253459" sldId="2407"/>
            <ac:spMk id="17" creationId="{2302F4AE-CE77-436B-A364-9D9FC8BC6C5A}"/>
          </ac:spMkLst>
        </pc:spChg>
      </pc:sldChg>
      <pc:sldChg chg="modSp add mod">
        <pc:chgData name="Aurelien Domont" userId="6da7715ce44349b3" providerId="LiveId" clId="{837ED3B5-2B93-4163-8B85-A9A154D805BA}" dt="2023-01-12T23:12:51.246" v="1382" actId="1035"/>
        <pc:sldMkLst>
          <pc:docMk/>
          <pc:sldMk cId="2849942486" sldId="2408"/>
        </pc:sldMkLst>
        <pc:spChg chg="mod">
          <ac:chgData name="Aurelien Domont" userId="6da7715ce44349b3" providerId="LiveId" clId="{837ED3B5-2B93-4163-8B85-A9A154D805BA}" dt="2023-01-12T23:12:51.246" v="1382" actId="1035"/>
          <ac:spMkLst>
            <pc:docMk/>
            <pc:sldMk cId="2849942486" sldId="2408"/>
            <ac:spMk id="17" creationId="{2302F4AE-CE77-436B-A364-9D9FC8BC6C5A}"/>
          </ac:spMkLst>
        </pc:spChg>
      </pc:sldChg>
      <pc:sldChg chg="modSp add mod">
        <pc:chgData name="Aurelien Domont" userId="6da7715ce44349b3" providerId="LiveId" clId="{837ED3B5-2B93-4163-8B85-A9A154D805BA}" dt="2023-01-12T23:13:06.525" v="1399" actId="1035"/>
        <pc:sldMkLst>
          <pc:docMk/>
          <pc:sldMk cId="2289037154" sldId="2409"/>
        </pc:sldMkLst>
        <pc:spChg chg="mod">
          <ac:chgData name="Aurelien Domont" userId="6da7715ce44349b3" providerId="LiveId" clId="{837ED3B5-2B93-4163-8B85-A9A154D805BA}" dt="2023-01-12T23:13:06.525" v="1399" actId="1035"/>
          <ac:spMkLst>
            <pc:docMk/>
            <pc:sldMk cId="2289037154" sldId="2409"/>
            <ac:spMk id="17" creationId="{2302F4AE-CE77-436B-A364-9D9FC8BC6C5A}"/>
          </ac:spMkLst>
        </pc:spChg>
      </pc:sldChg>
      <pc:sldChg chg="modSp add mod">
        <pc:chgData name="Aurelien Domont" userId="6da7715ce44349b3" providerId="LiveId" clId="{837ED3B5-2B93-4163-8B85-A9A154D805BA}" dt="2023-01-12T23:13:16.627" v="1410" actId="1036"/>
        <pc:sldMkLst>
          <pc:docMk/>
          <pc:sldMk cId="936996381" sldId="2410"/>
        </pc:sldMkLst>
        <pc:spChg chg="mod">
          <ac:chgData name="Aurelien Domont" userId="6da7715ce44349b3" providerId="LiveId" clId="{837ED3B5-2B93-4163-8B85-A9A154D805BA}" dt="2023-01-12T23:13:16.627" v="1410" actId="1036"/>
          <ac:spMkLst>
            <pc:docMk/>
            <pc:sldMk cId="936996381" sldId="2410"/>
            <ac:spMk id="17" creationId="{2302F4AE-CE77-436B-A364-9D9FC8BC6C5A}"/>
          </ac:spMkLst>
        </pc:spChg>
      </pc:sldChg>
      <pc:sldChg chg="add del">
        <pc:chgData name="Aurelien Domont" userId="6da7715ce44349b3" providerId="LiveId" clId="{837ED3B5-2B93-4163-8B85-A9A154D805BA}" dt="2023-01-12T23:13:33.979" v="1414"/>
        <pc:sldMkLst>
          <pc:docMk/>
          <pc:sldMk cId="3620164410" sldId="2411"/>
        </pc:sldMkLst>
      </pc:sldChg>
    </pc:docChg>
  </pc:docChgLst>
  <pc:docChgLst>
    <pc:chgData name="Aurelien Domont" userId="6da7715ce44349b3" providerId="LiveId" clId="{012DA010-0ACF-4741-93D6-10F54EECD503}"/>
    <pc:docChg chg="custSel modSld">
      <pc:chgData name="Aurelien Domont" userId="6da7715ce44349b3" providerId="LiveId" clId="{012DA010-0ACF-4741-93D6-10F54EECD503}" dt="2021-05-03T06:30:11.954" v="0" actId="33524"/>
      <pc:docMkLst>
        <pc:docMk/>
      </pc:docMkLst>
      <pc:sldChg chg="modSp mod">
        <pc:chgData name="Aurelien Domont" userId="6da7715ce44349b3" providerId="LiveId" clId="{012DA010-0ACF-4741-93D6-10F54EECD503}" dt="2021-05-03T06:30:11.954" v="0" actId="33524"/>
        <pc:sldMkLst>
          <pc:docMk/>
          <pc:sldMk cId="2064558966" sldId="1650"/>
        </pc:sldMkLst>
        <pc:spChg chg="mod">
          <ac:chgData name="Aurelien Domont" userId="6da7715ce44349b3" providerId="LiveId" clId="{012DA010-0ACF-4741-93D6-10F54EECD503}" dt="2021-05-03T06:30:11.954" v="0" actId="33524"/>
          <ac:spMkLst>
            <pc:docMk/>
            <pc:sldMk cId="2064558966" sldId="1650"/>
            <ac:spMk id="16" creationId="{6C2BB713-9637-4B9B-938F-E9768876782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1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1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4</a:t>
            </a:fld>
            <a:endParaRPr lang="en-US" dirty="0"/>
          </a:p>
        </p:txBody>
      </p:sp>
    </p:spTree>
    <p:extLst>
      <p:ext uri="{BB962C8B-B14F-4D97-AF65-F5344CB8AC3E}">
        <p14:creationId xmlns:p14="http://schemas.microsoft.com/office/powerpoint/2010/main" val="27604352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8</a:t>
            </a:fld>
            <a:endParaRPr lang="en-US" dirty="0"/>
          </a:p>
        </p:txBody>
      </p:sp>
    </p:spTree>
    <p:extLst>
      <p:ext uri="{BB962C8B-B14F-4D97-AF65-F5344CB8AC3E}">
        <p14:creationId xmlns:p14="http://schemas.microsoft.com/office/powerpoint/2010/main" val="359380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9</a:t>
            </a:fld>
            <a:endParaRPr lang="en-US" dirty="0"/>
          </a:p>
        </p:txBody>
      </p:sp>
    </p:spTree>
    <p:extLst>
      <p:ext uri="{BB962C8B-B14F-4D97-AF65-F5344CB8AC3E}">
        <p14:creationId xmlns:p14="http://schemas.microsoft.com/office/powerpoint/2010/main" val="1236582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0</a:t>
            </a:fld>
            <a:endParaRPr lang="en-US" dirty="0"/>
          </a:p>
        </p:txBody>
      </p:sp>
    </p:spTree>
    <p:extLst>
      <p:ext uri="{BB962C8B-B14F-4D97-AF65-F5344CB8AC3E}">
        <p14:creationId xmlns:p14="http://schemas.microsoft.com/office/powerpoint/2010/main" val="32482285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1</a:t>
            </a:fld>
            <a:endParaRPr lang="en-US" dirty="0"/>
          </a:p>
        </p:txBody>
      </p:sp>
    </p:spTree>
    <p:extLst>
      <p:ext uri="{BB962C8B-B14F-4D97-AF65-F5344CB8AC3E}">
        <p14:creationId xmlns:p14="http://schemas.microsoft.com/office/powerpoint/2010/main" val="18111907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1355692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3</a:t>
            </a:fld>
            <a:endParaRPr lang="en-US" dirty="0"/>
          </a:p>
        </p:txBody>
      </p:sp>
    </p:spTree>
    <p:extLst>
      <p:ext uri="{BB962C8B-B14F-4D97-AF65-F5344CB8AC3E}">
        <p14:creationId xmlns:p14="http://schemas.microsoft.com/office/powerpoint/2010/main" val="2586666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4</a:t>
            </a:fld>
            <a:endParaRPr lang="en-US" dirty="0"/>
          </a:p>
        </p:txBody>
      </p:sp>
    </p:spTree>
    <p:extLst>
      <p:ext uri="{BB962C8B-B14F-4D97-AF65-F5344CB8AC3E}">
        <p14:creationId xmlns:p14="http://schemas.microsoft.com/office/powerpoint/2010/main" val="15277557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5</a:t>
            </a:fld>
            <a:endParaRPr lang="en-US" dirty="0"/>
          </a:p>
        </p:txBody>
      </p:sp>
    </p:spTree>
    <p:extLst>
      <p:ext uri="{BB962C8B-B14F-4D97-AF65-F5344CB8AC3E}">
        <p14:creationId xmlns:p14="http://schemas.microsoft.com/office/powerpoint/2010/main" val="811916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6</a:t>
            </a:fld>
            <a:endParaRPr lang="en-US" dirty="0"/>
          </a:p>
        </p:txBody>
      </p:sp>
    </p:spTree>
    <p:extLst>
      <p:ext uri="{BB962C8B-B14F-4D97-AF65-F5344CB8AC3E}">
        <p14:creationId xmlns:p14="http://schemas.microsoft.com/office/powerpoint/2010/main" val="2496605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8773852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7</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956187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3766410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3</a:t>
            </a:fld>
            <a:endParaRPr lang="en-US" dirty="0"/>
          </a:p>
        </p:txBody>
      </p:sp>
    </p:spTree>
    <p:extLst>
      <p:ext uri="{BB962C8B-B14F-4D97-AF65-F5344CB8AC3E}">
        <p14:creationId xmlns:p14="http://schemas.microsoft.com/office/powerpoint/2010/main" val="1273955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61EA0F-A667-4B49-8422-0062BC55E249}" type="slidenum">
              <a:rPr lang="en-US" smtClean="0"/>
              <a:t>27</a:t>
            </a:fld>
            <a:endParaRPr lang="en-US" dirty="0"/>
          </a:p>
        </p:txBody>
      </p:sp>
    </p:spTree>
    <p:extLst>
      <p:ext uri="{BB962C8B-B14F-4D97-AF65-F5344CB8AC3E}">
        <p14:creationId xmlns:p14="http://schemas.microsoft.com/office/powerpoint/2010/main" val="54287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9</a:t>
            </a:fld>
            <a:endParaRPr lang="en-US" dirty="0"/>
          </a:p>
        </p:txBody>
      </p:sp>
    </p:spTree>
    <p:extLst>
      <p:ext uri="{BB962C8B-B14F-4D97-AF65-F5344CB8AC3E}">
        <p14:creationId xmlns:p14="http://schemas.microsoft.com/office/powerpoint/2010/main" val="27147406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4</a:t>
            </a:fld>
            <a:endParaRPr lang="en-US" dirty="0"/>
          </a:p>
        </p:txBody>
      </p:sp>
    </p:spTree>
    <p:extLst>
      <p:ext uri="{BB962C8B-B14F-4D97-AF65-F5344CB8AC3E}">
        <p14:creationId xmlns:p14="http://schemas.microsoft.com/office/powerpoint/2010/main" val="2821864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39</a:t>
            </a:fld>
            <a:endParaRPr lang="en-US" dirty="0"/>
          </a:p>
        </p:txBody>
      </p:sp>
    </p:spTree>
    <p:extLst>
      <p:ext uri="{BB962C8B-B14F-4D97-AF65-F5344CB8AC3E}">
        <p14:creationId xmlns:p14="http://schemas.microsoft.com/office/powerpoint/2010/main" val="42307806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1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81.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82.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83.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7.xml"/><Relationship Id="rId1" Type="http://schemas.openxmlformats.org/officeDocument/2006/relationships/tags" Target="../tags/tag96.xml"/><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7.xml"/><Relationship Id="rId1" Type="http://schemas.openxmlformats.org/officeDocument/2006/relationships/tags" Target="../tags/tag97.xml"/><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7.xml"/><Relationship Id="rId1" Type="http://schemas.openxmlformats.org/officeDocument/2006/relationships/tags" Target="../tags/tag98.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
        <p:nvSpPr>
          <p:cNvPr id="4" name="Rectangle 3">
            <a:extLst>
              <a:ext uri="{FF2B5EF4-FFF2-40B4-BE49-F238E27FC236}">
                <a16:creationId xmlns:a16="http://schemas.microsoft.com/office/drawing/2014/main" id="{BF416B89-A8CD-A4B4-397C-6117145369BF}"/>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5" name="Straight Connector 4">
            <a:extLst>
              <a:ext uri="{FF2B5EF4-FFF2-40B4-BE49-F238E27FC236}">
                <a16:creationId xmlns:a16="http://schemas.microsoft.com/office/drawing/2014/main" id="{28F2CA63-D1C0-82CE-5038-E531490DCCD7}"/>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68706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US" sz="1000" smtClean="0">
                <a:solidFill>
                  <a:srgbClr val="ADAFBB"/>
                </a:solidFill>
              </a:rPr>
              <a:pPr/>
              <a:t>‹#›</a:t>
            </a:fld>
            <a:endParaRPr lang="en-US" sz="1000" dirty="0">
              <a:solidFill>
                <a:srgbClr val="ADAFBB"/>
              </a:solidFill>
            </a:endParaRPr>
          </a:p>
        </p:txBody>
      </p:sp>
      <p:graphicFrame>
        <p:nvGraphicFramePr>
          <p:cNvPr id="2" name="Object 1" hidden="1">
            <a:extLst>
              <a:ext uri="{FF2B5EF4-FFF2-40B4-BE49-F238E27FC236}">
                <a16:creationId xmlns:a16="http://schemas.microsoft.com/office/drawing/2014/main" id="{3B918238-B8BB-2DDF-18FD-44974E7817FF}"/>
              </a:ext>
            </a:extLst>
          </p:cNvPr>
          <p:cNvGraphicFramePr>
            <a:graphicFrameLocks noChangeAspect="1"/>
          </p:cNvGraphicFramePr>
          <p:nvPr userDrawn="1">
            <p:custDataLst>
              <p:tags r:id="rId3"/>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2" name="Object 1" hidden="1">
                        <a:extLst>
                          <a:ext uri="{FF2B5EF4-FFF2-40B4-BE49-F238E27FC236}">
                            <a16:creationId xmlns:a16="http://schemas.microsoft.com/office/drawing/2014/main" id="{3B918238-B8BB-2DDF-18FD-44974E7817F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AC886E1-2FE0-FB1F-7E6D-2F9944106826}"/>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A62F990D-74A0-1F97-E913-18728894C841}"/>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5D959585-8DA5-EE04-CE9D-2DAD2CAF4AE7}"/>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8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1"/>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5" name="Rectangle 4">
            <a:extLst>
              <a:ext uri="{FF2B5EF4-FFF2-40B4-BE49-F238E27FC236}">
                <a16:creationId xmlns:a16="http://schemas.microsoft.com/office/drawing/2014/main" id="{D9616C3E-145B-E678-FDBC-6F3BADF0509F}"/>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6" name="Straight Connector 5">
            <a:extLst>
              <a:ext uri="{FF2B5EF4-FFF2-40B4-BE49-F238E27FC236}">
                <a16:creationId xmlns:a16="http://schemas.microsoft.com/office/drawing/2014/main" id="{89E3A388-5506-C0A6-CFBB-BBE065CE7DD9}"/>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0043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6C9C10F0-1E6C-6AB7-9C2F-D139E3BF0935}"/>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6" name="Straight Connector 5">
            <a:extLst>
              <a:ext uri="{FF2B5EF4-FFF2-40B4-BE49-F238E27FC236}">
                <a16:creationId xmlns:a16="http://schemas.microsoft.com/office/drawing/2014/main" id="{772F719E-2CA8-5DA4-BE10-BD6DD177DB0F}"/>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90FD4E0-F1A6-6B1A-1408-0A939F7ABEC8}"/>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00914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1"/>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E3246D3F-8148-1251-1F00-FA0B5C68079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957088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1"/>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C2D0F373-8A14-C4B1-533E-B96A045AB48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691979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872503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3499866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9221904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311716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669383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00397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8269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6925121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1"/>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675300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1"/>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2064557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5342661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1"/>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068129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1"/>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97170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1"/>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8433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1"/>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02420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1"/>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2239607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1"/>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08707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1"/>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411199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40802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1"/>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037030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1"/>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512529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1"/>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587705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1"/>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491981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1"/>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652120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1"/>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085906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1"/>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83537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817005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1"/>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861634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1"/>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582352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1"/>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654867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1"/>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99161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1"/>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8524970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1"/>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296325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1"/>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29801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807314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1"/>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604502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1"/>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794625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1"/>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885229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1"/>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672552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1"/>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0593883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44839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7490897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237222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24392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57943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218975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528493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0440371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348164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139194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430500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662841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882038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14035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985476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4101142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911587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308377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1"/>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929590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32648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028011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628657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844721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965831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
        <p:nvSpPr>
          <p:cNvPr id="8" name="Rectangle 7">
            <a:extLst>
              <a:ext uri="{FF2B5EF4-FFF2-40B4-BE49-F238E27FC236}">
                <a16:creationId xmlns:a16="http://schemas.microsoft.com/office/drawing/2014/main" id="{6457F55E-F89A-100F-F78C-57BDD748B66D}"/>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7602703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oleObject" Target="../embeddings/oleObject60.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108.xml"/><Relationship Id="rId5" Type="http://schemas.openxmlformats.org/officeDocument/2006/relationships/slideLayout" Target="../slideLayouts/slideLayout76.xml"/><Relationship Id="rId10" Type="http://schemas.openxmlformats.org/officeDocument/2006/relationships/tags" Target="../tags/tag107.xml"/><Relationship Id="rId4" Type="http://schemas.openxmlformats.org/officeDocument/2006/relationships/slideLayout" Target="../slideLayouts/slideLayout75.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3.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9.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8.xml"/><Relationship Id="rId5" Type="http://schemas.openxmlformats.org/officeDocument/2006/relationships/slideLayout" Target="../slideLayouts/slideLayout13.xml"/><Relationship Id="rId15" Type="http://schemas.openxmlformats.org/officeDocument/2006/relationships/oleObject" Target="../embeddings/oleObject1.bin"/><Relationship Id="rId10" Type="http://schemas.openxmlformats.org/officeDocument/2006/relationships/tags" Target="../tags/tag7.xml"/><Relationship Id="rId4" Type="http://schemas.openxmlformats.org/officeDocument/2006/relationships/slideLayout" Target="../slideLayouts/slideLayout12.xml"/><Relationship Id="rId9" Type="http://schemas.openxmlformats.org/officeDocument/2006/relationships/tags" Target="../tags/tag6.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0" Type="http://schemas.openxmlformats.org/officeDocument/2006/relationships/tags" Target="../tags/tag24.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20.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0.xml"/><Relationship Id="rId5" Type="http://schemas.openxmlformats.org/officeDocument/2006/relationships/slideLayout" Target="../slideLayouts/slideLayout28.xml"/><Relationship Id="rId10" Type="http://schemas.openxmlformats.org/officeDocument/2006/relationships/tags" Target="../tags/tag39.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29.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55.xml"/><Relationship Id="rId5" Type="http://schemas.openxmlformats.org/officeDocument/2006/relationships/slideLayout" Target="../slideLayouts/slideLayout36.xml"/><Relationship Id="rId10" Type="http://schemas.openxmlformats.org/officeDocument/2006/relationships/tags" Target="../tags/tag54.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oleObject" Target="../embeddings/oleObject38.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0.xml"/><Relationship Id="rId5" Type="http://schemas.openxmlformats.org/officeDocument/2006/relationships/slideLayout" Target="../slideLayouts/slideLayout44.xml"/><Relationship Id="rId10" Type="http://schemas.openxmlformats.org/officeDocument/2006/relationships/tags" Target="../tags/tag69.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47.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85.xml"/><Relationship Id="rId5" Type="http://schemas.openxmlformats.org/officeDocument/2006/relationships/slideLayout" Target="../slideLayouts/slideLayout52.xml"/><Relationship Id="rId10" Type="http://schemas.openxmlformats.org/officeDocument/2006/relationships/tags" Target="../tags/tag84.xml"/><Relationship Id="rId4" Type="http://schemas.openxmlformats.org/officeDocument/2006/relationships/slideLayout" Target="../slideLayouts/slideLayout5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oleObject" Target="../embeddings/oleObject56.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100.xml"/><Relationship Id="rId5" Type="http://schemas.openxmlformats.org/officeDocument/2006/relationships/slideLayout" Target="../slideLayouts/slideLayout60.xml"/><Relationship Id="rId10" Type="http://schemas.openxmlformats.org/officeDocument/2006/relationships/tags" Target="../tags/tag99.xml"/><Relationship Id="rId4" Type="http://schemas.openxmlformats.org/officeDocument/2006/relationships/slideLayout" Target="../slideLayouts/slideLayout5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8.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104.xml"/><Relationship Id="rId5" Type="http://schemas.openxmlformats.org/officeDocument/2006/relationships/slideLayout" Target="../slideLayouts/slideLayout68.xml"/><Relationship Id="rId10" Type="http://schemas.openxmlformats.org/officeDocument/2006/relationships/tags" Target="../tags/tag103.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2699643501"/>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9"/>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graphicFrame>
        <p:nvGraphicFramePr>
          <p:cNvPr id="4" name="Object 3" hidden="1">
            <a:extLst>
              <a:ext uri="{FF2B5EF4-FFF2-40B4-BE49-F238E27FC236}">
                <a16:creationId xmlns:a16="http://schemas.microsoft.com/office/drawing/2014/main" id="{84764768-FB7B-61E8-795D-931A6A856674}"/>
              </a:ext>
            </a:extLst>
          </p:cNvPr>
          <p:cNvGraphicFramePr>
            <a:graphicFrameLocks noChangeAspect="1"/>
          </p:cNvGraphicFramePr>
          <p:nvPr userDrawn="1">
            <p:custDataLst>
              <p:tags r:id="rId11"/>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4" name="Object 3" hidden="1">
                        <a:extLst>
                          <a:ext uri="{FF2B5EF4-FFF2-40B4-BE49-F238E27FC236}">
                            <a16:creationId xmlns:a16="http://schemas.microsoft.com/office/drawing/2014/main" id="{84764768-FB7B-61E8-795D-931A6A85667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5DEE575-32B6-CA4B-6D84-3F9DA7831D46}"/>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AFB94389-1417-FBD5-020B-24978A32631D}"/>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a:extLst>
              <a:ext uri="{FF2B5EF4-FFF2-40B4-BE49-F238E27FC236}">
                <a16:creationId xmlns:a16="http://schemas.microsoft.com/office/drawing/2014/main" id="{D8FD4C9E-9139-C5B8-735B-EF2F2FAE25AE}"/>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4377335"/>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9402416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07229826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31531165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78738982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21292832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20009167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59933007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1.xml"/><Relationship Id="rId1" Type="http://schemas.openxmlformats.org/officeDocument/2006/relationships/tags" Target="../tags/tag12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11.xml"/><Relationship Id="rId1" Type="http://schemas.openxmlformats.org/officeDocument/2006/relationships/tags" Target="../tags/tag12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11.xml"/><Relationship Id="rId1" Type="http://schemas.openxmlformats.org/officeDocument/2006/relationships/tags" Target="../tags/tag12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11.xml"/><Relationship Id="rId1" Type="http://schemas.openxmlformats.org/officeDocument/2006/relationships/tags" Target="../tags/tag12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1.xml"/><Relationship Id="rId1" Type="http://schemas.openxmlformats.org/officeDocument/2006/relationships/tags" Target="../tags/tag12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11.xml"/><Relationship Id="rId1" Type="http://schemas.openxmlformats.org/officeDocument/2006/relationships/tags" Target="../tags/tag12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1.xml"/><Relationship Id="rId1" Type="http://schemas.openxmlformats.org/officeDocument/2006/relationships/tags" Target="../tags/tag12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11.xml"/><Relationship Id="rId1" Type="http://schemas.openxmlformats.org/officeDocument/2006/relationships/tags" Target="../tags/tag12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1.xml"/><Relationship Id="rId1" Type="http://schemas.openxmlformats.org/officeDocument/2006/relationships/tags" Target="../tags/tag129.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1.xml"/><Relationship Id="rId1" Type="http://schemas.openxmlformats.org/officeDocument/2006/relationships/tags" Target="../tags/tag13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1.xml"/><Relationship Id="rId1" Type="http://schemas.openxmlformats.org/officeDocument/2006/relationships/tags" Target="../tags/tag13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32.xml"/><Relationship Id="rId5" Type="http://schemas.openxmlformats.org/officeDocument/2006/relationships/image" Target="../media/image10.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33.xml"/><Relationship Id="rId5" Type="http://schemas.openxmlformats.org/officeDocument/2006/relationships/image" Target="../media/image10.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5.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13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11.xml"/><Relationship Id="rId1" Type="http://schemas.openxmlformats.org/officeDocument/2006/relationships/tags" Target="../tags/tag13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23.png"/><Relationship Id="rId3" Type="http://schemas.openxmlformats.org/officeDocument/2006/relationships/notesSlide" Target="../notesSlides/notesSlide6.xml"/><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 Type="http://schemas.openxmlformats.org/officeDocument/2006/relationships/slideLayout" Target="../slideLayouts/slideLayout11.xml"/><Relationship Id="rId16" Type="http://schemas.openxmlformats.org/officeDocument/2006/relationships/image" Target="../media/image21.png"/><Relationship Id="rId1" Type="http://schemas.openxmlformats.org/officeDocument/2006/relationships/tags" Target="../tags/tag142.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emf"/><Relationship Id="rId15" Type="http://schemas.openxmlformats.org/officeDocument/2006/relationships/image" Target="../media/image20.svg"/><Relationship Id="rId10" Type="http://schemas.openxmlformats.org/officeDocument/2006/relationships/image" Target="../media/image15.png"/><Relationship Id="rId19" Type="http://schemas.openxmlformats.org/officeDocument/2006/relationships/image" Target="../media/image24.svg"/><Relationship Id="rId4" Type="http://schemas.openxmlformats.org/officeDocument/2006/relationships/oleObject" Target="../embeddings/oleObject80.bin"/><Relationship Id="rId9" Type="http://schemas.openxmlformats.org/officeDocument/2006/relationships/image" Target="../media/image14.svg"/><Relationship Id="rId14" Type="http://schemas.openxmlformats.org/officeDocument/2006/relationships/image" Target="../media/image19.pn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43.xml"/><Relationship Id="rId5" Type="http://schemas.openxmlformats.org/officeDocument/2006/relationships/image" Target="../media/image25.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7.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14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2.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11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30.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emf"/><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oleObject" Target="../embeddings/oleObject65.bin"/><Relationship Id="rId5" Type="http://schemas.openxmlformats.org/officeDocument/2006/relationships/slideLayout" Target="../slideLayouts/slideLayout11.xml"/><Relationship Id="rId4" Type="http://schemas.openxmlformats.org/officeDocument/2006/relationships/tags" Target="../tags/tag148.xml"/></Relationships>
</file>

<file path=ppt/slides/_rels/slide31.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emf"/><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oleObject" Target="../embeddings/oleObject65.bin"/><Relationship Id="rId5" Type="http://schemas.openxmlformats.org/officeDocument/2006/relationships/slideLayout" Target="../slideLayouts/slideLayout11.xml"/><Relationship Id="rId4" Type="http://schemas.openxmlformats.org/officeDocument/2006/relationships/tags" Target="../tags/tag152.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53.xml"/><Relationship Id="rId5" Type="http://schemas.openxmlformats.org/officeDocument/2006/relationships/image" Target="../media/image26.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54.xml"/><Relationship Id="rId5" Type="http://schemas.openxmlformats.org/officeDocument/2006/relationships/image" Target="../media/image26.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8.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155.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35.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emf"/><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oleObject" Target="../embeddings/oleObject65.bin"/><Relationship Id="rId5" Type="http://schemas.openxmlformats.org/officeDocument/2006/relationships/slideLayout" Target="../slideLayouts/slideLayout11.xml"/><Relationship Id="rId4" Type="http://schemas.openxmlformats.org/officeDocument/2006/relationships/tags" Target="../tags/tag159.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60.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61.xml"/><Relationship Id="rId5" Type="http://schemas.openxmlformats.org/officeDocument/2006/relationships/image" Target="../media/image27.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62.xml"/><Relationship Id="rId5" Type="http://schemas.openxmlformats.org/officeDocument/2006/relationships/image" Target="../media/image27.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9.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163.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3.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115.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40.xml.rels><?xml version="1.0" encoding="UTF-8" standalone="yes"?>
<Relationships xmlns="http://schemas.openxmlformats.org/package/2006/relationships"><Relationship Id="rId3" Type="http://schemas.openxmlformats.org/officeDocument/2006/relationships/tags" Target="../tags/tag166.xml"/><Relationship Id="rId7" Type="http://schemas.openxmlformats.org/officeDocument/2006/relationships/image" Target="../media/image1.emf"/><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oleObject" Target="../embeddings/oleObject65.bin"/><Relationship Id="rId5" Type="http://schemas.openxmlformats.org/officeDocument/2006/relationships/slideLayout" Target="../slideLayouts/slideLayout11.xml"/><Relationship Id="rId4" Type="http://schemas.openxmlformats.org/officeDocument/2006/relationships/tags" Target="../tags/tag167.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68.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69.xml"/><Relationship Id="rId5" Type="http://schemas.openxmlformats.org/officeDocument/2006/relationships/image" Target="../media/image28.png"/><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70.xml"/><Relationship Id="rId5" Type="http://schemas.openxmlformats.org/officeDocument/2006/relationships/image" Target="../media/image28.pn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0.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171.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45.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75.xml"/><Relationship Id="rId5" Type="http://schemas.openxmlformats.org/officeDocument/2006/relationships/image" Target="../media/image29.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76.xml"/><Relationship Id="rId5" Type="http://schemas.openxmlformats.org/officeDocument/2006/relationships/image" Target="../media/image29.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9.xml"/><Relationship Id="rId7" Type="http://schemas.openxmlformats.org/officeDocument/2006/relationships/oleObject" Target="../embeddings/oleObject81.bin"/><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notesSlide" Target="../notesSlides/notesSlide11.xml"/><Relationship Id="rId5" Type="http://schemas.openxmlformats.org/officeDocument/2006/relationships/slideLayout" Target="../slideLayouts/slideLayout11.xml"/><Relationship Id="rId4" Type="http://schemas.openxmlformats.org/officeDocument/2006/relationships/tags" Target="../tags/tag180.xml"/></Relationships>
</file>

<file path=ppt/slides/_rels/slide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xml"/><Relationship Id="rId7" Type="http://schemas.openxmlformats.org/officeDocument/2006/relationships/oleObject" Target="../embeddings/oleObject81.bin"/><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notesSlide" Target="../notesSlides/notesSlide12.xml"/><Relationship Id="rId5" Type="http://schemas.openxmlformats.org/officeDocument/2006/relationships/slideLayout" Target="../slideLayouts/slideLayout11.xml"/><Relationship Id="rId4" Type="http://schemas.openxmlformats.org/officeDocument/2006/relationships/tags" Target="../tags/tag184.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116.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18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81.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186.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81.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2.jpeg"/><Relationship Id="rId2" Type="http://schemas.openxmlformats.org/officeDocument/2006/relationships/slideLayout" Target="../slideLayouts/slideLayout11.xml"/><Relationship Id="rId1" Type="http://schemas.openxmlformats.org/officeDocument/2006/relationships/tags" Target="../tags/tag187.xml"/><Relationship Id="rId6" Type="http://schemas.openxmlformats.org/officeDocument/2006/relationships/hyperlink" Target="http://www.flickr.com/photos/pingnews/286477008/" TargetMode="Externa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5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0.xml"/><Relationship Id="rId7" Type="http://schemas.openxmlformats.org/officeDocument/2006/relationships/oleObject" Target="../embeddings/oleObject81.bin"/><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notesSlide" Target="../notesSlides/notesSlide16.xml"/><Relationship Id="rId5" Type="http://schemas.openxmlformats.org/officeDocument/2006/relationships/slideLayout" Target="../slideLayouts/slideLayout11.xml"/><Relationship Id="rId4" Type="http://schemas.openxmlformats.org/officeDocument/2006/relationships/tags" Target="../tags/tag191.xml"/></Relationships>
</file>

<file path=ppt/slides/_rels/slide5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81.bin"/><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notesSlide" Target="../notesSlides/notesSlide17.xml"/><Relationship Id="rId5" Type="http://schemas.openxmlformats.org/officeDocument/2006/relationships/slideLayout" Target="../slideLayouts/slideLayout11.xml"/><Relationship Id="rId4" Type="http://schemas.openxmlformats.org/officeDocument/2006/relationships/tags" Target="../tags/tag195.xml"/></Relationships>
</file>

<file path=ppt/slides/_rels/slide55.xml.rels><?xml version="1.0" encoding="UTF-8" standalone="yes"?>
<Relationships xmlns="http://schemas.openxmlformats.org/package/2006/relationships"><Relationship Id="rId8" Type="http://schemas.openxmlformats.org/officeDocument/2006/relationships/oleObject" Target="../embeddings/oleObject81.bin"/><Relationship Id="rId3" Type="http://schemas.openxmlformats.org/officeDocument/2006/relationships/tags" Target="../tags/tag198.xml"/><Relationship Id="rId7" Type="http://schemas.openxmlformats.org/officeDocument/2006/relationships/notesSlide" Target="../notesSlides/notesSlide18.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slideLayout" Target="../slideLayouts/slideLayout11.xml"/><Relationship Id="rId5" Type="http://schemas.openxmlformats.org/officeDocument/2006/relationships/tags" Target="../tags/tag200.xml"/><Relationship Id="rId4" Type="http://schemas.openxmlformats.org/officeDocument/2006/relationships/tags" Target="../tags/tag199.xml"/><Relationship Id="rId9" Type="http://schemas.openxmlformats.org/officeDocument/2006/relationships/image" Target="../media/image1.emf"/></Relationships>
</file>

<file path=ppt/slides/_rels/slide5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9.xml"/><Relationship Id="rId7" Type="http://schemas.openxmlformats.org/officeDocument/2006/relationships/image" Target="../media/image5.svg"/><Relationship Id="rId2" Type="http://schemas.openxmlformats.org/officeDocument/2006/relationships/slideLayout" Target="../slideLayouts/slideLayout11.xml"/><Relationship Id="rId1" Type="http://schemas.openxmlformats.org/officeDocument/2006/relationships/tags" Target="../tags/tag201.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4.bin"/><Relationship Id="rId9" Type="http://schemas.openxmlformats.org/officeDocument/2006/relationships/image" Target="../media/image7.svg"/></Relationships>
</file>

<file path=ppt/slides/_rels/slide5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hyperlink" Target="http://www.domontconsulting.com/" TargetMode="Externa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20.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1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11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11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1.xml"/><Relationship Id="rId1" Type="http://schemas.openxmlformats.org/officeDocument/2006/relationships/tags" Target="../tags/tag12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fontScale="90000"/>
          </a:bodyPr>
          <a:lstStyle/>
          <a:p>
            <a:r>
              <a:rPr lang="en-US" sz="6000"/>
              <a:t>Phase II: </a:t>
            </a:r>
            <a:r>
              <a:rPr lang="en-GB" sz="6000" dirty="0"/>
              <a:t>Change Management Plans</a:t>
            </a:r>
            <a:endParaRPr lang="en-US" sz="60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1970796"/>
          </a:xfrm>
        </p:spPr>
        <p:txBody>
          <a:bodyPr lIns="0" tIns="0" rIns="0" bIns="0">
            <a:spAutoFit/>
          </a:bodyPr>
          <a:lstStyle/>
          <a:p>
            <a:r>
              <a:rPr lang="en-US" sz="1600" b="1" dirty="0"/>
              <a:t>Company: </a:t>
            </a:r>
            <a:r>
              <a:rPr lang="en-US" sz="1600" dirty="0"/>
              <a:t>insert company name</a:t>
            </a:r>
          </a:p>
          <a:p>
            <a:r>
              <a:rPr lang="en-US" sz="1600" b="1" dirty="0"/>
              <a:t>CEO: </a:t>
            </a:r>
            <a:r>
              <a:rPr lang="en-US" sz="1600" dirty="0"/>
              <a:t>insert your own text</a:t>
            </a:r>
          </a:p>
          <a:p>
            <a:r>
              <a:rPr lang="en-US" sz="1600" b="1" dirty="0"/>
              <a:t>Senior Change Manager: </a:t>
            </a:r>
            <a:r>
              <a:rPr lang="en-US" sz="1600" dirty="0"/>
              <a:t>insert your own text</a:t>
            </a:r>
          </a:p>
          <a:p>
            <a:r>
              <a:rPr lang="en-US" sz="1600" b="1" dirty="0"/>
              <a:t>Date: </a:t>
            </a:r>
            <a:r>
              <a:rPr lang="en-US" sz="1600" dirty="0"/>
              <a:t>insert your own text</a:t>
            </a:r>
          </a:p>
          <a:p>
            <a:r>
              <a:rPr lang="en-US" sz="1600" b="1" dirty="0"/>
              <a:t>Version: </a:t>
            </a:r>
            <a:r>
              <a:rPr lang="en-US" sz="1600" dirty="0"/>
              <a:t>insert your own text</a:t>
            </a:r>
          </a:p>
          <a:p>
            <a:r>
              <a:rPr lang="en-US" sz="1600" b="1" dirty="0"/>
              <a:t>Contact Email: </a:t>
            </a:r>
            <a:r>
              <a:rPr lang="en-US" sz="1600" dirty="0"/>
              <a:t>insert your own text</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2" name="Rounded Rectangular Callout 19">
            <a:extLst>
              <a:ext uri="{FF2B5EF4-FFF2-40B4-BE49-F238E27FC236}">
                <a16:creationId xmlns:a16="http://schemas.microsoft.com/office/drawing/2014/main" id="{B2F5C760-EB37-4D8B-AF4B-35DCD04D5F04}"/>
              </a:ext>
            </a:extLst>
          </p:cNvPr>
          <p:cNvSpPr/>
          <p:nvPr/>
        </p:nvSpPr>
        <p:spPr bwMode="auto">
          <a:xfrm>
            <a:off x="8767944" y="4266359"/>
            <a:ext cx="1990725" cy="646240"/>
          </a:xfrm>
          <a:prstGeom prst="wedgeRoundRectCallout">
            <a:avLst>
              <a:gd name="adj1" fmla="val -64851"/>
              <a:gd name="adj2" fmla="val 12281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sert your own logo</a:t>
            </a:r>
          </a:p>
        </p:txBody>
      </p:sp>
      <p:pic>
        <p:nvPicPr>
          <p:cNvPr id="13" name="Picture 12">
            <a:hlinkClick r:id="rId6"/>
            <a:extLst>
              <a:ext uri="{FF2B5EF4-FFF2-40B4-BE49-F238E27FC236}">
                <a16:creationId xmlns:a16="http://schemas.microsoft.com/office/drawing/2014/main" id="{24376D32-A0C6-0DBB-3D77-413C6E7496A7}"/>
              </a:ext>
            </a:extLst>
          </p:cNvPr>
          <p:cNvPicPr>
            <a:picLocks noChangeAspect="1"/>
          </p:cNvPicPr>
          <p:nvPr/>
        </p:nvPicPr>
        <p:blipFill>
          <a:blip r:embed="rId7"/>
          <a:stretch>
            <a:fillRect/>
          </a:stretch>
        </p:blipFill>
        <p:spPr>
          <a:xfrm>
            <a:off x="7498592" y="5375651"/>
            <a:ext cx="4529428" cy="1044691"/>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able 36">
            <a:extLst>
              <a:ext uri="{FF2B5EF4-FFF2-40B4-BE49-F238E27FC236}">
                <a16:creationId xmlns:a16="http://schemas.microsoft.com/office/drawing/2014/main" id="{7C744A71-218A-4B42-8008-3588454337BF}"/>
              </a:ext>
            </a:extLst>
          </p:cNvPr>
          <p:cNvGraphicFramePr>
            <a:graphicFrameLocks noGrp="1"/>
          </p:cNvGraphicFramePr>
          <p:nvPr/>
        </p:nvGraphicFramePr>
        <p:xfrm>
          <a:off x="607868" y="1953006"/>
          <a:ext cx="10976266" cy="4501048"/>
        </p:xfrm>
        <a:graphic>
          <a:graphicData uri="http://schemas.openxmlformats.org/drawingml/2006/table">
            <a:tbl>
              <a:tblPr firstRow="1" bandRow="1"/>
              <a:tblGrid>
                <a:gridCol w="468827">
                  <a:extLst>
                    <a:ext uri="{9D8B030D-6E8A-4147-A177-3AD203B41FA5}">
                      <a16:colId xmlns:a16="http://schemas.microsoft.com/office/drawing/2014/main" val="20000"/>
                    </a:ext>
                  </a:extLst>
                </a:gridCol>
                <a:gridCol w="468827">
                  <a:extLst>
                    <a:ext uri="{9D8B030D-6E8A-4147-A177-3AD203B41FA5}">
                      <a16:colId xmlns:a16="http://schemas.microsoft.com/office/drawing/2014/main" val="20001"/>
                    </a:ext>
                  </a:extLst>
                </a:gridCol>
                <a:gridCol w="468827">
                  <a:extLst>
                    <a:ext uri="{9D8B030D-6E8A-4147-A177-3AD203B41FA5}">
                      <a16:colId xmlns:a16="http://schemas.microsoft.com/office/drawing/2014/main" val="20002"/>
                    </a:ext>
                  </a:extLst>
                </a:gridCol>
                <a:gridCol w="468827">
                  <a:extLst>
                    <a:ext uri="{9D8B030D-6E8A-4147-A177-3AD203B41FA5}">
                      <a16:colId xmlns:a16="http://schemas.microsoft.com/office/drawing/2014/main" val="20003"/>
                    </a:ext>
                  </a:extLst>
                </a:gridCol>
                <a:gridCol w="468827">
                  <a:extLst>
                    <a:ext uri="{9D8B030D-6E8A-4147-A177-3AD203B41FA5}">
                      <a16:colId xmlns:a16="http://schemas.microsoft.com/office/drawing/2014/main" val="20004"/>
                    </a:ext>
                  </a:extLst>
                </a:gridCol>
                <a:gridCol w="468827">
                  <a:extLst>
                    <a:ext uri="{9D8B030D-6E8A-4147-A177-3AD203B41FA5}">
                      <a16:colId xmlns:a16="http://schemas.microsoft.com/office/drawing/2014/main" val="20005"/>
                    </a:ext>
                  </a:extLst>
                </a:gridCol>
                <a:gridCol w="437230">
                  <a:extLst>
                    <a:ext uri="{9D8B030D-6E8A-4147-A177-3AD203B41FA5}">
                      <a16:colId xmlns:a16="http://schemas.microsoft.com/office/drawing/2014/main" val="20006"/>
                    </a:ext>
                  </a:extLst>
                </a:gridCol>
                <a:gridCol w="437230">
                  <a:extLst>
                    <a:ext uri="{9D8B030D-6E8A-4147-A177-3AD203B41FA5}">
                      <a16:colId xmlns:a16="http://schemas.microsoft.com/office/drawing/2014/main" val="20007"/>
                    </a:ext>
                  </a:extLst>
                </a:gridCol>
                <a:gridCol w="456335">
                  <a:extLst>
                    <a:ext uri="{9D8B030D-6E8A-4147-A177-3AD203B41FA5}">
                      <a16:colId xmlns:a16="http://schemas.microsoft.com/office/drawing/2014/main" val="20008"/>
                    </a:ext>
                  </a:extLst>
                </a:gridCol>
                <a:gridCol w="456335">
                  <a:extLst>
                    <a:ext uri="{9D8B030D-6E8A-4147-A177-3AD203B41FA5}">
                      <a16:colId xmlns:a16="http://schemas.microsoft.com/office/drawing/2014/main" val="20009"/>
                    </a:ext>
                  </a:extLst>
                </a:gridCol>
                <a:gridCol w="455441">
                  <a:extLst>
                    <a:ext uri="{9D8B030D-6E8A-4147-A177-3AD203B41FA5}">
                      <a16:colId xmlns:a16="http://schemas.microsoft.com/office/drawing/2014/main" val="20010"/>
                    </a:ext>
                  </a:extLst>
                </a:gridCol>
                <a:gridCol w="455441">
                  <a:extLst>
                    <a:ext uri="{9D8B030D-6E8A-4147-A177-3AD203B41FA5}">
                      <a16:colId xmlns:a16="http://schemas.microsoft.com/office/drawing/2014/main" val="20011"/>
                    </a:ext>
                  </a:extLst>
                </a:gridCol>
                <a:gridCol w="455441">
                  <a:extLst>
                    <a:ext uri="{9D8B030D-6E8A-4147-A177-3AD203B41FA5}">
                      <a16:colId xmlns:a16="http://schemas.microsoft.com/office/drawing/2014/main" val="20012"/>
                    </a:ext>
                  </a:extLst>
                </a:gridCol>
                <a:gridCol w="455441">
                  <a:extLst>
                    <a:ext uri="{9D8B030D-6E8A-4147-A177-3AD203B41FA5}">
                      <a16:colId xmlns:a16="http://schemas.microsoft.com/office/drawing/2014/main" val="20013"/>
                    </a:ext>
                  </a:extLst>
                </a:gridCol>
                <a:gridCol w="455441">
                  <a:extLst>
                    <a:ext uri="{9D8B030D-6E8A-4147-A177-3AD203B41FA5}">
                      <a16:colId xmlns:a16="http://schemas.microsoft.com/office/drawing/2014/main" val="20014"/>
                    </a:ext>
                  </a:extLst>
                </a:gridCol>
                <a:gridCol w="455441">
                  <a:extLst>
                    <a:ext uri="{9D8B030D-6E8A-4147-A177-3AD203B41FA5}">
                      <a16:colId xmlns:a16="http://schemas.microsoft.com/office/drawing/2014/main" val="20015"/>
                    </a:ext>
                  </a:extLst>
                </a:gridCol>
                <a:gridCol w="455441">
                  <a:extLst>
                    <a:ext uri="{9D8B030D-6E8A-4147-A177-3AD203B41FA5}">
                      <a16:colId xmlns:a16="http://schemas.microsoft.com/office/drawing/2014/main" val="20016"/>
                    </a:ext>
                  </a:extLst>
                </a:gridCol>
                <a:gridCol w="455441">
                  <a:extLst>
                    <a:ext uri="{9D8B030D-6E8A-4147-A177-3AD203B41FA5}">
                      <a16:colId xmlns:a16="http://schemas.microsoft.com/office/drawing/2014/main" val="20017"/>
                    </a:ext>
                  </a:extLst>
                </a:gridCol>
                <a:gridCol w="455441">
                  <a:extLst>
                    <a:ext uri="{9D8B030D-6E8A-4147-A177-3AD203B41FA5}">
                      <a16:colId xmlns:a16="http://schemas.microsoft.com/office/drawing/2014/main" val="20018"/>
                    </a:ext>
                  </a:extLst>
                </a:gridCol>
                <a:gridCol w="455441">
                  <a:extLst>
                    <a:ext uri="{9D8B030D-6E8A-4147-A177-3AD203B41FA5}">
                      <a16:colId xmlns:a16="http://schemas.microsoft.com/office/drawing/2014/main" val="20019"/>
                    </a:ext>
                  </a:extLst>
                </a:gridCol>
                <a:gridCol w="455441">
                  <a:extLst>
                    <a:ext uri="{9D8B030D-6E8A-4147-A177-3AD203B41FA5}">
                      <a16:colId xmlns:a16="http://schemas.microsoft.com/office/drawing/2014/main" val="20020"/>
                    </a:ext>
                  </a:extLst>
                </a:gridCol>
                <a:gridCol w="455441">
                  <a:extLst>
                    <a:ext uri="{9D8B030D-6E8A-4147-A177-3AD203B41FA5}">
                      <a16:colId xmlns:a16="http://schemas.microsoft.com/office/drawing/2014/main" val="20021"/>
                    </a:ext>
                  </a:extLst>
                </a:gridCol>
                <a:gridCol w="455441">
                  <a:extLst>
                    <a:ext uri="{9D8B030D-6E8A-4147-A177-3AD203B41FA5}">
                      <a16:colId xmlns:a16="http://schemas.microsoft.com/office/drawing/2014/main" val="20022"/>
                    </a:ext>
                  </a:extLst>
                </a:gridCol>
                <a:gridCol w="455441">
                  <a:extLst>
                    <a:ext uri="{9D8B030D-6E8A-4147-A177-3AD203B41FA5}">
                      <a16:colId xmlns:a16="http://schemas.microsoft.com/office/drawing/2014/main" val="20023"/>
                    </a:ext>
                  </a:extLst>
                </a:gridCol>
              </a:tblGrid>
              <a:tr h="237871">
                <a:tc gridSpan="24">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1000" b="1" dirty="0">
                          <a:solidFill>
                            <a:schemeClr val="bg1"/>
                          </a:solidFill>
                        </a:rPr>
                        <a:t>November</a:t>
                      </a:r>
                    </a:p>
                  </a:txBody>
                  <a:tcPr marL="35995" marR="35995" marT="45716" marB="4571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02776">
                        <a:lumMod val="75000"/>
                      </a:srgbClr>
                    </a:solidFill>
                  </a:tcPr>
                </a:tc>
                <a:tc hMerge="1">
                  <a:txBody>
                    <a:bodyPr/>
                    <a:lstStyle/>
                    <a:p>
                      <a:endParaRPr lang="en-AU"/>
                    </a:p>
                  </a:txBody>
                  <a:tcPr/>
                </a:tc>
                <a:tc hMerge="1">
                  <a:txBody>
                    <a:bodyPr/>
                    <a:lstStyle/>
                    <a:p>
                      <a:pPr algn="ct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endParaRPr lang="en-AU"/>
                    </a:p>
                  </a:txBody>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5998" marR="35998" marT="45716" marB="45716" anchor="ctr">
                    <a:solidFill>
                      <a:schemeClr val="tx2">
                        <a:lumMod val="75000"/>
                      </a:schemeClr>
                    </a:solidFill>
                  </a:tcPr>
                </a:tc>
                <a:tc hMerge="1">
                  <a:txBody>
                    <a:bodyPr/>
                    <a:lstStyle/>
                    <a:p>
                      <a:endParaRPr lang="en-AU"/>
                    </a:p>
                  </a:txBody>
                  <a:tcPr/>
                </a:tc>
                <a:extLst>
                  <a:ext uri="{0D108BD9-81ED-4DB2-BD59-A6C34878D82A}">
                    <a16:rowId xmlns:a16="http://schemas.microsoft.com/office/drawing/2014/main" val="10000"/>
                  </a:ext>
                </a:extLst>
              </a:tr>
              <a:tr h="237144">
                <a:tc>
                  <a:txBody>
                    <a:bodyPr/>
                    <a:lstStyle/>
                    <a:p>
                      <a:pPr algn="ctr"/>
                      <a:r>
                        <a:rPr lang="en-AU" sz="1100" dirty="0">
                          <a:solidFill>
                            <a:srgbClr val="002060"/>
                          </a:solidFill>
                        </a:rPr>
                        <a:t>6</a:t>
                      </a:r>
                    </a:p>
                  </a:txBody>
                  <a:tcPr marL="35995" marR="35995" marT="45716" marB="45716" anchor="ctr">
                    <a:lnL w="9525"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7</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8</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9</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0</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1</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2</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3</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4</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5</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6</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7</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8</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19</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0</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1</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2</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3</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4</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5</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6</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algn="ctr"/>
                      <a:r>
                        <a:rPr lang="en-AU" sz="1100" dirty="0">
                          <a:solidFill>
                            <a:srgbClr val="002060"/>
                          </a:solidFill>
                        </a:rPr>
                        <a:t>27</a:t>
                      </a:r>
                    </a:p>
                  </a:txBody>
                  <a:tcPr marL="35995" marR="35995" marT="45716" marB="45716"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ctr" defTabSz="914400" rtl="0" eaLnBrk="1" latinLnBrk="0" hangingPunct="1"/>
                      <a:r>
                        <a:rPr lang="en-US" sz="1100" kern="1200" noProof="0" dirty="0">
                          <a:solidFill>
                            <a:srgbClr val="002060"/>
                          </a:solidFill>
                          <a:latin typeface="+mn-lt"/>
                          <a:ea typeface="+mn-ea"/>
                          <a:cs typeface="+mn-cs"/>
                        </a:rPr>
                        <a:t>28</a:t>
                      </a: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FFFF">
                        <a:lumMod val="85000"/>
                      </a:srgbClr>
                    </a:solidFill>
                  </a:tcPr>
                </a:tc>
                <a:tc>
                  <a:txBody>
                    <a:bodyPr/>
                    <a:lstStyle/>
                    <a:p>
                      <a:pPr marL="0" algn="ctr" defTabSz="914400" rtl="0" eaLnBrk="1" latinLnBrk="0" hangingPunct="1"/>
                      <a:r>
                        <a:rPr lang="en-US" sz="1100" kern="1200" noProof="0" dirty="0">
                          <a:solidFill>
                            <a:srgbClr val="002060"/>
                          </a:solidFill>
                          <a:latin typeface="+mn-lt"/>
                          <a:ea typeface="+mn-ea"/>
                          <a:cs typeface="+mn-cs"/>
                        </a:rPr>
                        <a:t>29</a:t>
                      </a:r>
                    </a:p>
                  </a:txBody>
                  <a:tcPr marL="35995" marR="35995" marT="45716" marB="45716" anchor="ctr">
                    <a:lnL w="12700" cap="flat" cmpd="sng" algn="ctr">
                      <a:solidFill>
                        <a:srgbClr val="FFFFFF"/>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1"/>
                  </a:ext>
                </a:extLst>
              </a:tr>
              <a:tr h="3998144">
                <a:tc>
                  <a:txBody>
                    <a:bodyPr/>
                    <a:lstStyle/>
                    <a:p>
                      <a:endParaRPr lang="en-AU"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mpd="sng">
                      <a:solidFill>
                        <a:srgbClr val="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2"/>
                  </a:ext>
                </a:extLst>
              </a:tr>
            </a:tbl>
          </a:graphicData>
        </a:graphic>
      </p:graphicFrame>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20" name="AutoShape 72">
            <a:extLst>
              <a:ext uri="{FF2B5EF4-FFF2-40B4-BE49-F238E27FC236}">
                <a16:creationId xmlns:a16="http://schemas.microsoft.com/office/drawing/2014/main" id="{95B39C99-EA1A-4FB5-9BE0-0CAEDCB39B35}"/>
              </a:ext>
            </a:extLst>
          </p:cNvPr>
          <p:cNvSpPr>
            <a:spLocks noChangeArrowheads="1"/>
          </p:cNvSpPr>
          <p:nvPr/>
        </p:nvSpPr>
        <p:spPr bwMode="auto">
          <a:xfrm>
            <a:off x="684269" y="2705479"/>
            <a:ext cx="1944631"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fr-FR" sz="1100" b="1" dirty="0">
                <a:solidFill>
                  <a:schemeClr val="bg1"/>
                </a:solidFill>
              </a:rPr>
              <a:t>Phase I</a:t>
            </a:r>
          </a:p>
        </p:txBody>
      </p:sp>
      <p:sp>
        <p:nvSpPr>
          <p:cNvPr id="23" name="AutoShape 72">
            <a:extLst>
              <a:ext uri="{FF2B5EF4-FFF2-40B4-BE49-F238E27FC236}">
                <a16:creationId xmlns:a16="http://schemas.microsoft.com/office/drawing/2014/main" id="{2E0F3C0A-A86D-4B10-9E1B-07D4170F9DB0}"/>
              </a:ext>
            </a:extLst>
          </p:cNvPr>
          <p:cNvSpPr>
            <a:spLocks noChangeArrowheads="1"/>
          </p:cNvSpPr>
          <p:nvPr/>
        </p:nvSpPr>
        <p:spPr bwMode="auto">
          <a:xfrm>
            <a:off x="2788226" y="4031401"/>
            <a:ext cx="4963391"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II</a:t>
            </a:r>
          </a:p>
        </p:txBody>
      </p:sp>
      <p:sp>
        <p:nvSpPr>
          <p:cNvPr id="24" name="AutoShape 72">
            <a:extLst>
              <a:ext uri="{FF2B5EF4-FFF2-40B4-BE49-F238E27FC236}">
                <a16:creationId xmlns:a16="http://schemas.microsoft.com/office/drawing/2014/main" id="{F32C073C-F391-461C-AD8F-19C9D37DC0FE}"/>
              </a:ext>
            </a:extLst>
          </p:cNvPr>
          <p:cNvSpPr>
            <a:spLocks noChangeArrowheads="1"/>
          </p:cNvSpPr>
          <p:nvPr/>
        </p:nvSpPr>
        <p:spPr bwMode="auto">
          <a:xfrm>
            <a:off x="7481455" y="5357323"/>
            <a:ext cx="3725602"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III</a:t>
            </a:r>
          </a:p>
        </p:txBody>
      </p:sp>
      <p:sp>
        <p:nvSpPr>
          <p:cNvPr id="35" name="TextBox 34">
            <a:extLst>
              <a:ext uri="{FF2B5EF4-FFF2-40B4-BE49-F238E27FC236}">
                <a16:creationId xmlns:a16="http://schemas.microsoft.com/office/drawing/2014/main" id="{FE39EEFD-3D75-4C29-B54B-8428A6A6CEE1}"/>
              </a:ext>
            </a:extLst>
          </p:cNvPr>
          <p:cNvSpPr txBox="1"/>
          <p:nvPr/>
        </p:nvSpPr>
        <p:spPr>
          <a:xfrm>
            <a:off x="4535415" y="1543625"/>
            <a:ext cx="3124200" cy="338554"/>
          </a:xfrm>
          <a:prstGeom prst="rect">
            <a:avLst/>
          </a:prstGeom>
          <a:noFill/>
        </p:spPr>
        <p:txBody>
          <a:bodyPr wrap="square" rtlCol="0">
            <a:spAutoFit/>
          </a:bodyPr>
          <a:lstStyle/>
          <a:p>
            <a:pPr algn="ctr"/>
            <a:r>
              <a:rPr lang="en-US" sz="1600" b="1" dirty="0"/>
              <a:t>Split by days</a:t>
            </a:r>
          </a:p>
        </p:txBody>
      </p:sp>
      <p:sp>
        <p:nvSpPr>
          <p:cNvPr id="2" name="Rectangle: Rounded Corners 1">
            <a:extLst>
              <a:ext uri="{FF2B5EF4-FFF2-40B4-BE49-F238E27FC236}">
                <a16:creationId xmlns:a16="http://schemas.microsoft.com/office/drawing/2014/main" id="{B38A76A8-2FC2-3347-3118-58FCD53D979A}"/>
              </a:ext>
            </a:extLst>
          </p:cNvPr>
          <p:cNvSpPr/>
          <p:nvPr/>
        </p:nvSpPr>
        <p:spPr>
          <a:xfrm>
            <a:off x="10191750" y="341632"/>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920170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1</a:t>
            </a:fld>
            <a:endParaRPr lang="en-US" sz="1000" dirty="0">
              <a:solidFill>
                <a:srgbClr val="ADAFBB"/>
              </a:solidFill>
            </a:endParaRPr>
          </a:p>
        </p:txBody>
      </p:sp>
      <p:graphicFrame>
        <p:nvGraphicFramePr>
          <p:cNvPr id="33" name="Content Placeholder 5">
            <a:extLst>
              <a:ext uri="{FF2B5EF4-FFF2-40B4-BE49-F238E27FC236}">
                <a16:creationId xmlns:a16="http://schemas.microsoft.com/office/drawing/2014/main" id="{4ED43654-435D-4F6B-A6D5-5CBCFCA36895}"/>
              </a:ext>
            </a:extLst>
          </p:cNvPr>
          <p:cNvGraphicFramePr>
            <a:graphicFrameLocks/>
          </p:cNvGraphicFramePr>
          <p:nvPr/>
        </p:nvGraphicFramePr>
        <p:xfrm>
          <a:off x="604837" y="1667673"/>
          <a:ext cx="10982326" cy="4716204"/>
        </p:xfrm>
        <a:graphic>
          <a:graphicData uri="http://schemas.openxmlformats.org/drawingml/2006/table">
            <a:tbl>
              <a:tblPr firstRow="1" bandRow="1"/>
              <a:tblGrid>
                <a:gridCol w="1665926">
                  <a:extLst>
                    <a:ext uri="{9D8B030D-6E8A-4147-A177-3AD203B41FA5}">
                      <a16:colId xmlns:a16="http://schemas.microsoft.com/office/drawing/2014/main" val="20000"/>
                    </a:ext>
                  </a:extLst>
                </a:gridCol>
                <a:gridCol w="1164550">
                  <a:extLst>
                    <a:ext uri="{9D8B030D-6E8A-4147-A177-3AD203B41FA5}">
                      <a16:colId xmlns:a16="http://schemas.microsoft.com/office/drawing/2014/main" val="20001"/>
                    </a:ext>
                  </a:extLst>
                </a:gridCol>
                <a:gridCol w="1164550">
                  <a:extLst>
                    <a:ext uri="{9D8B030D-6E8A-4147-A177-3AD203B41FA5}">
                      <a16:colId xmlns:a16="http://schemas.microsoft.com/office/drawing/2014/main" val="20002"/>
                    </a:ext>
                  </a:extLst>
                </a:gridCol>
                <a:gridCol w="1164550">
                  <a:extLst>
                    <a:ext uri="{9D8B030D-6E8A-4147-A177-3AD203B41FA5}">
                      <a16:colId xmlns:a16="http://schemas.microsoft.com/office/drawing/2014/main" val="20003"/>
                    </a:ext>
                  </a:extLst>
                </a:gridCol>
                <a:gridCol w="1164550">
                  <a:extLst>
                    <a:ext uri="{9D8B030D-6E8A-4147-A177-3AD203B41FA5}">
                      <a16:colId xmlns:a16="http://schemas.microsoft.com/office/drawing/2014/main" val="20004"/>
                    </a:ext>
                  </a:extLst>
                </a:gridCol>
                <a:gridCol w="1164550">
                  <a:extLst>
                    <a:ext uri="{9D8B030D-6E8A-4147-A177-3AD203B41FA5}">
                      <a16:colId xmlns:a16="http://schemas.microsoft.com/office/drawing/2014/main" val="20005"/>
                    </a:ext>
                  </a:extLst>
                </a:gridCol>
                <a:gridCol w="1164550">
                  <a:extLst>
                    <a:ext uri="{9D8B030D-6E8A-4147-A177-3AD203B41FA5}">
                      <a16:colId xmlns:a16="http://schemas.microsoft.com/office/drawing/2014/main" val="20006"/>
                    </a:ext>
                  </a:extLst>
                </a:gridCol>
                <a:gridCol w="1164550">
                  <a:extLst>
                    <a:ext uri="{9D8B030D-6E8A-4147-A177-3AD203B41FA5}">
                      <a16:colId xmlns:a16="http://schemas.microsoft.com/office/drawing/2014/main" val="20007"/>
                    </a:ext>
                  </a:extLst>
                </a:gridCol>
                <a:gridCol w="1164550">
                  <a:extLst>
                    <a:ext uri="{9D8B030D-6E8A-4147-A177-3AD203B41FA5}">
                      <a16:colId xmlns:a16="http://schemas.microsoft.com/office/drawing/2014/main" val="20008"/>
                    </a:ext>
                  </a:extLst>
                </a:gridCol>
              </a:tblGrid>
              <a:tr h="297986">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AU" sz="1400" b="1" kern="1200" baseline="0" dirty="0">
                          <a:solidFill>
                            <a:schemeClr val="bg1"/>
                          </a:solidFill>
                          <a:latin typeface="+mn-lt"/>
                          <a:ea typeface="Calibri"/>
                          <a:cs typeface="Times New Roman"/>
                        </a:rPr>
                        <a:t>Insert name</a:t>
                      </a:r>
                      <a:endParaRPr lang="en-AU" sz="1100" b="0" i="1" kern="1200" baseline="0" dirty="0">
                        <a:solidFill>
                          <a:schemeClr val="bg1"/>
                        </a:solidFill>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1"/>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2"/>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3"/>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4"/>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5"/>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6"/>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7"/>
                  </a:ext>
                </a:extLst>
              </a:tr>
            </a:tbl>
          </a:graphicData>
        </a:graphic>
      </p:graphicFrame>
      <p:sp>
        <p:nvSpPr>
          <p:cNvPr id="38" name="Rounded Rectangle 23">
            <a:extLst>
              <a:ext uri="{FF2B5EF4-FFF2-40B4-BE49-F238E27FC236}">
                <a16:creationId xmlns:a16="http://schemas.microsoft.com/office/drawing/2014/main" id="{A0E5F01E-463D-4704-92FC-896DA290B24D}"/>
              </a:ext>
            </a:extLst>
          </p:cNvPr>
          <p:cNvSpPr/>
          <p:nvPr/>
        </p:nvSpPr>
        <p:spPr>
          <a:xfrm>
            <a:off x="2926991" y="2192912"/>
            <a:ext cx="2001965"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9" name="Rounded Rectangle 24">
            <a:extLst>
              <a:ext uri="{FF2B5EF4-FFF2-40B4-BE49-F238E27FC236}">
                <a16:creationId xmlns:a16="http://schemas.microsoft.com/office/drawing/2014/main" id="{D0CF418A-BDE5-4802-B799-3CA7A071FDBA}"/>
              </a:ext>
            </a:extLst>
          </p:cNvPr>
          <p:cNvSpPr/>
          <p:nvPr/>
        </p:nvSpPr>
        <p:spPr>
          <a:xfrm>
            <a:off x="4922790" y="2819800"/>
            <a:ext cx="51213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0" name="Rounded Rectangle 25">
            <a:extLst>
              <a:ext uri="{FF2B5EF4-FFF2-40B4-BE49-F238E27FC236}">
                <a16:creationId xmlns:a16="http://schemas.microsoft.com/office/drawing/2014/main" id="{182A2A06-7521-4268-9C96-070A137A9CD5}"/>
              </a:ext>
            </a:extLst>
          </p:cNvPr>
          <p:cNvSpPr/>
          <p:nvPr/>
        </p:nvSpPr>
        <p:spPr>
          <a:xfrm>
            <a:off x="5796216" y="2192912"/>
            <a:ext cx="558688"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1" name="Rounded Rectangle 28">
            <a:extLst>
              <a:ext uri="{FF2B5EF4-FFF2-40B4-BE49-F238E27FC236}">
                <a16:creationId xmlns:a16="http://schemas.microsoft.com/office/drawing/2014/main" id="{2AB5E20D-F317-47E4-896E-A06B21AC8954}"/>
              </a:ext>
            </a:extLst>
          </p:cNvPr>
          <p:cNvSpPr/>
          <p:nvPr/>
        </p:nvSpPr>
        <p:spPr>
          <a:xfrm>
            <a:off x="4975741" y="3454224"/>
            <a:ext cx="51213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2" name="Rounded Rectangle 29">
            <a:extLst>
              <a:ext uri="{FF2B5EF4-FFF2-40B4-BE49-F238E27FC236}">
                <a16:creationId xmlns:a16="http://schemas.microsoft.com/office/drawing/2014/main" id="{E3BF809C-5B3F-44FE-B918-F789E96B0472}"/>
              </a:ext>
            </a:extLst>
          </p:cNvPr>
          <p:cNvSpPr/>
          <p:nvPr/>
        </p:nvSpPr>
        <p:spPr>
          <a:xfrm>
            <a:off x="7494990" y="4692008"/>
            <a:ext cx="1443277"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3" name="Rounded Rectangle 30">
            <a:extLst>
              <a:ext uri="{FF2B5EF4-FFF2-40B4-BE49-F238E27FC236}">
                <a16:creationId xmlns:a16="http://schemas.microsoft.com/office/drawing/2014/main" id="{507952D0-A1AE-4F2A-A519-D5B877E45AE1}"/>
              </a:ext>
            </a:extLst>
          </p:cNvPr>
          <p:cNvSpPr/>
          <p:nvPr/>
        </p:nvSpPr>
        <p:spPr>
          <a:xfrm>
            <a:off x="8904808" y="5340080"/>
            <a:ext cx="1489835"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5" name="Rounded Rectangle 26">
            <a:extLst>
              <a:ext uri="{FF2B5EF4-FFF2-40B4-BE49-F238E27FC236}">
                <a16:creationId xmlns:a16="http://schemas.microsoft.com/office/drawing/2014/main" id="{19D2C2AE-FA13-40A1-9CC1-365C9F524F66}"/>
              </a:ext>
            </a:extLst>
          </p:cNvPr>
          <p:cNvSpPr/>
          <p:nvPr/>
        </p:nvSpPr>
        <p:spPr>
          <a:xfrm>
            <a:off x="4975741" y="4088648"/>
            <a:ext cx="512131" cy="216024"/>
          </a:xfrm>
          <a:prstGeom prst="roundRect">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6" name="Rounded Rectangle 39">
            <a:extLst>
              <a:ext uri="{FF2B5EF4-FFF2-40B4-BE49-F238E27FC236}">
                <a16:creationId xmlns:a16="http://schemas.microsoft.com/office/drawing/2014/main" id="{EE8A8502-0CD0-4C05-B0BA-560DC668AEFA}"/>
              </a:ext>
            </a:extLst>
          </p:cNvPr>
          <p:cNvSpPr/>
          <p:nvPr/>
        </p:nvSpPr>
        <p:spPr>
          <a:xfrm>
            <a:off x="5796216" y="2819800"/>
            <a:ext cx="558688"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7" name="Rounded Rectangle 45">
            <a:extLst>
              <a:ext uri="{FF2B5EF4-FFF2-40B4-BE49-F238E27FC236}">
                <a16:creationId xmlns:a16="http://schemas.microsoft.com/office/drawing/2014/main" id="{8C008928-3CB3-4B8C-A7F7-EA053977DAE4}"/>
              </a:ext>
            </a:extLst>
          </p:cNvPr>
          <p:cNvSpPr/>
          <p:nvPr/>
        </p:nvSpPr>
        <p:spPr>
          <a:xfrm>
            <a:off x="7490117" y="2819800"/>
            <a:ext cx="4097045"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dirty="0">
              <a:ln>
                <a:noFill/>
              </a:ln>
              <a:solidFill>
                <a:prstClr val="white"/>
              </a:solidFill>
              <a:effectLst/>
              <a:uLnTx/>
              <a:uFillTx/>
              <a:latin typeface="Arial"/>
              <a:ea typeface="+mn-ea"/>
              <a:cs typeface="+mn-cs"/>
            </a:endParaRPr>
          </a:p>
        </p:txBody>
      </p:sp>
      <p:sp>
        <p:nvSpPr>
          <p:cNvPr id="48" name="Rounded Rectangle 31">
            <a:extLst>
              <a:ext uri="{FF2B5EF4-FFF2-40B4-BE49-F238E27FC236}">
                <a16:creationId xmlns:a16="http://schemas.microsoft.com/office/drawing/2014/main" id="{07EF247C-41B9-4F29-8781-F1A47FA78BB5}"/>
              </a:ext>
            </a:extLst>
          </p:cNvPr>
          <p:cNvSpPr/>
          <p:nvPr/>
        </p:nvSpPr>
        <p:spPr>
          <a:xfrm>
            <a:off x="8904808" y="5957088"/>
            <a:ext cx="1489835" cy="216024"/>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D84C3B2D-A5C9-488F-985C-CF8CA7B05311}"/>
              </a:ext>
            </a:extLst>
          </p:cNvPr>
          <p:cNvSpPr/>
          <p:nvPr/>
        </p:nvSpPr>
        <p:spPr>
          <a:xfrm>
            <a:off x="9103867" y="601477"/>
            <a:ext cx="2483296" cy="620776"/>
          </a:xfrm>
          <a:prstGeom prst="rect">
            <a:avLst/>
          </a:prstGeom>
          <a:noFill/>
          <a:ln w="9525" cap="flat" cmpd="sng" algn="ctr">
            <a:solidFill>
              <a:schemeClr val="tx1"/>
            </a:solidFill>
            <a:prstDash val="solid"/>
          </a:ln>
          <a:effectLst/>
        </p:spPr>
        <p:txBody>
          <a:bodyPr l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dirty="0">
                <a:ln>
                  <a:noFill/>
                </a:ln>
                <a:effectLst/>
                <a:uLnTx/>
                <a:uFillTx/>
                <a:ea typeface="+mn-ea"/>
                <a:cs typeface="+mn-cs"/>
              </a:rPr>
              <a:t>Key:</a:t>
            </a:r>
          </a:p>
        </p:txBody>
      </p:sp>
      <p:sp>
        <p:nvSpPr>
          <p:cNvPr id="36" name="TextBox 35">
            <a:extLst>
              <a:ext uri="{FF2B5EF4-FFF2-40B4-BE49-F238E27FC236}">
                <a16:creationId xmlns:a16="http://schemas.microsoft.com/office/drawing/2014/main" id="{732E1899-A00E-4D48-B76F-0AFFFAFC0ED5}"/>
              </a:ext>
            </a:extLst>
          </p:cNvPr>
          <p:cNvSpPr txBox="1"/>
          <p:nvPr/>
        </p:nvSpPr>
        <p:spPr>
          <a:xfrm>
            <a:off x="10001889" y="598609"/>
            <a:ext cx="129614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name</a:t>
            </a:r>
          </a:p>
        </p:txBody>
      </p:sp>
      <p:sp>
        <p:nvSpPr>
          <p:cNvPr id="44" name="Rounded Rectangle 21">
            <a:extLst>
              <a:ext uri="{FF2B5EF4-FFF2-40B4-BE49-F238E27FC236}">
                <a16:creationId xmlns:a16="http://schemas.microsoft.com/office/drawing/2014/main" id="{4871C7DF-78B3-47AA-9C81-1412AAC5C5F9}"/>
              </a:ext>
            </a:extLst>
          </p:cNvPr>
          <p:cNvSpPr/>
          <p:nvPr/>
        </p:nvSpPr>
        <p:spPr>
          <a:xfrm>
            <a:off x="9571429" y="642781"/>
            <a:ext cx="432984" cy="152400"/>
          </a:xfrm>
          <a:prstGeom prst="roundRect">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49" name="Rounded Rectangle 21">
            <a:extLst>
              <a:ext uri="{FF2B5EF4-FFF2-40B4-BE49-F238E27FC236}">
                <a16:creationId xmlns:a16="http://schemas.microsoft.com/office/drawing/2014/main" id="{BB12335B-5C21-42F5-9945-C3572F0A6D3D}"/>
              </a:ext>
            </a:extLst>
          </p:cNvPr>
          <p:cNvSpPr/>
          <p:nvPr/>
        </p:nvSpPr>
        <p:spPr>
          <a:xfrm>
            <a:off x="9571429" y="834357"/>
            <a:ext cx="432984" cy="152400"/>
          </a:xfrm>
          <a:prstGeom prst="roundRect">
            <a:avLst/>
          </a:prstGeom>
          <a:solidFill>
            <a:srgbClr val="00B05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dirty="0">
              <a:ln>
                <a:noFill/>
              </a:ln>
              <a:effectLst/>
              <a:uLnTx/>
              <a:uFillTx/>
              <a:ea typeface="+mn-ea"/>
              <a:cs typeface="+mn-cs"/>
            </a:endParaRPr>
          </a:p>
        </p:txBody>
      </p:sp>
      <p:sp>
        <p:nvSpPr>
          <p:cNvPr id="50" name="Rounded Rectangle 21">
            <a:extLst>
              <a:ext uri="{FF2B5EF4-FFF2-40B4-BE49-F238E27FC236}">
                <a16:creationId xmlns:a16="http://schemas.microsoft.com/office/drawing/2014/main" id="{B8BF6A8D-BB4C-4B55-AF3E-5459291A81D6}"/>
              </a:ext>
            </a:extLst>
          </p:cNvPr>
          <p:cNvSpPr/>
          <p:nvPr/>
        </p:nvSpPr>
        <p:spPr>
          <a:xfrm>
            <a:off x="9571429" y="1024185"/>
            <a:ext cx="432984" cy="152400"/>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51" name="TextBox 50">
            <a:extLst>
              <a:ext uri="{FF2B5EF4-FFF2-40B4-BE49-F238E27FC236}">
                <a16:creationId xmlns:a16="http://schemas.microsoft.com/office/drawing/2014/main" id="{64A94F9F-DA37-421A-BBB4-A777FC71DDC5}"/>
              </a:ext>
            </a:extLst>
          </p:cNvPr>
          <p:cNvSpPr txBox="1"/>
          <p:nvPr/>
        </p:nvSpPr>
        <p:spPr>
          <a:xfrm>
            <a:off x="10001889" y="783473"/>
            <a:ext cx="129614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name</a:t>
            </a:r>
          </a:p>
        </p:txBody>
      </p:sp>
      <p:sp>
        <p:nvSpPr>
          <p:cNvPr id="52" name="TextBox 51">
            <a:extLst>
              <a:ext uri="{FF2B5EF4-FFF2-40B4-BE49-F238E27FC236}">
                <a16:creationId xmlns:a16="http://schemas.microsoft.com/office/drawing/2014/main" id="{76A51B39-1B4A-47E2-A2AF-9879C35E6784}"/>
              </a:ext>
            </a:extLst>
          </p:cNvPr>
          <p:cNvSpPr txBox="1"/>
          <p:nvPr/>
        </p:nvSpPr>
        <p:spPr>
          <a:xfrm>
            <a:off x="10001889" y="965182"/>
            <a:ext cx="1296144"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name</a:t>
            </a:r>
          </a:p>
        </p:txBody>
      </p:sp>
      <p:sp>
        <p:nvSpPr>
          <p:cNvPr id="2" name="Rectangle: Rounded Corners 1">
            <a:extLst>
              <a:ext uri="{FF2B5EF4-FFF2-40B4-BE49-F238E27FC236}">
                <a16:creationId xmlns:a16="http://schemas.microsoft.com/office/drawing/2014/main" id="{3CF11B57-B631-2B81-43F1-C206F4E31D41}"/>
              </a:ext>
            </a:extLst>
          </p:cNvPr>
          <p:cNvSpPr/>
          <p:nvPr/>
        </p:nvSpPr>
        <p:spPr>
          <a:xfrm>
            <a:off x="10208484" y="227788"/>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993088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2</a:t>
            </a:fld>
            <a:endParaRPr lang="en-US" sz="1000" dirty="0">
              <a:solidFill>
                <a:srgbClr val="ADAFBB"/>
              </a:solidFill>
            </a:endParaRPr>
          </a:p>
        </p:txBody>
      </p:sp>
      <p:graphicFrame>
        <p:nvGraphicFramePr>
          <p:cNvPr id="23" name="Group 3">
            <a:extLst>
              <a:ext uri="{FF2B5EF4-FFF2-40B4-BE49-F238E27FC236}">
                <a16:creationId xmlns:a16="http://schemas.microsoft.com/office/drawing/2014/main" id="{3190BAF7-0487-4DB1-B3D2-2884AC50C596}"/>
              </a:ext>
            </a:extLst>
          </p:cNvPr>
          <p:cNvGraphicFramePr>
            <a:graphicFrameLocks noGrp="1"/>
          </p:cNvGraphicFramePr>
          <p:nvPr/>
        </p:nvGraphicFramePr>
        <p:xfrm>
          <a:off x="604836" y="1667672"/>
          <a:ext cx="10982329" cy="4716200"/>
        </p:xfrm>
        <a:graphic>
          <a:graphicData uri="http://schemas.openxmlformats.org/drawingml/2006/table">
            <a:tbl>
              <a:tblPr>
                <a:tableStyleId>{8799B23B-EC83-4686-B30A-512413B5E67A}</a:tableStyleId>
              </a:tblPr>
              <a:tblGrid>
                <a:gridCol w="1846312">
                  <a:extLst>
                    <a:ext uri="{9D8B030D-6E8A-4147-A177-3AD203B41FA5}">
                      <a16:colId xmlns:a16="http://schemas.microsoft.com/office/drawing/2014/main" val="20000"/>
                    </a:ext>
                  </a:extLst>
                </a:gridCol>
                <a:gridCol w="830547">
                  <a:extLst>
                    <a:ext uri="{9D8B030D-6E8A-4147-A177-3AD203B41FA5}">
                      <a16:colId xmlns:a16="http://schemas.microsoft.com/office/drawing/2014/main" val="20001"/>
                    </a:ext>
                  </a:extLst>
                </a:gridCol>
                <a:gridCol w="830547">
                  <a:extLst>
                    <a:ext uri="{9D8B030D-6E8A-4147-A177-3AD203B41FA5}">
                      <a16:colId xmlns:a16="http://schemas.microsoft.com/office/drawing/2014/main" val="20002"/>
                    </a:ext>
                  </a:extLst>
                </a:gridCol>
                <a:gridCol w="830547">
                  <a:extLst>
                    <a:ext uri="{9D8B030D-6E8A-4147-A177-3AD203B41FA5}">
                      <a16:colId xmlns:a16="http://schemas.microsoft.com/office/drawing/2014/main" val="20003"/>
                    </a:ext>
                  </a:extLst>
                </a:gridCol>
                <a:gridCol w="830547">
                  <a:extLst>
                    <a:ext uri="{9D8B030D-6E8A-4147-A177-3AD203B41FA5}">
                      <a16:colId xmlns:a16="http://schemas.microsoft.com/office/drawing/2014/main" val="20004"/>
                    </a:ext>
                  </a:extLst>
                </a:gridCol>
                <a:gridCol w="830547">
                  <a:extLst>
                    <a:ext uri="{9D8B030D-6E8A-4147-A177-3AD203B41FA5}">
                      <a16:colId xmlns:a16="http://schemas.microsoft.com/office/drawing/2014/main" val="20005"/>
                    </a:ext>
                  </a:extLst>
                </a:gridCol>
                <a:gridCol w="830547">
                  <a:extLst>
                    <a:ext uri="{9D8B030D-6E8A-4147-A177-3AD203B41FA5}">
                      <a16:colId xmlns:a16="http://schemas.microsoft.com/office/drawing/2014/main" val="20006"/>
                    </a:ext>
                  </a:extLst>
                </a:gridCol>
                <a:gridCol w="830547">
                  <a:extLst>
                    <a:ext uri="{9D8B030D-6E8A-4147-A177-3AD203B41FA5}">
                      <a16:colId xmlns:a16="http://schemas.microsoft.com/office/drawing/2014/main" val="20007"/>
                    </a:ext>
                  </a:extLst>
                </a:gridCol>
                <a:gridCol w="830547">
                  <a:extLst>
                    <a:ext uri="{9D8B030D-6E8A-4147-A177-3AD203B41FA5}">
                      <a16:colId xmlns:a16="http://schemas.microsoft.com/office/drawing/2014/main" val="20008"/>
                    </a:ext>
                  </a:extLst>
                </a:gridCol>
                <a:gridCol w="830547">
                  <a:extLst>
                    <a:ext uri="{9D8B030D-6E8A-4147-A177-3AD203B41FA5}">
                      <a16:colId xmlns:a16="http://schemas.microsoft.com/office/drawing/2014/main" val="20009"/>
                    </a:ext>
                  </a:extLst>
                </a:gridCol>
                <a:gridCol w="830547">
                  <a:extLst>
                    <a:ext uri="{9D8B030D-6E8A-4147-A177-3AD203B41FA5}">
                      <a16:colId xmlns:a16="http://schemas.microsoft.com/office/drawing/2014/main" val="20010"/>
                    </a:ext>
                  </a:extLst>
                </a:gridCol>
                <a:gridCol w="830547">
                  <a:extLst>
                    <a:ext uri="{9D8B030D-6E8A-4147-A177-3AD203B41FA5}">
                      <a16:colId xmlns:a16="http://schemas.microsoft.com/office/drawing/2014/main" val="20011"/>
                    </a:ext>
                  </a:extLst>
                </a:gridCol>
              </a:tblGrid>
              <a:tr h="400346">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1"/>
                          </a:solidFill>
                          <a:effectLst/>
                          <a:latin typeface="+mn-lt"/>
                        </a:rPr>
                        <a:t>Week</a:t>
                      </a: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2</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3</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4</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5</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6</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7</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8</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9</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10</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11</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0000"/>
                  </a:ext>
                </a:extLst>
              </a:tr>
              <a:tr h="35357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1"/>
                          </a:solidFill>
                          <a:effectLst/>
                          <a:latin typeface="+mn-lt"/>
                        </a:rPr>
                        <a:t>Starts on</a:t>
                      </a: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7/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14/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0001"/>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dirty="0">
                          <a:ln>
                            <a:noFill/>
                          </a:ln>
                          <a:solidFill>
                            <a:schemeClr val="tx1"/>
                          </a:solidFill>
                          <a:effectLst/>
                          <a:latin typeface="+mn-lt"/>
                        </a:rPr>
                        <a:t>Phase 1</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3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36020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1"/>
                          </a:solidFill>
                          <a:effectLst/>
                          <a:latin typeface="+mn-lt"/>
                        </a:rPr>
                        <a:t>Phase 2</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2.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2.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1"/>
                          </a:solidFill>
                          <a:effectLst/>
                          <a:latin typeface="+mn-lt"/>
                        </a:rPr>
                        <a:t>Phase 3</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3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24" name="Rectangle 239">
            <a:extLst>
              <a:ext uri="{FF2B5EF4-FFF2-40B4-BE49-F238E27FC236}">
                <a16:creationId xmlns:a16="http://schemas.microsoft.com/office/drawing/2014/main" id="{B4B367E3-B862-4EC4-B7DD-F5370791E6F6}"/>
              </a:ext>
            </a:extLst>
          </p:cNvPr>
          <p:cNvSpPr>
            <a:spLocks noChangeArrowheads="1"/>
          </p:cNvSpPr>
          <p:nvPr/>
        </p:nvSpPr>
        <p:spPr bwMode="auto">
          <a:xfrm>
            <a:off x="2536826" y="2867316"/>
            <a:ext cx="1448707"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5" name="Rectangle 240">
            <a:extLst>
              <a:ext uri="{FF2B5EF4-FFF2-40B4-BE49-F238E27FC236}">
                <a16:creationId xmlns:a16="http://schemas.microsoft.com/office/drawing/2014/main" id="{3AC29514-2C3F-4A00-99C6-0D9FD64483A9}"/>
              </a:ext>
            </a:extLst>
          </p:cNvPr>
          <p:cNvSpPr>
            <a:spLocks noChangeArrowheads="1"/>
          </p:cNvSpPr>
          <p:nvPr/>
        </p:nvSpPr>
        <p:spPr bwMode="auto">
          <a:xfrm>
            <a:off x="3506229" y="3226960"/>
            <a:ext cx="1448706"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6" name="Rectangle 241">
            <a:extLst>
              <a:ext uri="{FF2B5EF4-FFF2-40B4-BE49-F238E27FC236}">
                <a16:creationId xmlns:a16="http://schemas.microsoft.com/office/drawing/2014/main" id="{5ADF35A9-E47A-4B62-B5FD-9D211CCCBA5F}"/>
              </a:ext>
            </a:extLst>
          </p:cNvPr>
          <p:cNvSpPr>
            <a:spLocks noChangeArrowheads="1"/>
          </p:cNvSpPr>
          <p:nvPr/>
        </p:nvSpPr>
        <p:spPr bwMode="auto">
          <a:xfrm>
            <a:off x="4473473" y="3586604"/>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7" name="Rectangle 239">
            <a:extLst>
              <a:ext uri="{FF2B5EF4-FFF2-40B4-BE49-F238E27FC236}">
                <a16:creationId xmlns:a16="http://schemas.microsoft.com/office/drawing/2014/main" id="{7533CF39-214D-4F54-9D87-75C3C4ECEB1D}"/>
              </a:ext>
            </a:extLst>
          </p:cNvPr>
          <p:cNvSpPr>
            <a:spLocks noChangeArrowheads="1"/>
          </p:cNvSpPr>
          <p:nvPr/>
        </p:nvSpPr>
        <p:spPr bwMode="auto">
          <a:xfrm>
            <a:off x="2536826" y="2507672"/>
            <a:ext cx="3385353" cy="185737"/>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3600" tIns="46800" rIns="93600" bIns="46800" anchor="ctr"/>
          <a:lstStyle/>
          <a:p>
            <a:pPr algn="ctr"/>
            <a:endParaRPr lang="en-GB" dirty="0"/>
          </a:p>
        </p:txBody>
      </p:sp>
      <p:sp>
        <p:nvSpPr>
          <p:cNvPr id="28" name="Rectangle 239">
            <a:extLst>
              <a:ext uri="{FF2B5EF4-FFF2-40B4-BE49-F238E27FC236}">
                <a16:creationId xmlns:a16="http://schemas.microsoft.com/office/drawing/2014/main" id="{7D6A5D58-8A63-4B19-83F4-346E6355FC77}"/>
              </a:ext>
            </a:extLst>
          </p:cNvPr>
          <p:cNvSpPr>
            <a:spLocks noChangeArrowheads="1"/>
          </p:cNvSpPr>
          <p:nvPr/>
        </p:nvSpPr>
        <p:spPr bwMode="auto">
          <a:xfrm>
            <a:off x="5961041" y="4305894"/>
            <a:ext cx="1448707"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9" name="Rectangle 240">
            <a:extLst>
              <a:ext uri="{FF2B5EF4-FFF2-40B4-BE49-F238E27FC236}">
                <a16:creationId xmlns:a16="http://schemas.microsoft.com/office/drawing/2014/main" id="{B540FCD0-82E2-4990-9DD9-0BF3A7F91DAB}"/>
              </a:ext>
            </a:extLst>
          </p:cNvPr>
          <p:cNvSpPr>
            <a:spLocks noChangeArrowheads="1"/>
          </p:cNvSpPr>
          <p:nvPr/>
        </p:nvSpPr>
        <p:spPr bwMode="auto">
          <a:xfrm>
            <a:off x="6930444" y="4665539"/>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0" name="Rectangle 239">
            <a:extLst>
              <a:ext uri="{FF2B5EF4-FFF2-40B4-BE49-F238E27FC236}">
                <a16:creationId xmlns:a16="http://schemas.microsoft.com/office/drawing/2014/main" id="{9E94214F-C7C8-4F02-8D9D-DC85AC858899}"/>
              </a:ext>
            </a:extLst>
          </p:cNvPr>
          <p:cNvSpPr>
            <a:spLocks noChangeArrowheads="1"/>
          </p:cNvSpPr>
          <p:nvPr/>
        </p:nvSpPr>
        <p:spPr bwMode="auto">
          <a:xfrm>
            <a:off x="5961041" y="3946249"/>
            <a:ext cx="2418109" cy="185738"/>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3600" tIns="46800" rIns="93600" bIns="46800" anchor="ctr"/>
          <a:lstStyle/>
          <a:p>
            <a:pPr algn="ctr"/>
            <a:endParaRPr lang="en-GB" dirty="0"/>
          </a:p>
        </p:txBody>
      </p:sp>
      <p:sp>
        <p:nvSpPr>
          <p:cNvPr id="31" name="Rectangle 239">
            <a:extLst>
              <a:ext uri="{FF2B5EF4-FFF2-40B4-BE49-F238E27FC236}">
                <a16:creationId xmlns:a16="http://schemas.microsoft.com/office/drawing/2014/main" id="{7838DC43-1128-4B67-8711-DFDE5CDECF5E}"/>
              </a:ext>
            </a:extLst>
          </p:cNvPr>
          <p:cNvSpPr>
            <a:spLocks noChangeArrowheads="1"/>
          </p:cNvSpPr>
          <p:nvPr/>
        </p:nvSpPr>
        <p:spPr bwMode="auto">
          <a:xfrm>
            <a:off x="8379150" y="5384829"/>
            <a:ext cx="1448707"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2" name="Rectangle 240">
            <a:extLst>
              <a:ext uri="{FF2B5EF4-FFF2-40B4-BE49-F238E27FC236}">
                <a16:creationId xmlns:a16="http://schemas.microsoft.com/office/drawing/2014/main" id="{020D86B3-2EB4-4DA1-AD8D-B7C2756A0776}"/>
              </a:ext>
            </a:extLst>
          </p:cNvPr>
          <p:cNvSpPr>
            <a:spLocks noChangeArrowheads="1"/>
          </p:cNvSpPr>
          <p:nvPr/>
        </p:nvSpPr>
        <p:spPr bwMode="auto">
          <a:xfrm>
            <a:off x="9348553" y="5744474"/>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5" name="Rectangle 239">
            <a:extLst>
              <a:ext uri="{FF2B5EF4-FFF2-40B4-BE49-F238E27FC236}">
                <a16:creationId xmlns:a16="http://schemas.microsoft.com/office/drawing/2014/main" id="{665C5CA5-A62F-47F3-AB16-78734281AC25}"/>
              </a:ext>
            </a:extLst>
          </p:cNvPr>
          <p:cNvSpPr>
            <a:spLocks noChangeArrowheads="1"/>
          </p:cNvSpPr>
          <p:nvPr/>
        </p:nvSpPr>
        <p:spPr bwMode="auto">
          <a:xfrm>
            <a:off x="8379150" y="5025184"/>
            <a:ext cx="2832642" cy="185738"/>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3600" tIns="46800" rIns="93600" bIns="46800" anchor="ctr"/>
          <a:lstStyle/>
          <a:p>
            <a:pPr algn="ctr"/>
            <a:endParaRPr lang="en-GB" dirty="0"/>
          </a:p>
        </p:txBody>
      </p:sp>
      <p:sp>
        <p:nvSpPr>
          <p:cNvPr id="37" name="Rectangle 240">
            <a:extLst>
              <a:ext uri="{FF2B5EF4-FFF2-40B4-BE49-F238E27FC236}">
                <a16:creationId xmlns:a16="http://schemas.microsoft.com/office/drawing/2014/main" id="{66F265F3-B780-4D2C-8AB0-BCEB84E5BD19}"/>
              </a:ext>
            </a:extLst>
          </p:cNvPr>
          <p:cNvSpPr>
            <a:spLocks noChangeArrowheads="1"/>
          </p:cNvSpPr>
          <p:nvPr/>
        </p:nvSpPr>
        <p:spPr bwMode="auto">
          <a:xfrm>
            <a:off x="9827857" y="6104119"/>
            <a:ext cx="1383935"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53" name="Rounded Rectangular Callout 6">
            <a:extLst>
              <a:ext uri="{FF2B5EF4-FFF2-40B4-BE49-F238E27FC236}">
                <a16:creationId xmlns:a16="http://schemas.microsoft.com/office/drawing/2014/main" id="{89D9D082-8BCA-4577-944D-556261C78D83}"/>
              </a:ext>
            </a:extLst>
          </p:cNvPr>
          <p:cNvSpPr/>
          <p:nvPr/>
        </p:nvSpPr>
        <p:spPr bwMode="auto">
          <a:xfrm>
            <a:off x="7170095" y="2730247"/>
            <a:ext cx="4249139" cy="996007"/>
          </a:xfrm>
          <a:prstGeom prst="wedgeRoundRectCallout">
            <a:avLst>
              <a:gd name="adj1" fmla="val -43130"/>
              <a:gd name="adj2" fmla="val -6738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o add a column or a row, select a column or a row, click right and select “Insert”</a:t>
            </a:r>
          </a:p>
          <a:p>
            <a:pPr marL="171450" indent="-171450" defTabSz="623853" fontAlgn="base">
              <a:spcBef>
                <a:spcPts val="300"/>
              </a:spcBef>
              <a:spcAft>
                <a:spcPts val="300"/>
              </a:spcAft>
              <a:buClr>
                <a:srgbClr val="000000"/>
              </a:buClr>
              <a:buFont typeface="Arial" panose="020B0604020202020204" pitchFamily="34" charset="0"/>
              <a:buChar char="•"/>
            </a:pPr>
            <a:r>
              <a:rPr lang="en-GB" sz="1050" b="1" dirty="0">
                <a:solidFill>
                  <a:srgbClr val="0C2870"/>
                </a:solidFill>
                <a:latin typeface="Arial" charset="0"/>
                <a:cs typeface="Times New Roman" pitchFamily="18" charset="0"/>
              </a:rPr>
              <a:t>Use Distribute Columns Evenly and Distribute Rows Evenly in Layout ribbon to keep columns and rows equal in width</a:t>
            </a:r>
          </a:p>
        </p:txBody>
      </p:sp>
      <p:sp>
        <p:nvSpPr>
          <p:cNvPr id="2" name="Rectangle: Rounded Corners 1">
            <a:extLst>
              <a:ext uri="{FF2B5EF4-FFF2-40B4-BE49-F238E27FC236}">
                <a16:creationId xmlns:a16="http://schemas.microsoft.com/office/drawing/2014/main" id="{BBD2645C-3624-BE12-9CD7-E0338D453118}"/>
              </a:ext>
            </a:extLst>
          </p:cNvPr>
          <p:cNvSpPr/>
          <p:nvPr/>
        </p:nvSpPr>
        <p:spPr>
          <a:xfrm>
            <a:off x="10191750" y="341632"/>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911082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graphicFrame>
        <p:nvGraphicFramePr>
          <p:cNvPr id="23" name="Group 3">
            <a:extLst>
              <a:ext uri="{FF2B5EF4-FFF2-40B4-BE49-F238E27FC236}">
                <a16:creationId xmlns:a16="http://schemas.microsoft.com/office/drawing/2014/main" id="{3190BAF7-0487-4DB1-B3D2-2884AC50C596}"/>
              </a:ext>
            </a:extLst>
          </p:cNvPr>
          <p:cNvGraphicFramePr>
            <a:graphicFrameLocks noGrp="1"/>
          </p:cNvGraphicFramePr>
          <p:nvPr/>
        </p:nvGraphicFramePr>
        <p:xfrm>
          <a:off x="604836" y="1667672"/>
          <a:ext cx="10982329" cy="4716200"/>
        </p:xfrm>
        <a:graphic>
          <a:graphicData uri="http://schemas.openxmlformats.org/drawingml/2006/table">
            <a:tbl>
              <a:tblPr>
                <a:tableStyleId>{8799B23B-EC83-4686-B30A-512413B5E67A}</a:tableStyleId>
              </a:tblPr>
              <a:tblGrid>
                <a:gridCol w="1846312">
                  <a:extLst>
                    <a:ext uri="{9D8B030D-6E8A-4147-A177-3AD203B41FA5}">
                      <a16:colId xmlns:a16="http://schemas.microsoft.com/office/drawing/2014/main" val="20000"/>
                    </a:ext>
                  </a:extLst>
                </a:gridCol>
                <a:gridCol w="830547">
                  <a:extLst>
                    <a:ext uri="{9D8B030D-6E8A-4147-A177-3AD203B41FA5}">
                      <a16:colId xmlns:a16="http://schemas.microsoft.com/office/drawing/2014/main" val="20001"/>
                    </a:ext>
                  </a:extLst>
                </a:gridCol>
                <a:gridCol w="830547">
                  <a:extLst>
                    <a:ext uri="{9D8B030D-6E8A-4147-A177-3AD203B41FA5}">
                      <a16:colId xmlns:a16="http://schemas.microsoft.com/office/drawing/2014/main" val="20002"/>
                    </a:ext>
                  </a:extLst>
                </a:gridCol>
                <a:gridCol w="830547">
                  <a:extLst>
                    <a:ext uri="{9D8B030D-6E8A-4147-A177-3AD203B41FA5}">
                      <a16:colId xmlns:a16="http://schemas.microsoft.com/office/drawing/2014/main" val="20003"/>
                    </a:ext>
                  </a:extLst>
                </a:gridCol>
                <a:gridCol w="830547">
                  <a:extLst>
                    <a:ext uri="{9D8B030D-6E8A-4147-A177-3AD203B41FA5}">
                      <a16:colId xmlns:a16="http://schemas.microsoft.com/office/drawing/2014/main" val="20004"/>
                    </a:ext>
                  </a:extLst>
                </a:gridCol>
                <a:gridCol w="830547">
                  <a:extLst>
                    <a:ext uri="{9D8B030D-6E8A-4147-A177-3AD203B41FA5}">
                      <a16:colId xmlns:a16="http://schemas.microsoft.com/office/drawing/2014/main" val="20005"/>
                    </a:ext>
                  </a:extLst>
                </a:gridCol>
                <a:gridCol w="830547">
                  <a:extLst>
                    <a:ext uri="{9D8B030D-6E8A-4147-A177-3AD203B41FA5}">
                      <a16:colId xmlns:a16="http://schemas.microsoft.com/office/drawing/2014/main" val="20006"/>
                    </a:ext>
                  </a:extLst>
                </a:gridCol>
                <a:gridCol w="830547">
                  <a:extLst>
                    <a:ext uri="{9D8B030D-6E8A-4147-A177-3AD203B41FA5}">
                      <a16:colId xmlns:a16="http://schemas.microsoft.com/office/drawing/2014/main" val="20007"/>
                    </a:ext>
                  </a:extLst>
                </a:gridCol>
                <a:gridCol w="830547">
                  <a:extLst>
                    <a:ext uri="{9D8B030D-6E8A-4147-A177-3AD203B41FA5}">
                      <a16:colId xmlns:a16="http://schemas.microsoft.com/office/drawing/2014/main" val="20008"/>
                    </a:ext>
                  </a:extLst>
                </a:gridCol>
                <a:gridCol w="830547">
                  <a:extLst>
                    <a:ext uri="{9D8B030D-6E8A-4147-A177-3AD203B41FA5}">
                      <a16:colId xmlns:a16="http://schemas.microsoft.com/office/drawing/2014/main" val="20009"/>
                    </a:ext>
                  </a:extLst>
                </a:gridCol>
                <a:gridCol w="830547">
                  <a:extLst>
                    <a:ext uri="{9D8B030D-6E8A-4147-A177-3AD203B41FA5}">
                      <a16:colId xmlns:a16="http://schemas.microsoft.com/office/drawing/2014/main" val="20010"/>
                    </a:ext>
                  </a:extLst>
                </a:gridCol>
                <a:gridCol w="830547">
                  <a:extLst>
                    <a:ext uri="{9D8B030D-6E8A-4147-A177-3AD203B41FA5}">
                      <a16:colId xmlns:a16="http://schemas.microsoft.com/office/drawing/2014/main" val="20011"/>
                    </a:ext>
                  </a:extLst>
                </a:gridCol>
              </a:tblGrid>
              <a:tr h="400346">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1"/>
                          </a:solidFill>
                          <a:effectLst/>
                          <a:latin typeface="+mn-lt"/>
                        </a:rPr>
                        <a:t>Week</a:t>
                      </a: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2</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3</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4</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5</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6</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7</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8</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9</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10</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11</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5357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200" b="1" u="none" strike="noStrike" cap="none" normalizeH="0" baseline="0" dirty="0">
                          <a:ln>
                            <a:noFill/>
                          </a:ln>
                          <a:solidFill>
                            <a:schemeClr val="tx1"/>
                          </a:solidFill>
                          <a:effectLst/>
                          <a:latin typeface="+mn-lt"/>
                        </a:rPr>
                        <a:t>Starts on</a:t>
                      </a:r>
                      <a:endParaRPr kumimoji="0" lang="en-GB" altLang="ja-JP" sz="1200" b="1" i="0" u="none" strike="noStrike" cap="none" normalizeH="0" baseline="0" dirty="0">
                        <a:ln>
                          <a:noFill/>
                        </a:ln>
                        <a:solidFill>
                          <a:schemeClr val="tx1"/>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7/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u="none" strike="noStrike" cap="none" normalizeH="0" baseline="0" dirty="0">
                          <a:ln>
                            <a:noFill/>
                          </a:ln>
                          <a:solidFill>
                            <a:schemeClr val="bg1"/>
                          </a:solidFill>
                          <a:effectLst/>
                          <a:latin typeface="+mn-lt"/>
                        </a:rPr>
                        <a:t>14/1</a:t>
                      </a:r>
                      <a:endParaRPr kumimoji="0" lang="en-GB" sz="12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200" b="1" i="0" u="none" strike="noStrike" cap="none" normalizeH="0" baseline="0" dirty="0">
                          <a:ln>
                            <a:noFill/>
                          </a:ln>
                          <a:solidFill>
                            <a:schemeClr val="bg1"/>
                          </a:solidFill>
                          <a:effectLst/>
                          <a:latin typeface="+mn-lt"/>
                        </a:rPr>
                        <a:t>…</a:t>
                      </a: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400" b="1" u="none" strike="noStrike" cap="none" normalizeH="0" baseline="0" dirty="0">
                          <a:ln>
                            <a:noFill/>
                          </a:ln>
                          <a:solidFill>
                            <a:schemeClr val="tx1"/>
                          </a:solidFill>
                          <a:effectLst/>
                          <a:latin typeface="+mn-lt"/>
                        </a:rPr>
                        <a:t>Phase 1</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1.3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36020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1"/>
                          </a:solidFill>
                          <a:effectLst/>
                          <a:latin typeface="+mn-lt"/>
                        </a:rPr>
                        <a:t>Phase 2</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2.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2.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400" b="1" u="none" strike="noStrike" cap="none" normalizeH="0" baseline="0" dirty="0">
                          <a:ln>
                            <a:noFill/>
                          </a:ln>
                          <a:solidFill>
                            <a:schemeClr val="tx1"/>
                          </a:solidFill>
                          <a:effectLst/>
                          <a:latin typeface="+mn-lt"/>
                        </a:rPr>
                        <a:t>Phase 3</a:t>
                      </a:r>
                      <a:endParaRPr kumimoji="0" lang="en-GB" sz="1400" b="1"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1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2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r h="36020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200" u="none" strike="noStrike" cap="none" normalizeH="0" baseline="0" dirty="0">
                          <a:ln>
                            <a:noFill/>
                          </a:ln>
                          <a:solidFill>
                            <a:schemeClr val="tx1"/>
                          </a:solidFill>
                          <a:effectLst/>
                          <a:latin typeface="+mn-lt"/>
                        </a:rPr>
                        <a:t>3.3 Activity</a:t>
                      </a: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2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24" name="Rectangle 239">
            <a:extLst>
              <a:ext uri="{FF2B5EF4-FFF2-40B4-BE49-F238E27FC236}">
                <a16:creationId xmlns:a16="http://schemas.microsoft.com/office/drawing/2014/main" id="{B4B367E3-B862-4EC4-B7DD-F5370791E6F6}"/>
              </a:ext>
            </a:extLst>
          </p:cNvPr>
          <p:cNvSpPr>
            <a:spLocks noChangeArrowheads="1"/>
          </p:cNvSpPr>
          <p:nvPr/>
        </p:nvSpPr>
        <p:spPr bwMode="auto">
          <a:xfrm>
            <a:off x="2536826" y="2867316"/>
            <a:ext cx="1448707"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5" name="Rectangle 240">
            <a:extLst>
              <a:ext uri="{FF2B5EF4-FFF2-40B4-BE49-F238E27FC236}">
                <a16:creationId xmlns:a16="http://schemas.microsoft.com/office/drawing/2014/main" id="{3AC29514-2C3F-4A00-99C6-0D9FD64483A9}"/>
              </a:ext>
            </a:extLst>
          </p:cNvPr>
          <p:cNvSpPr>
            <a:spLocks noChangeArrowheads="1"/>
          </p:cNvSpPr>
          <p:nvPr/>
        </p:nvSpPr>
        <p:spPr bwMode="auto">
          <a:xfrm>
            <a:off x="3506229" y="3226960"/>
            <a:ext cx="1448706"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6" name="Rectangle 241">
            <a:extLst>
              <a:ext uri="{FF2B5EF4-FFF2-40B4-BE49-F238E27FC236}">
                <a16:creationId xmlns:a16="http://schemas.microsoft.com/office/drawing/2014/main" id="{5ADF35A9-E47A-4B62-B5FD-9D211CCCBA5F}"/>
              </a:ext>
            </a:extLst>
          </p:cNvPr>
          <p:cNvSpPr>
            <a:spLocks noChangeArrowheads="1"/>
          </p:cNvSpPr>
          <p:nvPr/>
        </p:nvSpPr>
        <p:spPr bwMode="auto">
          <a:xfrm>
            <a:off x="4473473" y="3586604"/>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7" name="Rectangle 239">
            <a:extLst>
              <a:ext uri="{FF2B5EF4-FFF2-40B4-BE49-F238E27FC236}">
                <a16:creationId xmlns:a16="http://schemas.microsoft.com/office/drawing/2014/main" id="{7533CF39-214D-4F54-9D87-75C3C4ECEB1D}"/>
              </a:ext>
            </a:extLst>
          </p:cNvPr>
          <p:cNvSpPr>
            <a:spLocks noChangeArrowheads="1"/>
          </p:cNvSpPr>
          <p:nvPr/>
        </p:nvSpPr>
        <p:spPr bwMode="auto">
          <a:xfrm>
            <a:off x="2536826" y="2507672"/>
            <a:ext cx="3385353" cy="185737"/>
          </a:xfrm>
          <a:prstGeom prst="rect">
            <a:avLst/>
          </a:prstGeom>
          <a:solidFill>
            <a:schemeClr val="tx1">
              <a:lumMod val="50000"/>
              <a:lumOff val="50000"/>
            </a:schemeClr>
          </a:solidFill>
          <a:ln>
            <a:noFill/>
          </a:ln>
        </p:spPr>
        <p:txBody>
          <a:bodyPr wrap="none" lIns="93600" tIns="46800" rIns="93600" bIns="46800" anchor="ctr"/>
          <a:lstStyle/>
          <a:p>
            <a:pPr algn="ctr"/>
            <a:endParaRPr lang="en-GB" dirty="0"/>
          </a:p>
        </p:txBody>
      </p:sp>
      <p:sp>
        <p:nvSpPr>
          <p:cNvPr id="28" name="Rectangle 239">
            <a:extLst>
              <a:ext uri="{FF2B5EF4-FFF2-40B4-BE49-F238E27FC236}">
                <a16:creationId xmlns:a16="http://schemas.microsoft.com/office/drawing/2014/main" id="{7D6A5D58-8A63-4B19-83F4-346E6355FC77}"/>
              </a:ext>
            </a:extLst>
          </p:cNvPr>
          <p:cNvSpPr>
            <a:spLocks noChangeArrowheads="1"/>
          </p:cNvSpPr>
          <p:nvPr/>
        </p:nvSpPr>
        <p:spPr bwMode="auto">
          <a:xfrm>
            <a:off x="5961041" y="4305894"/>
            <a:ext cx="1448707"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29" name="Rectangle 240">
            <a:extLst>
              <a:ext uri="{FF2B5EF4-FFF2-40B4-BE49-F238E27FC236}">
                <a16:creationId xmlns:a16="http://schemas.microsoft.com/office/drawing/2014/main" id="{B540FCD0-82E2-4990-9DD9-0BF3A7F91DAB}"/>
              </a:ext>
            </a:extLst>
          </p:cNvPr>
          <p:cNvSpPr>
            <a:spLocks noChangeArrowheads="1"/>
          </p:cNvSpPr>
          <p:nvPr/>
        </p:nvSpPr>
        <p:spPr bwMode="auto">
          <a:xfrm>
            <a:off x="6930444" y="4665539"/>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0" name="Rectangle 239">
            <a:extLst>
              <a:ext uri="{FF2B5EF4-FFF2-40B4-BE49-F238E27FC236}">
                <a16:creationId xmlns:a16="http://schemas.microsoft.com/office/drawing/2014/main" id="{9E94214F-C7C8-4F02-8D9D-DC85AC858899}"/>
              </a:ext>
            </a:extLst>
          </p:cNvPr>
          <p:cNvSpPr>
            <a:spLocks noChangeArrowheads="1"/>
          </p:cNvSpPr>
          <p:nvPr/>
        </p:nvSpPr>
        <p:spPr bwMode="auto">
          <a:xfrm>
            <a:off x="5961041" y="3946249"/>
            <a:ext cx="2418109" cy="185738"/>
          </a:xfrm>
          <a:prstGeom prst="rect">
            <a:avLst/>
          </a:prstGeom>
          <a:solidFill>
            <a:schemeClr val="tx1">
              <a:lumMod val="50000"/>
              <a:lumOff val="50000"/>
            </a:schemeClr>
          </a:solidFill>
          <a:ln>
            <a:noFill/>
          </a:ln>
        </p:spPr>
        <p:txBody>
          <a:bodyPr wrap="none" lIns="93600" tIns="46800" rIns="93600" bIns="46800" anchor="ctr"/>
          <a:lstStyle/>
          <a:p>
            <a:pPr algn="ctr"/>
            <a:endParaRPr lang="en-GB" dirty="0"/>
          </a:p>
        </p:txBody>
      </p:sp>
      <p:sp>
        <p:nvSpPr>
          <p:cNvPr id="31" name="Rectangle 239">
            <a:extLst>
              <a:ext uri="{FF2B5EF4-FFF2-40B4-BE49-F238E27FC236}">
                <a16:creationId xmlns:a16="http://schemas.microsoft.com/office/drawing/2014/main" id="{7838DC43-1128-4B67-8711-DFDE5CDECF5E}"/>
              </a:ext>
            </a:extLst>
          </p:cNvPr>
          <p:cNvSpPr>
            <a:spLocks noChangeArrowheads="1"/>
          </p:cNvSpPr>
          <p:nvPr/>
        </p:nvSpPr>
        <p:spPr bwMode="auto">
          <a:xfrm>
            <a:off x="8379150" y="5384829"/>
            <a:ext cx="1448707"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2" name="Rectangle 240">
            <a:extLst>
              <a:ext uri="{FF2B5EF4-FFF2-40B4-BE49-F238E27FC236}">
                <a16:creationId xmlns:a16="http://schemas.microsoft.com/office/drawing/2014/main" id="{020D86B3-2EB4-4DA1-AD8D-B7C2756A0776}"/>
              </a:ext>
            </a:extLst>
          </p:cNvPr>
          <p:cNvSpPr>
            <a:spLocks noChangeArrowheads="1"/>
          </p:cNvSpPr>
          <p:nvPr/>
        </p:nvSpPr>
        <p:spPr bwMode="auto">
          <a:xfrm>
            <a:off x="9348553" y="5744474"/>
            <a:ext cx="1448706" cy="185738"/>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35" name="Rectangle 239">
            <a:extLst>
              <a:ext uri="{FF2B5EF4-FFF2-40B4-BE49-F238E27FC236}">
                <a16:creationId xmlns:a16="http://schemas.microsoft.com/office/drawing/2014/main" id="{665C5CA5-A62F-47F3-AB16-78734281AC25}"/>
              </a:ext>
            </a:extLst>
          </p:cNvPr>
          <p:cNvSpPr>
            <a:spLocks noChangeArrowheads="1"/>
          </p:cNvSpPr>
          <p:nvPr/>
        </p:nvSpPr>
        <p:spPr bwMode="auto">
          <a:xfrm>
            <a:off x="8379150" y="5025184"/>
            <a:ext cx="2832642" cy="185738"/>
          </a:xfrm>
          <a:prstGeom prst="rect">
            <a:avLst/>
          </a:prstGeom>
          <a:solidFill>
            <a:schemeClr val="tx1">
              <a:lumMod val="50000"/>
              <a:lumOff val="50000"/>
            </a:schemeClr>
          </a:solidFill>
          <a:ln>
            <a:noFill/>
          </a:ln>
        </p:spPr>
        <p:txBody>
          <a:bodyPr wrap="none" lIns="93600" tIns="46800" rIns="93600" bIns="46800" anchor="ctr"/>
          <a:lstStyle/>
          <a:p>
            <a:pPr algn="ctr"/>
            <a:endParaRPr lang="en-GB" dirty="0"/>
          </a:p>
        </p:txBody>
      </p:sp>
      <p:sp>
        <p:nvSpPr>
          <p:cNvPr id="37" name="Rectangle 240">
            <a:extLst>
              <a:ext uri="{FF2B5EF4-FFF2-40B4-BE49-F238E27FC236}">
                <a16:creationId xmlns:a16="http://schemas.microsoft.com/office/drawing/2014/main" id="{66F265F3-B780-4D2C-8AB0-BCEB84E5BD19}"/>
              </a:ext>
            </a:extLst>
          </p:cNvPr>
          <p:cNvSpPr>
            <a:spLocks noChangeArrowheads="1"/>
          </p:cNvSpPr>
          <p:nvPr/>
        </p:nvSpPr>
        <p:spPr bwMode="auto">
          <a:xfrm>
            <a:off x="9827857" y="6104119"/>
            <a:ext cx="1383935" cy="185737"/>
          </a:xfrm>
          <a:prstGeom prst="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53" name="Rounded Rectangular Callout 6">
            <a:extLst>
              <a:ext uri="{FF2B5EF4-FFF2-40B4-BE49-F238E27FC236}">
                <a16:creationId xmlns:a16="http://schemas.microsoft.com/office/drawing/2014/main" id="{89D9D082-8BCA-4577-944D-556261C78D83}"/>
              </a:ext>
            </a:extLst>
          </p:cNvPr>
          <p:cNvSpPr/>
          <p:nvPr/>
        </p:nvSpPr>
        <p:spPr bwMode="auto">
          <a:xfrm>
            <a:off x="6699002" y="2634940"/>
            <a:ext cx="4249139" cy="996007"/>
          </a:xfrm>
          <a:prstGeom prst="wedgeRoundRectCallout">
            <a:avLst>
              <a:gd name="adj1" fmla="val -31698"/>
              <a:gd name="adj2" fmla="val -7886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o add a column or a row, select a column or a row, click right and select “Insert”</a:t>
            </a:r>
          </a:p>
          <a:p>
            <a:pPr marL="171450" indent="-171450" defTabSz="623853" fontAlgn="base">
              <a:spcBef>
                <a:spcPts val="300"/>
              </a:spcBef>
              <a:spcAft>
                <a:spcPts val="300"/>
              </a:spcAft>
              <a:buClr>
                <a:srgbClr val="000000"/>
              </a:buClr>
              <a:buFont typeface="Arial" panose="020B0604020202020204" pitchFamily="34" charset="0"/>
              <a:buChar char="•"/>
            </a:pPr>
            <a:r>
              <a:rPr lang="en-GB" sz="1050" b="1" dirty="0">
                <a:solidFill>
                  <a:srgbClr val="0C2870"/>
                </a:solidFill>
                <a:latin typeface="Arial" charset="0"/>
                <a:cs typeface="Times New Roman" pitchFamily="18" charset="0"/>
              </a:rPr>
              <a:t>Use Distribute Columns Evenly and Distribute Rows Evenly in Layout ribbon to keep columns and rows equal in width</a:t>
            </a:r>
          </a:p>
        </p:txBody>
      </p:sp>
      <p:sp>
        <p:nvSpPr>
          <p:cNvPr id="2" name="Rectangle: Rounded Corners 1">
            <a:extLst>
              <a:ext uri="{FF2B5EF4-FFF2-40B4-BE49-F238E27FC236}">
                <a16:creationId xmlns:a16="http://schemas.microsoft.com/office/drawing/2014/main" id="{839C9257-EA37-A13F-E342-D83F529919D8}"/>
              </a:ext>
            </a:extLst>
          </p:cNvPr>
          <p:cNvSpPr/>
          <p:nvPr/>
        </p:nvSpPr>
        <p:spPr>
          <a:xfrm>
            <a:off x="10191750" y="341632"/>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979278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4</a:t>
            </a:fld>
            <a:endParaRPr lang="en-US" sz="1000" dirty="0">
              <a:solidFill>
                <a:srgbClr val="ADAFBB"/>
              </a:solidFill>
            </a:endParaRPr>
          </a:p>
        </p:txBody>
      </p:sp>
      <p:graphicFrame>
        <p:nvGraphicFramePr>
          <p:cNvPr id="18" name="Table 17">
            <a:extLst>
              <a:ext uri="{FF2B5EF4-FFF2-40B4-BE49-F238E27FC236}">
                <a16:creationId xmlns:a16="http://schemas.microsoft.com/office/drawing/2014/main" id="{D5FC0669-4D2F-4AB1-B3D6-CB151A26C7D7}"/>
              </a:ext>
            </a:extLst>
          </p:cNvPr>
          <p:cNvGraphicFramePr>
            <a:graphicFrameLocks noGrp="1"/>
          </p:cNvGraphicFramePr>
          <p:nvPr/>
        </p:nvGraphicFramePr>
        <p:xfrm>
          <a:off x="1676399" y="1643078"/>
          <a:ext cx="9906000" cy="4820063"/>
        </p:xfrm>
        <a:graphic>
          <a:graphicData uri="http://schemas.openxmlformats.org/drawingml/2006/table">
            <a:tbl>
              <a:tblPr firstRow="1" bandRow="1"/>
              <a:tblGrid>
                <a:gridCol w="3302000">
                  <a:extLst>
                    <a:ext uri="{9D8B030D-6E8A-4147-A177-3AD203B41FA5}">
                      <a16:colId xmlns:a16="http://schemas.microsoft.com/office/drawing/2014/main" val="20000"/>
                    </a:ext>
                  </a:extLst>
                </a:gridCol>
                <a:gridCol w="3302000">
                  <a:extLst>
                    <a:ext uri="{9D8B030D-6E8A-4147-A177-3AD203B41FA5}">
                      <a16:colId xmlns:a16="http://schemas.microsoft.com/office/drawing/2014/main" val="20001"/>
                    </a:ext>
                  </a:extLst>
                </a:gridCol>
                <a:gridCol w="3302000">
                  <a:extLst>
                    <a:ext uri="{9D8B030D-6E8A-4147-A177-3AD203B41FA5}">
                      <a16:colId xmlns:a16="http://schemas.microsoft.com/office/drawing/2014/main" val="20002"/>
                    </a:ext>
                  </a:extLst>
                </a:gridCol>
              </a:tblGrid>
              <a:tr h="255500">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AU" sz="1000" b="1" noProof="0" dirty="0">
                          <a:solidFill>
                            <a:schemeClr val="bg1"/>
                          </a:solidFill>
                        </a:rPr>
                        <a:t>January</a:t>
                      </a:r>
                    </a:p>
                  </a:txBody>
                  <a:tcPr marL="35995" marR="35995" marT="45716" marB="45716" anchor="ctr">
                    <a:lnL w="9525"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AU" sz="1000" b="1" noProof="0" dirty="0">
                          <a:solidFill>
                            <a:schemeClr val="bg1"/>
                          </a:solidFill>
                        </a:rPr>
                        <a:t>February</a:t>
                      </a:r>
                    </a:p>
                  </a:txBody>
                  <a:tcPr marL="35995" marR="35995" marT="45716" marB="45716"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AU" sz="1000" b="1" noProof="0" dirty="0">
                          <a:solidFill>
                            <a:schemeClr val="bg1"/>
                          </a:solidFill>
                        </a:rPr>
                        <a:t>March</a:t>
                      </a:r>
                    </a:p>
                  </a:txBody>
                  <a:tcPr marL="35995" marR="35995" marT="45716" marB="45716" anchor="ctr">
                    <a:lnL w="12700" cap="flat" cmpd="sng" algn="ctr">
                      <a:solidFill>
                        <a:srgbClr val="FFFFFF"/>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70100">
                <a:tc>
                  <a:txBody>
                    <a:bodyPr/>
                    <a:lstStyle/>
                    <a:p>
                      <a:pPr algn="ctr"/>
                      <a:endParaRPr lang="en-AU" sz="1100" dirty="0">
                        <a:solidFill>
                          <a:srgbClr val="002060"/>
                        </a:solidFill>
                      </a:endParaRPr>
                    </a:p>
                  </a:txBody>
                  <a:tcPr marL="35995" marR="35995" marT="45716" marB="45716" anchor="ctr">
                    <a:lnL w="9525"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endParaRPr lang="en-AU" sz="1100" dirty="0">
                        <a:solidFill>
                          <a:srgbClr val="002060"/>
                        </a:solidFill>
                      </a:endParaRPr>
                    </a:p>
                  </a:txBody>
                  <a:tcPr marL="35995" marR="35995" marT="45716" marB="45716"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a:endParaRPr lang="en-AU" sz="1100" dirty="0">
                        <a:solidFill>
                          <a:srgbClr val="002060"/>
                        </a:solidFill>
                      </a:endParaRPr>
                    </a:p>
                  </a:txBody>
                  <a:tcPr marL="35995" marR="35995" marT="45716" marB="45716" anchor="ctr">
                    <a:lnL w="12700" cmpd="sng">
                      <a:solidFill>
                        <a:srgbClr val="FFFFFF"/>
                      </a:solidFill>
                    </a:lnL>
                    <a:lnR w="9525" cap="flat" cmpd="sng" algn="ctr">
                      <a:solidFill>
                        <a:schemeClr val="tx1"/>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1"/>
                  </a:ext>
                </a:extLst>
              </a:tr>
              <a:tr h="4294463">
                <a:tc>
                  <a:txBody>
                    <a:bodyPr/>
                    <a:lstStyle/>
                    <a:p>
                      <a:endParaRPr lang="en-AU"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0" name="TextBox 19">
            <a:extLst>
              <a:ext uri="{FF2B5EF4-FFF2-40B4-BE49-F238E27FC236}">
                <a16:creationId xmlns:a16="http://schemas.microsoft.com/office/drawing/2014/main" id="{8B9E484F-CC2C-48EB-B1EA-EF73550B24AB}"/>
              </a:ext>
            </a:extLst>
          </p:cNvPr>
          <p:cNvSpPr txBox="1"/>
          <p:nvPr/>
        </p:nvSpPr>
        <p:spPr>
          <a:xfrm>
            <a:off x="708719" y="4404037"/>
            <a:ext cx="914400"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AU" sz="1400" dirty="0">
                <a:cs typeface="Arial" pitchFamily="34" charset="0"/>
              </a:rPr>
              <a:t>Insert text</a:t>
            </a:r>
          </a:p>
        </p:txBody>
      </p:sp>
      <p:cxnSp>
        <p:nvCxnSpPr>
          <p:cNvPr id="22" name="Straight Connector 21">
            <a:extLst>
              <a:ext uri="{FF2B5EF4-FFF2-40B4-BE49-F238E27FC236}">
                <a16:creationId xmlns:a16="http://schemas.microsoft.com/office/drawing/2014/main" id="{A5419D5A-9453-4D22-8EA9-6DA610DC2D8F}"/>
              </a:ext>
            </a:extLst>
          </p:cNvPr>
          <p:cNvCxnSpPr/>
          <p:nvPr/>
        </p:nvCxnSpPr>
        <p:spPr>
          <a:xfrm>
            <a:off x="708719" y="3722346"/>
            <a:ext cx="10873679" cy="0"/>
          </a:xfrm>
          <a:prstGeom prst="line">
            <a:avLst/>
          </a:prstGeom>
          <a:ln w="12700" cap="flat">
            <a:solidFill>
              <a:schemeClr val="bg1">
                <a:lumMod val="6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AE3FFC8-F256-48F3-B4F4-0FD08823CD2A}"/>
              </a:ext>
            </a:extLst>
          </p:cNvPr>
          <p:cNvCxnSpPr>
            <a:cxnSpLocks/>
          </p:cNvCxnSpPr>
          <p:nvPr/>
        </p:nvCxnSpPr>
        <p:spPr>
          <a:xfrm>
            <a:off x="708719" y="5279627"/>
            <a:ext cx="10873679" cy="0"/>
          </a:xfrm>
          <a:prstGeom prst="line">
            <a:avLst/>
          </a:prstGeom>
          <a:ln w="12700" cap="flat">
            <a:solidFill>
              <a:schemeClr val="bg1">
                <a:lumMod val="65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7033BB2-1A91-4004-BBCC-93F9096E4730}"/>
              </a:ext>
            </a:extLst>
          </p:cNvPr>
          <p:cNvSpPr txBox="1"/>
          <p:nvPr/>
        </p:nvSpPr>
        <p:spPr>
          <a:xfrm>
            <a:off x="708719" y="5794604"/>
            <a:ext cx="914400"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AU" sz="1400" dirty="0">
                <a:cs typeface="Arial" pitchFamily="34" charset="0"/>
              </a:rPr>
              <a:t>Insert text</a:t>
            </a:r>
          </a:p>
        </p:txBody>
      </p:sp>
      <p:sp>
        <p:nvSpPr>
          <p:cNvPr id="39" name="TextBox 38">
            <a:extLst>
              <a:ext uri="{FF2B5EF4-FFF2-40B4-BE49-F238E27FC236}">
                <a16:creationId xmlns:a16="http://schemas.microsoft.com/office/drawing/2014/main" id="{D3BFE812-BD56-4E62-BC3B-EF26A18E8FFA}"/>
              </a:ext>
            </a:extLst>
          </p:cNvPr>
          <p:cNvSpPr txBox="1"/>
          <p:nvPr/>
        </p:nvSpPr>
        <p:spPr>
          <a:xfrm>
            <a:off x="708719" y="2851797"/>
            <a:ext cx="914400"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AU" sz="1400" dirty="0">
                <a:cs typeface="Arial" pitchFamily="34" charset="0"/>
              </a:rPr>
              <a:t>Insert text</a:t>
            </a:r>
          </a:p>
        </p:txBody>
      </p:sp>
      <p:sp>
        <p:nvSpPr>
          <p:cNvPr id="19" name="AutoShape 72">
            <a:extLst>
              <a:ext uri="{FF2B5EF4-FFF2-40B4-BE49-F238E27FC236}">
                <a16:creationId xmlns:a16="http://schemas.microsoft.com/office/drawing/2014/main" id="{BD7D8E4B-8B6C-48DB-BD8F-A05F0DB9885B}"/>
              </a:ext>
            </a:extLst>
          </p:cNvPr>
          <p:cNvSpPr>
            <a:spLocks noChangeArrowheads="1"/>
          </p:cNvSpPr>
          <p:nvPr/>
        </p:nvSpPr>
        <p:spPr bwMode="auto">
          <a:xfrm>
            <a:off x="2507431" y="2291151"/>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21" name="AutoShape 72">
            <a:extLst>
              <a:ext uri="{FF2B5EF4-FFF2-40B4-BE49-F238E27FC236}">
                <a16:creationId xmlns:a16="http://schemas.microsoft.com/office/drawing/2014/main" id="{7C45C6F5-B44C-4772-970D-96A32629D720}"/>
              </a:ext>
            </a:extLst>
          </p:cNvPr>
          <p:cNvSpPr>
            <a:spLocks noChangeArrowheads="1"/>
          </p:cNvSpPr>
          <p:nvPr/>
        </p:nvSpPr>
        <p:spPr bwMode="auto">
          <a:xfrm>
            <a:off x="3778882" y="2795207"/>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34" name="AutoShape 72">
            <a:extLst>
              <a:ext uri="{FF2B5EF4-FFF2-40B4-BE49-F238E27FC236}">
                <a16:creationId xmlns:a16="http://schemas.microsoft.com/office/drawing/2014/main" id="{FBF34273-7ADF-449F-B18A-9A297F4293FB}"/>
              </a:ext>
            </a:extLst>
          </p:cNvPr>
          <p:cNvSpPr>
            <a:spLocks noChangeArrowheads="1"/>
          </p:cNvSpPr>
          <p:nvPr/>
        </p:nvSpPr>
        <p:spPr bwMode="auto">
          <a:xfrm>
            <a:off x="6517391" y="3155247"/>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36" name="AutoShape 72">
            <a:extLst>
              <a:ext uri="{FF2B5EF4-FFF2-40B4-BE49-F238E27FC236}">
                <a16:creationId xmlns:a16="http://schemas.microsoft.com/office/drawing/2014/main" id="{D7EF44BC-1ADB-4E68-B1AE-31AFBD176794}"/>
              </a:ext>
            </a:extLst>
          </p:cNvPr>
          <p:cNvSpPr>
            <a:spLocks noChangeArrowheads="1"/>
          </p:cNvSpPr>
          <p:nvPr/>
        </p:nvSpPr>
        <p:spPr bwMode="auto">
          <a:xfrm>
            <a:off x="6517391" y="2363159"/>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0" name="AutoShape 72">
            <a:extLst>
              <a:ext uri="{FF2B5EF4-FFF2-40B4-BE49-F238E27FC236}">
                <a16:creationId xmlns:a16="http://schemas.microsoft.com/office/drawing/2014/main" id="{F78CC9FC-DC96-4010-A2B9-53900BF180AF}"/>
              </a:ext>
            </a:extLst>
          </p:cNvPr>
          <p:cNvSpPr>
            <a:spLocks noChangeArrowheads="1"/>
          </p:cNvSpPr>
          <p:nvPr/>
        </p:nvSpPr>
        <p:spPr bwMode="auto">
          <a:xfrm>
            <a:off x="3778882" y="4442428"/>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1" name="AutoShape 72">
            <a:extLst>
              <a:ext uri="{FF2B5EF4-FFF2-40B4-BE49-F238E27FC236}">
                <a16:creationId xmlns:a16="http://schemas.microsoft.com/office/drawing/2014/main" id="{A6375EAF-DAE2-417A-8512-5753943009B2}"/>
              </a:ext>
            </a:extLst>
          </p:cNvPr>
          <p:cNvSpPr>
            <a:spLocks noChangeArrowheads="1"/>
          </p:cNvSpPr>
          <p:nvPr/>
        </p:nvSpPr>
        <p:spPr bwMode="auto">
          <a:xfrm>
            <a:off x="6517391" y="4802468"/>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2" name="AutoShape 72">
            <a:extLst>
              <a:ext uri="{FF2B5EF4-FFF2-40B4-BE49-F238E27FC236}">
                <a16:creationId xmlns:a16="http://schemas.microsoft.com/office/drawing/2014/main" id="{FC04FDA3-CBCF-4E2F-8A7A-9BCA8EA1DEC3}"/>
              </a:ext>
            </a:extLst>
          </p:cNvPr>
          <p:cNvSpPr>
            <a:spLocks noChangeArrowheads="1"/>
          </p:cNvSpPr>
          <p:nvPr/>
        </p:nvSpPr>
        <p:spPr bwMode="auto">
          <a:xfrm>
            <a:off x="8069855" y="4010380"/>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3" name="AutoShape 72">
            <a:extLst>
              <a:ext uri="{FF2B5EF4-FFF2-40B4-BE49-F238E27FC236}">
                <a16:creationId xmlns:a16="http://schemas.microsoft.com/office/drawing/2014/main" id="{B86763D2-61E3-4D93-A674-E1BC8DAC4335}"/>
              </a:ext>
            </a:extLst>
          </p:cNvPr>
          <p:cNvSpPr>
            <a:spLocks noChangeArrowheads="1"/>
          </p:cNvSpPr>
          <p:nvPr/>
        </p:nvSpPr>
        <p:spPr bwMode="auto">
          <a:xfrm>
            <a:off x="3778882" y="5514700"/>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4" name="AutoShape 72">
            <a:extLst>
              <a:ext uri="{FF2B5EF4-FFF2-40B4-BE49-F238E27FC236}">
                <a16:creationId xmlns:a16="http://schemas.microsoft.com/office/drawing/2014/main" id="{3A9C2AEA-2D97-4731-A9A4-1DB278C39C8A}"/>
              </a:ext>
            </a:extLst>
          </p:cNvPr>
          <p:cNvSpPr>
            <a:spLocks noChangeArrowheads="1"/>
          </p:cNvSpPr>
          <p:nvPr/>
        </p:nvSpPr>
        <p:spPr bwMode="auto">
          <a:xfrm>
            <a:off x="6517391" y="5874740"/>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45" name="AutoShape 72">
            <a:extLst>
              <a:ext uri="{FF2B5EF4-FFF2-40B4-BE49-F238E27FC236}">
                <a16:creationId xmlns:a16="http://schemas.microsoft.com/office/drawing/2014/main" id="{DD2FDDAE-CA49-47E3-9751-6ABC2E8A8BBD}"/>
              </a:ext>
            </a:extLst>
          </p:cNvPr>
          <p:cNvSpPr>
            <a:spLocks noChangeArrowheads="1"/>
          </p:cNvSpPr>
          <p:nvPr/>
        </p:nvSpPr>
        <p:spPr bwMode="auto">
          <a:xfrm>
            <a:off x="3138153" y="4000854"/>
            <a:ext cx="2934117" cy="307080"/>
          </a:xfrm>
          <a:prstGeom prst="roundRect">
            <a:avLst/>
          </a:prstGeom>
          <a:solidFill>
            <a:schemeClr val="tx1">
              <a:lumMod val="50000"/>
              <a:lumOff val="50000"/>
            </a:schemeClr>
          </a:solidFill>
          <a:ln>
            <a:noFill/>
            <a:headEnd/>
            <a:tailEnd/>
          </a:ln>
          <a:effectLst/>
        </p:spPr>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000" b="1" kern="0" dirty="0">
                <a:solidFill>
                  <a:srgbClr val="FFFFFF"/>
                </a:solidFill>
              </a:rPr>
              <a:t>Insert activity</a:t>
            </a:r>
            <a:endParaRPr kumimoji="0" lang="fr-FR" sz="1000" b="1" i="0" u="none" strike="noStrike" kern="0" cap="none" spc="0" normalizeH="0" baseline="0" noProof="0" dirty="0">
              <a:ln>
                <a:noFill/>
              </a:ln>
              <a:solidFill>
                <a:srgbClr val="FFFFFF"/>
              </a:solidFill>
              <a:effectLst/>
              <a:uLnTx/>
              <a:uFillTx/>
              <a:ea typeface="+mn-ea"/>
              <a:cs typeface="+mn-cs"/>
            </a:endParaRPr>
          </a:p>
        </p:txBody>
      </p:sp>
      <p:sp>
        <p:nvSpPr>
          <p:cNvPr id="2" name="Rectangle: Rounded Corners 1">
            <a:extLst>
              <a:ext uri="{FF2B5EF4-FFF2-40B4-BE49-F238E27FC236}">
                <a16:creationId xmlns:a16="http://schemas.microsoft.com/office/drawing/2014/main" id="{DEF45235-8107-C722-9515-CDAD7C9CA4D2}"/>
              </a:ext>
            </a:extLst>
          </p:cNvPr>
          <p:cNvSpPr/>
          <p:nvPr/>
        </p:nvSpPr>
        <p:spPr>
          <a:xfrm>
            <a:off x="10191750" y="341632"/>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5966565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72" name="Rectangle 71">
            <a:extLst>
              <a:ext uri="{FF2B5EF4-FFF2-40B4-BE49-F238E27FC236}">
                <a16:creationId xmlns:a16="http://schemas.microsoft.com/office/drawing/2014/main" id="{30C388F8-BB14-44CC-B9BE-2B34211247E9}"/>
              </a:ext>
            </a:extLst>
          </p:cNvPr>
          <p:cNvSpPr/>
          <p:nvPr/>
        </p:nvSpPr>
        <p:spPr>
          <a:xfrm>
            <a:off x="10032815" y="984043"/>
            <a:ext cx="144000" cy="144000"/>
          </a:xfrm>
          <a:prstGeom prst="rect">
            <a:avLst/>
          </a:prstGeom>
          <a:solidFill>
            <a:srgbClr val="C2E4FF"/>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73" name="Rectangle 72">
            <a:extLst>
              <a:ext uri="{FF2B5EF4-FFF2-40B4-BE49-F238E27FC236}">
                <a16:creationId xmlns:a16="http://schemas.microsoft.com/office/drawing/2014/main" id="{A306C7BF-FFE1-43B3-8B94-7F783E37ADD1}"/>
              </a:ext>
            </a:extLst>
          </p:cNvPr>
          <p:cNvSpPr/>
          <p:nvPr/>
        </p:nvSpPr>
        <p:spPr>
          <a:xfrm>
            <a:off x="10025066" y="697169"/>
            <a:ext cx="144000" cy="144000"/>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74" name="TextBox 73">
            <a:extLst>
              <a:ext uri="{FF2B5EF4-FFF2-40B4-BE49-F238E27FC236}">
                <a16:creationId xmlns:a16="http://schemas.microsoft.com/office/drawing/2014/main" id="{EC1A834B-BE2E-49CE-B40A-AC53732B06C7}"/>
              </a:ext>
            </a:extLst>
          </p:cNvPr>
          <p:cNvSpPr txBox="1"/>
          <p:nvPr/>
        </p:nvSpPr>
        <p:spPr>
          <a:xfrm>
            <a:off x="10139363" y="930758"/>
            <a:ext cx="1447800" cy="246221"/>
          </a:xfrm>
          <a:prstGeom prst="rect">
            <a:avLst/>
          </a:prstGeom>
          <a:noFill/>
        </p:spPr>
        <p:txBody>
          <a:bodyPr wrap="square" rtlCol="0">
            <a:spAutoFit/>
          </a:bodyPr>
          <a:lstStyle/>
          <a:p>
            <a:r>
              <a:rPr lang="en-US" sz="1000" dirty="0">
                <a:solidFill>
                  <a:schemeClr val="tx2"/>
                </a:solidFill>
              </a:rPr>
              <a:t>Insert your own text</a:t>
            </a:r>
          </a:p>
        </p:txBody>
      </p:sp>
      <p:sp>
        <p:nvSpPr>
          <p:cNvPr id="75" name="TextBox 74">
            <a:extLst>
              <a:ext uri="{FF2B5EF4-FFF2-40B4-BE49-F238E27FC236}">
                <a16:creationId xmlns:a16="http://schemas.microsoft.com/office/drawing/2014/main" id="{A4C3DD41-DBD5-4DDD-90F4-CFA22398632E}"/>
              </a:ext>
            </a:extLst>
          </p:cNvPr>
          <p:cNvSpPr txBox="1"/>
          <p:nvPr/>
        </p:nvSpPr>
        <p:spPr>
          <a:xfrm>
            <a:off x="10127251" y="643884"/>
            <a:ext cx="1447800" cy="246221"/>
          </a:xfrm>
          <a:prstGeom prst="rect">
            <a:avLst/>
          </a:prstGeom>
          <a:noFill/>
        </p:spPr>
        <p:txBody>
          <a:bodyPr wrap="square" rtlCol="0">
            <a:spAutoFit/>
          </a:bodyPr>
          <a:lstStyle/>
          <a:p>
            <a:r>
              <a:rPr lang="en-US" sz="1000" dirty="0">
                <a:solidFill>
                  <a:schemeClr val="tx2"/>
                </a:solidFill>
              </a:rPr>
              <a:t>Insert your own text</a:t>
            </a:r>
          </a:p>
        </p:txBody>
      </p:sp>
      <p:sp>
        <p:nvSpPr>
          <p:cNvPr id="48" name="Rectangle 47">
            <a:extLst>
              <a:ext uri="{FF2B5EF4-FFF2-40B4-BE49-F238E27FC236}">
                <a16:creationId xmlns:a16="http://schemas.microsoft.com/office/drawing/2014/main" id="{41DF6D86-37B9-4999-BA79-0293E9F8F8D9}"/>
              </a:ext>
            </a:extLst>
          </p:cNvPr>
          <p:cNvSpPr/>
          <p:nvPr/>
        </p:nvSpPr>
        <p:spPr bwMode="auto">
          <a:xfrm>
            <a:off x="2335932" y="1583553"/>
            <a:ext cx="3024000" cy="239021"/>
          </a:xfrm>
          <a:prstGeom prst="rect">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
                <a:srgbClr val="000000"/>
              </a:buClr>
              <a:buSzTx/>
              <a:buFontTx/>
              <a:buNone/>
              <a:tabLst/>
              <a:defRPr/>
            </a:pPr>
            <a:r>
              <a:rPr kumimoji="0" lang="en-US" sz="1050" b="1" i="0" u="none" strike="noStrike" kern="0" cap="none" spc="0" normalizeH="0" baseline="0" noProof="0" dirty="0">
                <a:ln>
                  <a:noFill/>
                </a:ln>
                <a:solidFill>
                  <a:srgbClr val="FFFFFF"/>
                </a:solidFill>
                <a:effectLst/>
                <a:uLnTx/>
                <a:uFillTx/>
                <a:ea typeface="+mn-ea"/>
                <a:cs typeface="Arial" pitchFamily="34" charset="0"/>
              </a:rPr>
              <a:t>Design</a:t>
            </a:r>
          </a:p>
        </p:txBody>
      </p:sp>
      <p:sp>
        <p:nvSpPr>
          <p:cNvPr id="49" name="Rectangle 48">
            <a:extLst>
              <a:ext uri="{FF2B5EF4-FFF2-40B4-BE49-F238E27FC236}">
                <a16:creationId xmlns:a16="http://schemas.microsoft.com/office/drawing/2014/main" id="{06528909-B50D-4ED8-91BE-161D2A2D0645}"/>
              </a:ext>
            </a:extLst>
          </p:cNvPr>
          <p:cNvSpPr/>
          <p:nvPr/>
        </p:nvSpPr>
        <p:spPr bwMode="auto">
          <a:xfrm>
            <a:off x="5449548" y="1583553"/>
            <a:ext cx="3024000" cy="239021"/>
          </a:xfrm>
          <a:prstGeom prst="rect">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
                <a:srgbClr val="000000"/>
              </a:buClr>
              <a:buSzTx/>
              <a:buFontTx/>
              <a:buNone/>
              <a:tabLst/>
              <a:defRPr/>
            </a:pPr>
            <a:r>
              <a:rPr kumimoji="0" lang="en-US" sz="1050" b="1" i="0" u="none" strike="noStrike" kern="0" cap="none" spc="0" normalizeH="0" baseline="0" noProof="0" dirty="0">
                <a:ln>
                  <a:noFill/>
                </a:ln>
                <a:solidFill>
                  <a:srgbClr val="FFFFFF"/>
                </a:solidFill>
                <a:effectLst/>
                <a:uLnTx/>
                <a:uFillTx/>
                <a:ea typeface="+mn-ea"/>
                <a:cs typeface="Arial" pitchFamily="34" charset="0"/>
              </a:rPr>
              <a:t>Plan</a:t>
            </a:r>
          </a:p>
        </p:txBody>
      </p:sp>
      <p:sp>
        <p:nvSpPr>
          <p:cNvPr id="46" name="Oval 45">
            <a:extLst>
              <a:ext uri="{FF2B5EF4-FFF2-40B4-BE49-F238E27FC236}">
                <a16:creationId xmlns:a16="http://schemas.microsoft.com/office/drawing/2014/main" id="{C39EA620-CC8E-4C2E-8AF8-A72AE468AEE6}"/>
              </a:ext>
            </a:extLst>
          </p:cNvPr>
          <p:cNvSpPr/>
          <p:nvPr/>
        </p:nvSpPr>
        <p:spPr>
          <a:xfrm>
            <a:off x="604837" y="2042883"/>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1</a:t>
            </a:r>
          </a:p>
        </p:txBody>
      </p:sp>
      <p:sp>
        <p:nvSpPr>
          <p:cNvPr id="23" name="Rectangle 4">
            <a:extLst>
              <a:ext uri="{FF2B5EF4-FFF2-40B4-BE49-F238E27FC236}">
                <a16:creationId xmlns:a16="http://schemas.microsoft.com/office/drawing/2014/main" id="{25A471CC-645F-44ED-AF8D-7796C89A4412}"/>
              </a:ext>
            </a:extLst>
          </p:cNvPr>
          <p:cNvSpPr>
            <a:spLocks noChangeArrowheads="1"/>
          </p:cNvSpPr>
          <p:nvPr/>
        </p:nvSpPr>
        <p:spPr bwMode="gray">
          <a:xfrm>
            <a:off x="955223" y="1881268"/>
            <a:ext cx="1291093" cy="597551"/>
          </a:xfrm>
          <a:prstGeom prst="rect">
            <a:avLst/>
          </a:prstGeom>
          <a:solidFill>
            <a:srgbClr val="C2E4FF"/>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effectLst/>
                <a:uLnTx/>
                <a:uFillTx/>
                <a:ea typeface="+mn-ea"/>
                <a:cs typeface="Arial" pitchFamily="34" charset="0"/>
              </a:rPr>
              <a:t>Insert text</a:t>
            </a:r>
          </a:p>
        </p:txBody>
      </p:sp>
      <p:sp>
        <p:nvSpPr>
          <p:cNvPr id="50" name="Rectangle 49">
            <a:extLst>
              <a:ext uri="{FF2B5EF4-FFF2-40B4-BE49-F238E27FC236}">
                <a16:creationId xmlns:a16="http://schemas.microsoft.com/office/drawing/2014/main" id="{4D5C2268-E9CD-491F-AFA4-4AB88C80A525}"/>
              </a:ext>
            </a:extLst>
          </p:cNvPr>
          <p:cNvSpPr/>
          <p:nvPr/>
        </p:nvSpPr>
        <p:spPr bwMode="auto">
          <a:xfrm>
            <a:off x="2335932" y="1881268"/>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marR="0" lvl="0" indent="-73025" defTabSz="914400" eaLnBrk="1" fontAlgn="auto" latinLnBrk="0" hangingPunct="1">
              <a:lnSpc>
                <a:spcPct val="100000"/>
              </a:lnSpc>
              <a:spcBef>
                <a:spcPts val="0"/>
              </a:spcBef>
              <a:spcAft>
                <a:spcPts val="0"/>
              </a:spcAft>
              <a:buClr>
                <a:srgbClr val="000000"/>
              </a:buClr>
              <a:buSzTx/>
              <a:buFont typeface="Arial" pitchFamily="34" charset="0"/>
              <a:buChar char="•"/>
              <a:tabLst/>
              <a:defRPr/>
            </a:pPr>
            <a:r>
              <a:rPr kumimoji="0" lang="en-AU" sz="800" b="0" i="0" u="none" strike="noStrike" kern="0" cap="none" spc="0" normalizeH="0" baseline="0" noProof="0" dirty="0">
                <a:ln>
                  <a:noFill/>
                </a:ln>
                <a:effectLst/>
                <a:uLnTx/>
                <a:uFillTx/>
                <a:ea typeface="+mn-ea"/>
                <a:cs typeface="Arial" pitchFamily="34" charset="0"/>
              </a:rPr>
              <a:t>Insert your own text</a:t>
            </a:r>
            <a:endParaRPr kumimoji="0" lang="en-US" sz="800" b="0" i="0" u="none" strike="noStrike" kern="0" cap="none" spc="0" normalizeH="0" baseline="0" noProof="0" dirty="0">
              <a:ln>
                <a:noFill/>
              </a:ln>
              <a:effectLst/>
              <a:uLnTx/>
              <a:uFillTx/>
              <a:ea typeface="+mn-ea"/>
              <a:cs typeface="Arial" pitchFamily="34" charset="0"/>
            </a:endParaRPr>
          </a:p>
        </p:txBody>
      </p:sp>
      <p:sp>
        <p:nvSpPr>
          <p:cNvPr id="51" name="Rectangle 50">
            <a:extLst>
              <a:ext uri="{FF2B5EF4-FFF2-40B4-BE49-F238E27FC236}">
                <a16:creationId xmlns:a16="http://schemas.microsoft.com/office/drawing/2014/main" id="{3C966AFD-BB30-400E-AD2D-E2F19F862E13}"/>
              </a:ext>
            </a:extLst>
          </p:cNvPr>
          <p:cNvSpPr/>
          <p:nvPr/>
        </p:nvSpPr>
        <p:spPr bwMode="auto">
          <a:xfrm>
            <a:off x="5449548" y="1881268"/>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52" name="Rectangle 51">
            <a:extLst>
              <a:ext uri="{FF2B5EF4-FFF2-40B4-BE49-F238E27FC236}">
                <a16:creationId xmlns:a16="http://schemas.microsoft.com/office/drawing/2014/main" id="{F56EE21A-1566-4E35-9BAF-8684A0DD9065}"/>
              </a:ext>
            </a:extLst>
          </p:cNvPr>
          <p:cNvSpPr/>
          <p:nvPr/>
        </p:nvSpPr>
        <p:spPr bwMode="auto">
          <a:xfrm>
            <a:off x="8563163" y="1881268"/>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28" name="Oval 27">
            <a:extLst>
              <a:ext uri="{FF2B5EF4-FFF2-40B4-BE49-F238E27FC236}">
                <a16:creationId xmlns:a16="http://schemas.microsoft.com/office/drawing/2014/main" id="{E34C1168-17AE-481B-853E-48AC1CE6F5E7}"/>
              </a:ext>
            </a:extLst>
          </p:cNvPr>
          <p:cNvSpPr/>
          <p:nvPr/>
        </p:nvSpPr>
        <p:spPr>
          <a:xfrm>
            <a:off x="604837" y="2705110"/>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2</a:t>
            </a:r>
          </a:p>
        </p:txBody>
      </p:sp>
      <p:sp>
        <p:nvSpPr>
          <p:cNvPr id="53" name="Rectangle 52">
            <a:extLst>
              <a:ext uri="{FF2B5EF4-FFF2-40B4-BE49-F238E27FC236}">
                <a16:creationId xmlns:a16="http://schemas.microsoft.com/office/drawing/2014/main" id="{FE6A1E42-DD07-41EE-91F6-5D4B219FAF61}"/>
              </a:ext>
            </a:extLst>
          </p:cNvPr>
          <p:cNvSpPr/>
          <p:nvPr/>
        </p:nvSpPr>
        <p:spPr bwMode="auto">
          <a:xfrm>
            <a:off x="2335932" y="2543495"/>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54" name="Rectangle 53">
            <a:extLst>
              <a:ext uri="{FF2B5EF4-FFF2-40B4-BE49-F238E27FC236}">
                <a16:creationId xmlns:a16="http://schemas.microsoft.com/office/drawing/2014/main" id="{471C4947-0D6D-4B79-AE5A-568B3FB0F857}"/>
              </a:ext>
            </a:extLst>
          </p:cNvPr>
          <p:cNvSpPr/>
          <p:nvPr/>
        </p:nvSpPr>
        <p:spPr bwMode="auto">
          <a:xfrm>
            <a:off x="5449548" y="2543495"/>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71" name="Rectangle 4">
            <a:extLst>
              <a:ext uri="{FF2B5EF4-FFF2-40B4-BE49-F238E27FC236}">
                <a16:creationId xmlns:a16="http://schemas.microsoft.com/office/drawing/2014/main" id="{2FB0A870-14A9-43E5-B01A-0036DF8D1CAD}"/>
              </a:ext>
            </a:extLst>
          </p:cNvPr>
          <p:cNvSpPr>
            <a:spLocks noChangeArrowheads="1"/>
          </p:cNvSpPr>
          <p:nvPr/>
        </p:nvSpPr>
        <p:spPr bwMode="gray">
          <a:xfrm>
            <a:off x="955223" y="2543495"/>
            <a:ext cx="1291093" cy="597551"/>
          </a:xfrm>
          <a:prstGeom prst="rect">
            <a:avLst/>
          </a:prstGeom>
          <a:solidFill>
            <a:srgbClr val="C2E4FF"/>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effectLst/>
                <a:uLnTx/>
                <a:uFillTx/>
                <a:ea typeface="+mn-ea"/>
                <a:cs typeface="Arial" pitchFamily="34" charset="0"/>
              </a:rPr>
              <a:t>Insert text</a:t>
            </a:r>
          </a:p>
        </p:txBody>
      </p:sp>
      <p:sp>
        <p:nvSpPr>
          <p:cNvPr id="55" name="Rectangle 54">
            <a:extLst>
              <a:ext uri="{FF2B5EF4-FFF2-40B4-BE49-F238E27FC236}">
                <a16:creationId xmlns:a16="http://schemas.microsoft.com/office/drawing/2014/main" id="{9007347E-16AC-47C1-8EFC-E4EBC7AB6995}"/>
              </a:ext>
            </a:extLst>
          </p:cNvPr>
          <p:cNvSpPr/>
          <p:nvPr/>
        </p:nvSpPr>
        <p:spPr bwMode="auto">
          <a:xfrm>
            <a:off x="8563163" y="2543495"/>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29" name="Oval 28">
            <a:extLst>
              <a:ext uri="{FF2B5EF4-FFF2-40B4-BE49-F238E27FC236}">
                <a16:creationId xmlns:a16="http://schemas.microsoft.com/office/drawing/2014/main" id="{24A54BD2-8390-49F4-A17D-30B138919721}"/>
              </a:ext>
            </a:extLst>
          </p:cNvPr>
          <p:cNvSpPr/>
          <p:nvPr/>
        </p:nvSpPr>
        <p:spPr>
          <a:xfrm>
            <a:off x="604837" y="3367337"/>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3</a:t>
            </a:r>
          </a:p>
        </p:txBody>
      </p:sp>
      <p:sp>
        <p:nvSpPr>
          <p:cNvPr id="24" name="Rectangle 6">
            <a:extLst>
              <a:ext uri="{FF2B5EF4-FFF2-40B4-BE49-F238E27FC236}">
                <a16:creationId xmlns:a16="http://schemas.microsoft.com/office/drawing/2014/main" id="{7DBCB16D-555C-4E73-9CA7-D87D58301B8A}"/>
              </a:ext>
            </a:extLst>
          </p:cNvPr>
          <p:cNvSpPr>
            <a:spLocks noChangeArrowheads="1"/>
          </p:cNvSpPr>
          <p:nvPr/>
        </p:nvSpPr>
        <p:spPr bwMode="gray">
          <a:xfrm>
            <a:off x="955223" y="3205722"/>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56" name="Rectangle 55">
            <a:extLst>
              <a:ext uri="{FF2B5EF4-FFF2-40B4-BE49-F238E27FC236}">
                <a16:creationId xmlns:a16="http://schemas.microsoft.com/office/drawing/2014/main" id="{7C07EA9B-D1B7-4A81-9365-87A2CB4139A5}"/>
              </a:ext>
            </a:extLst>
          </p:cNvPr>
          <p:cNvSpPr/>
          <p:nvPr/>
        </p:nvSpPr>
        <p:spPr bwMode="auto">
          <a:xfrm>
            <a:off x="2335932" y="3205722"/>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57" name="Rectangle 56">
            <a:extLst>
              <a:ext uri="{FF2B5EF4-FFF2-40B4-BE49-F238E27FC236}">
                <a16:creationId xmlns:a16="http://schemas.microsoft.com/office/drawing/2014/main" id="{F3F6A787-1FCC-4652-966C-408AF4109BB0}"/>
              </a:ext>
            </a:extLst>
          </p:cNvPr>
          <p:cNvSpPr/>
          <p:nvPr/>
        </p:nvSpPr>
        <p:spPr bwMode="auto">
          <a:xfrm>
            <a:off x="5449548" y="3205722"/>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58" name="Rectangle 57">
            <a:extLst>
              <a:ext uri="{FF2B5EF4-FFF2-40B4-BE49-F238E27FC236}">
                <a16:creationId xmlns:a16="http://schemas.microsoft.com/office/drawing/2014/main" id="{8B4D7EE3-3B0A-4BCA-89B7-0F127903B704}"/>
              </a:ext>
            </a:extLst>
          </p:cNvPr>
          <p:cNvSpPr/>
          <p:nvPr/>
        </p:nvSpPr>
        <p:spPr bwMode="auto">
          <a:xfrm>
            <a:off x="8563163" y="3205722"/>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30" name="Oval 29">
            <a:extLst>
              <a:ext uri="{FF2B5EF4-FFF2-40B4-BE49-F238E27FC236}">
                <a16:creationId xmlns:a16="http://schemas.microsoft.com/office/drawing/2014/main" id="{7E4733AF-5B3D-4A66-B6C6-1216F56A4E9C}"/>
              </a:ext>
            </a:extLst>
          </p:cNvPr>
          <p:cNvSpPr/>
          <p:nvPr/>
        </p:nvSpPr>
        <p:spPr>
          <a:xfrm>
            <a:off x="604837" y="4029564"/>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4</a:t>
            </a:r>
          </a:p>
        </p:txBody>
      </p:sp>
      <p:sp>
        <p:nvSpPr>
          <p:cNvPr id="25" name="Rectangle 7">
            <a:extLst>
              <a:ext uri="{FF2B5EF4-FFF2-40B4-BE49-F238E27FC236}">
                <a16:creationId xmlns:a16="http://schemas.microsoft.com/office/drawing/2014/main" id="{F69A44BA-6971-4E15-BAAC-E72DB4B7EA17}"/>
              </a:ext>
            </a:extLst>
          </p:cNvPr>
          <p:cNvSpPr>
            <a:spLocks noChangeArrowheads="1"/>
          </p:cNvSpPr>
          <p:nvPr/>
        </p:nvSpPr>
        <p:spPr bwMode="gray">
          <a:xfrm>
            <a:off x="955223" y="3867949"/>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59" name="Rectangle 58">
            <a:extLst>
              <a:ext uri="{FF2B5EF4-FFF2-40B4-BE49-F238E27FC236}">
                <a16:creationId xmlns:a16="http://schemas.microsoft.com/office/drawing/2014/main" id="{8CD8BC37-4EA8-40BE-A0CB-7CC1AB2E7DCC}"/>
              </a:ext>
            </a:extLst>
          </p:cNvPr>
          <p:cNvSpPr/>
          <p:nvPr/>
        </p:nvSpPr>
        <p:spPr bwMode="auto">
          <a:xfrm>
            <a:off x="2335932" y="386794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0" name="Rectangle 59">
            <a:extLst>
              <a:ext uri="{FF2B5EF4-FFF2-40B4-BE49-F238E27FC236}">
                <a16:creationId xmlns:a16="http://schemas.microsoft.com/office/drawing/2014/main" id="{8605D9FB-3EB9-4895-BE5B-087FFCAFADE9}"/>
              </a:ext>
            </a:extLst>
          </p:cNvPr>
          <p:cNvSpPr/>
          <p:nvPr/>
        </p:nvSpPr>
        <p:spPr bwMode="auto">
          <a:xfrm>
            <a:off x="5449548" y="386794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1" name="Rectangle 60">
            <a:extLst>
              <a:ext uri="{FF2B5EF4-FFF2-40B4-BE49-F238E27FC236}">
                <a16:creationId xmlns:a16="http://schemas.microsoft.com/office/drawing/2014/main" id="{0534BC93-C369-4AFC-AA01-BEBEC6E9612B}"/>
              </a:ext>
            </a:extLst>
          </p:cNvPr>
          <p:cNvSpPr/>
          <p:nvPr/>
        </p:nvSpPr>
        <p:spPr bwMode="auto">
          <a:xfrm>
            <a:off x="8563163" y="386794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31" name="Oval 30">
            <a:extLst>
              <a:ext uri="{FF2B5EF4-FFF2-40B4-BE49-F238E27FC236}">
                <a16:creationId xmlns:a16="http://schemas.microsoft.com/office/drawing/2014/main" id="{392FFA14-0D4F-43FE-8203-BE71191CA64E}"/>
              </a:ext>
            </a:extLst>
          </p:cNvPr>
          <p:cNvSpPr/>
          <p:nvPr/>
        </p:nvSpPr>
        <p:spPr>
          <a:xfrm>
            <a:off x="604837" y="4691791"/>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5</a:t>
            </a:r>
          </a:p>
        </p:txBody>
      </p:sp>
      <p:sp>
        <p:nvSpPr>
          <p:cNvPr id="26" name="Rectangle 8">
            <a:extLst>
              <a:ext uri="{FF2B5EF4-FFF2-40B4-BE49-F238E27FC236}">
                <a16:creationId xmlns:a16="http://schemas.microsoft.com/office/drawing/2014/main" id="{52343288-C7AD-4F3A-8205-39086537A158}"/>
              </a:ext>
            </a:extLst>
          </p:cNvPr>
          <p:cNvSpPr>
            <a:spLocks noChangeArrowheads="1"/>
          </p:cNvSpPr>
          <p:nvPr/>
        </p:nvSpPr>
        <p:spPr bwMode="gray">
          <a:xfrm>
            <a:off x="955223" y="4530176"/>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62" name="Rectangle 61">
            <a:extLst>
              <a:ext uri="{FF2B5EF4-FFF2-40B4-BE49-F238E27FC236}">
                <a16:creationId xmlns:a16="http://schemas.microsoft.com/office/drawing/2014/main" id="{287A3903-60DF-4113-8D90-32058B36FA69}"/>
              </a:ext>
            </a:extLst>
          </p:cNvPr>
          <p:cNvSpPr/>
          <p:nvPr/>
        </p:nvSpPr>
        <p:spPr bwMode="auto">
          <a:xfrm>
            <a:off x="2335932" y="4530176"/>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3" name="Rectangle 62">
            <a:extLst>
              <a:ext uri="{FF2B5EF4-FFF2-40B4-BE49-F238E27FC236}">
                <a16:creationId xmlns:a16="http://schemas.microsoft.com/office/drawing/2014/main" id="{20C3F49E-C34E-4313-A837-FDD9BEEA152D}"/>
              </a:ext>
            </a:extLst>
          </p:cNvPr>
          <p:cNvSpPr/>
          <p:nvPr/>
        </p:nvSpPr>
        <p:spPr bwMode="auto">
          <a:xfrm>
            <a:off x="5449548" y="4530176"/>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4" name="Rectangle 63">
            <a:extLst>
              <a:ext uri="{FF2B5EF4-FFF2-40B4-BE49-F238E27FC236}">
                <a16:creationId xmlns:a16="http://schemas.microsoft.com/office/drawing/2014/main" id="{FFCFF325-2FAE-484C-80D7-42F29165E972}"/>
              </a:ext>
            </a:extLst>
          </p:cNvPr>
          <p:cNvSpPr/>
          <p:nvPr/>
        </p:nvSpPr>
        <p:spPr bwMode="auto">
          <a:xfrm>
            <a:off x="8563163" y="4530176"/>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32" name="Oval 31">
            <a:extLst>
              <a:ext uri="{FF2B5EF4-FFF2-40B4-BE49-F238E27FC236}">
                <a16:creationId xmlns:a16="http://schemas.microsoft.com/office/drawing/2014/main" id="{9F1326BD-B1FD-43C7-97EA-A93D88CD2BB6}"/>
              </a:ext>
            </a:extLst>
          </p:cNvPr>
          <p:cNvSpPr/>
          <p:nvPr/>
        </p:nvSpPr>
        <p:spPr>
          <a:xfrm>
            <a:off x="604837" y="5354018"/>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6</a:t>
            </a:r>
          </a:p>
        </p:txBody>
      </p:sp>
      <p:sp>
        <p:nvSpPr>
          <p:cNvPr id="27" name="Rectangle 8">
            <a:extLst>
              <a:ext uri="{FF2B5EF4-FFF2-40B4-BE49-F238E27FC236}">
                <a16:creationId xmlns:a16="http://schemas.microsoft.com/office/drawing/2014/main" id="{0DB9D18F-162A-4241-A17F-B73E5C7A8BF3}"/>
              </a:ext>
            </a:extLst>
          </p:cNvPr>
          <p:cNvSpPr>
            <a:spLocks noChangeArrowheads="1"/>
          </p:cNvSpPr>
          <p:nvPr/>
        </p:nvSpPr>
        <p:spPr bwMode="gray">
          <a:xfrm>
            <a:off x="955223" y="5192403"/>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65" name="Rectangle 64">
            <a:extLst>
              <a:ext uri="{FF2B5EF4-FFF2-40B4-BE49-F238E27FC236}">
                <a16:creationId xmlns:a16="http://schemas.microsoft.com/office/drawing/2014/main" id="{92E6922C-3EE6-432F-971D-8559C2D223A7}"/>
              </a:ext>
            </a:extLst>
          </p:cNvPr>
          <p:cNvSpPr/>
          <p:nvPr/>
        </p:nvSpPr>
        <p:spPr bwMode="auto">
          <a:xfrm>
            <a:off x="2335932" y="5192403"/>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6" name="Rectangle 65">
            <a:extLst>
              <a:ext uri="{FF2B5EF4-FFF2-40B4-BE49-F238E27FC236}">
                <a16:creationId xmlns:a16="http://schemas.microsoft.com/office/drawing/2014/main" id="{E464D96E-7A2F-492B-9DF7-3235C3BB7198}"/>
              </a:ext>
            </a:extLst>
          </p:cNvPr>
          <p:cNvSpPr/>
          <p:nvPr/>
        </p:nvSpPr>
        <p:spPr bwMode="auto">
          <a:xfrm>
            <a:off x="5449548" y="5192403"/>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7" name="Rectangle 66">
            <a:extLst>
              <a:ext uri="{FF2B5EF4-FFF2-40B4-BE49-F238E27FC236}">
                <a16:creationId xmlns:a16="http://schemas.microsoft.com/office/drawing/2014/main" id="{757E4B8C-A4EE-4987-AFF2-8C786DAAE6B6}"/>
              </a:ext>
            </a:extLst>
          </p:cNvPr>
          <p:cNvSpPr/>
          <p:nvPr/>
        </p:nvSpPr>
        <p:spPr bwMode="auto">
          <a:xfrm>
            <a:off x="8563163" y="5192403"/>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37" name="Oval 36">
            <a:extLst>
              <a:ext uri="{FF2B5EF4-FFF2-40B4-BE49-F238E27FC236}">
                <a16:creationId xmlns:a16="http://schemas.microsoft.com/office/drawing/2014/main" id="{DC5EC97F-2CAE-4F80-B686-B4E11F1FB840}"/>
              </a:ext>
            </a:extLst>
          </p:cNvPr>
          <p:cNvSpPr/>
          <p:nvPr/>
        </p:nvSpPr>
        <p:spPr>
          <a:xfrm>
            <a:off x="604837" y="6016244"/>
            <a:ext cx="274320" cy="274320"/>
          </a:xfrm>
          <a:prstGeom prst="ellipse">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900" b="1" i="0" u="none" strike="noStrike" kern="0" cap="none" spc="0" normalizeH="0" baseline="0" noProof="0" dirty="0">
                <a:ln>
                  <a:noFill/>
                </a:ln>
                <a:solidFill>
                  <a:srgbClr val="FFFFFF"/>
                </a:solidFill>
                <a:effectLst/>
                <a:uLnTx/>
                <a:uFillTx/>
                <a:ea typeface="+mn-ea"/>
                <a:cs typeface="Arial" pitchFamily="34" charset="0"/>
              </a:rPr>
              <a:t>7</a:t>
            </a:r>
          </a:p>
        </p:txBody>
      </p:sp>
      <p:sp>
        <p:nvSpPr>
          <p:cNvPr id="35" name="Rectangle 8">
            <a:extLst>
              <a:ext uri="{FF2B5EF4-FFF2-40B4-BE49-F238E27FC236}">
                <a16:creationId xmlns:a16="http://schemas.microsoft.com/office/drawing/2014/main" id="{D1C251A3-DC6C-4738-AB92-B7F88322E7DA}"/>
              </a:ext>
            </a:extLst>
          </p:cNvPr>
          <p:cNvSpPr>
            <a:spLocks noChangeArrowheads="1"/>
          </p:cNvSpPr>
          <p:nvPr/>
        </p:nvSpPr>
        <p:spPr bwMode="gray">
          <a:xfrm>
            <a:off x="955223" y="5854629"/>
            <a:ext cx="1291093" cy="597551"/>
          </a:xfrm>
          <a:prstGeom prst="rect">
            <a:avLst/>
          </a:prstGeom>
          <a:solidFill>
            <a:srgbClr val="F1C2D9"/>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lvl="0" algn="ctr">
              <a:lnSpc>
                <a:spcPct val="90000"/>
              </a:lnSpc>
              <a:spcBef>
                <a:spcPts val="900"/>
              </a:spcBef>
              <a:defRPr/>
            </a:pPr>
            <a:r>
              <a:rPr lang="en-GB" sz="900" b="1" kern="0" dirty="0">
                <a:cs typeface="Arial" pitchFamily="34" charset="0"/>
              </a:rPr>
              <a:t>Insert text</a:t>
            </a:r>
          </a:p>
        </p:txBody>
      </p:sp>
      <p:sp>
        <p:nvSpPr>
          <p:cNvPr id="68" name="Rectangle 67">
            <a:extLst>
              <a:ext uri="{FF2B5EF4-FFF2-40B4-BE49-F238E27FC236}">
                <a16:creationId xmlns:a16="http://schemas.microsoft.com/office/drawing/2014/main" id="{CE9037F4-29EA-4349-90EB-1745966DE73D}"/>
              </a:ext>
            </a:extLst>
          </p:cNvPr>
          <p:cNvSpPr/>
          <p:nvPr/>
        </p:nvSpPr>
        <p:spPr bwMode="auto">
          <a:xfrm>
            <a:off x="2335932" y="585462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69" name="Rectangle 68">
            <a:extLst>
              <a:ext uri="{FF2B5EF4-FFF2-40B4-BE49-F238E27FC236}">
                <a16:creationId xmlns:a16="http://schemas.microsoft.com/office/drawing/2014/main" id="{35A07A25-076D-41B2-A76E-C40E4BD94AC6}"/>
              </a:ext>
            </a:extLst>
          </p:cNvPr>
          <p:cNvSpPr/>
          <p:nvPr/>
        </p:nvSpPr>
        <p:spPr bwMode="auto">
          <a:xfrm>
            <a:off x="5449548" y="585462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70" name="Rectangle 69">
            <a:extLst>
              <a:ext uri="{FF2B5EF4-FFF2-40B4-BE49-F238E27FC236}">
                <a16:creationId xmlns:a16="http://schemas.microsoft.com/office/drawing/2014/main" id="{F9C276F6-86DD-4D8B-9323-4F01B57DA3A8}"/>
              </a:ext>
            </a:extLst>
          </p:cNvPr>
          <p:cNvSpPr/>
          <p:nvPr/>
        </p:nvSpPr>
        <p:spPr bwMode="auto">
          <a:xfrm>
            <a:off x="8563163" y="5854629"/>
            <a:ext cx="3024000" cy="597551"/>
          </a:xfrm>
          <a:prstGeom prst="rect">
            <a:avLst/>
          </a:prstGeom>
          <a:solidFill>
            <a:srgbClr val="FFFFFF">
              <a:lumMod val="9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73025" indent="-73025">
              <a:buClr>
                <a:srgbClr val="000000"/>
              </a:buClr>
              <a:buFont typeface="Arial" pitchFamily="34" charset="0"/>
              <a:buChar char="•"/>
            </a:pPr>
            <a:r>
              <a:rPr lang="en-AU" sz="800" kern="0" dirty="0">
                <a:cs typeface="Arial" pitchFamily="34" charset="0"/>
              </a:rPr>
              <a:t>Insert your </a:t>
            </a:r>
            <a:r>
              <a:rPr lang="en-AU" sz="800" kern="0">
                <a:cs typeface="Arial" pitchFamily="34" charset="0"/>
              </a:rPr>
              <a:t>own text</a:t>
            </a:r>
            <a:endParaRPr lang="en-US" sz="800" kern="0" dirty="0">
              <a:cs typeface="Arial" pitchFamily="34" charset="0"/>
            </a:endParaRPr>
          </a:p>
        </p:txBody>
      </p:sp>
      <p:sp>
        <p:nvSpPr>
          <p:cNvPr id="76" name="Rectangle 75">
            <a:extLst>
              <a:ext uri="{FF2B5EF4-FFF2-40B4-BE49-F238E27FC236}">
                <a16:creationId xmlns:a16="http://schemas.microsoft.com/office/drawing/2014/main" id="{E3F2CFC4-6AE6-431A-AD6E-5536C902A721}"/>
              </a:ext>
            </a:extLst>
          </p:cNvPr>
          <p:cNvSpPr/>
          <p:nvPr/>
        </p:nvSpPr>
        <p:spPr bwMode="auto">
          <a:xfrm>
            <a:off x="8563163" y="1583553"/>
            <a:ext cx="3024000" cy="239021"/>
          </a:xfrm>
          <a:prstGeom prst="rect">
            <a:avLst/>
          </a:prstGeom>
          <a:solidFill>
            <a:schemeClr val="tx1"/>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
                <a:srgbClr val="000000"/>
              </a:buClr>
              <a:buSzTx/>
              <a:buFontTx/>
              <a:buNone/>
              <a:tabLst/>
              <a:defRPr/>
            </a:pPr>
            <a:r>
              <a:rPr kumimoji="0" lang="en-US" sz="1050" b="1" i="0" u="none" strike="noStrike" kern="0" cap="none" spc="0" normalizeH="0" baseline="0" noProof="0" dirty="0">
                <a:ln>
                  <a:noFill/>
                </a:ln>
                <a:solidFill>
                  <a:srgbClr val="FFFFFF"/>
                </a:solidFill>
                <a:effectLst/>
                <a:uLnTx/>
                <a:uFillTx/>
                <a:ea typeface="+mn-ea"/>
                <a:cs typeface="Arial" pitchFamily="34" charset="0"/>
              </a:rPr>
              <a:t>Implement and Embed</a:t>
            </a:r>
          </a:p>
        </p:txBody>
      </p:sp>
      <p:sp>
        <p:nvSpPr>
          <p:cNvPr id="2" name="Rectangle: Rounded Corners 1">
            <a:extLst>
              <a:ext uri="{FF2B5EF4-FFF2-40B4-BE49-F238E27FC236}">
                <a16:creationId xmlns:a16="http://schemas.microsoft.com/office/drawing/2014/main" id="{9558E880-BB1B-1C66-8D79-B77B9386C11A}"/>
              </a:ext>
            </a:extLst>
          </p:cNvPr>
          <p:cNvSpPr/>
          <p:nvPr/>
        </p:nvSpPr>
        <p:spPr>
          <a:xfrm>
            <a:off x="10208484" y="169253"/>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9045983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47" name="TextBox 46">
            <a:extLst>
              <a:ext uri="{FF2B5EF4-FFF2-40B4-BE49-F238E27FC236}">
                <a16:creationId xmlns:a16="http://schemas.microsoft.com/office/drawing/2014/main" id="{5519DDBE-69C2-477B-A5BC-A00AA1356CE8}"/>
              </a:ext>
            </a:extLst>
          </p:cNvPr>
          <p:cNvSpPr txBox="1"/>
          <p:nvPr/>
        </p:nvSpPr>
        <p:spPr>
          <a:xfrm>
            <a:off x="618259" y="1642834"/>
            <a:ext cx="10968904" cy="221599"/>
          </a:xfrm>
          <a:prstGeom prst="rect">
            <a:avLst/>
          </a:prstGeom>
          <a:noFill/>
          <a:ln w="6350" cap="flat">
            <a:noFill/>
            <a:miter lim="800000"/>
          </a:ln>
        </p:spPr>
        <p:txBody>
          <a:bodyPr wrap="square" lIns="0" tIns="0" rIns="0" bIns="0" rtlCol="0" anchor="t" anchorCtr="0">
            <a:spAutoFit/>
          </a:bodyPr>
          <a:lstStyle/>
          <a:p>
            <a:pPr marL="107950" lvl="1" indent="-107950">
              <a:lnSpc>
                <a:spcPct val="90000"/>
              </a:lnSpc>
              <a:spcBef>
                <a:spcPts val="600"/>
              </a:spcBef>
              <a:buClr>
                <a:schemeClr val="tx1"/>
              </a:buClr>
              <a:buFont typeface="Arial" pitchFamily="34" charset="0"/>
              <a:buChar char="•"/>
            </a:pPr>
            <a:r>
              <a:rPr lang="en-AU" sz="1600" b="1" dirty="0">
                <a:solidFill>
                  <a:srgbClr val="0072CF">
                    <a:lumMod val="50000"/>
                  </a:srgbClr>
                </a:solidFill>
                <a:cs typeface="Arial" pitchFamily="34" charset="0"/>
              </a:rPr>
              <a:t>Insert your own text</a:t>
            </a:r>
          </a:p>
        </p:txBody>
      </p:sp>
      <p:sp>
        <p:nvSpPr>
          <p:cNvPr id="84" name="Rounded Rectangle 16">
            <a:extLst>
              <a:ext uri="{FF2B5EF4-FFF2-40B4-BE49-F238E27FC236}">
                <a16:creationId xmlns:a16="http://schemas.microsoft.com/office/drawing/2014/main" id="{A2D6B31E-02A7-43A4-8BF8-B31A58EDAB12}"/>
              </a:ext>
            </a:extLst>
          </p:cNvPr>
          <p:cNvSpPr/>
          <p:nvPr/>
        </p:nvSpPr>
        <p:spPr bwMode="auto">
          <a:xfrm>
            <a:off x="604837" y="2367761"/>
            <a:ext cx="2235082"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dirty="0">
                <a:ln>
                  <a:noFill/>
                </a:ln>
                <a:solidFill>
                  <a:schemeClr val="bg1"/>
                </a:solidFill>
                <a:effectLst/>
                <a:uLnTx/>
                <a:uFillTx/>
              </a:rPr>
              <a:t>Type of change</a:t>
            </a:r>
          </a:p>
        </p:txBody>
      </p:sp>
      <p:sp>
        <p:nvSpPr>
          <p:cNvPr id="87" name="Rounded Rectangle 24">
            <a:extLst>
              <a:ext uri="{FF2B5EF4-FFF2-40B4-BE49-F238E27FC236}">
                <a16:creationId xmlns:a16="http://schemas.microsoft.com/office/drawing/2014/main" id="{29B9546E-003F-459F-9CD4-6B533DF3F3CD}"/>
              </a:ext>
            </a:extLst>
          </p:cNvPr>
          <p:cNvSpPr/>
          <p:nvPr/>
        </p:nvSpPr>
        <p:spPr bwMode="auto">
          <a:xfrm>
            <a:off x="2949432" y="5750635"/>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88" name="Rounded Rectangle 25">
            <a:extLst>
              <a:ext uri="{FF2B5EF4-FFF2-40B4-BE49-F238E27FC236}">
                <a16:creationId xmlns:a16="http://schemas.microsoft.com/office/drawing/2014/main" id="{01FFC6ED-1B55-486A-B090-8798048E5CB8}"/>
              </a:ext>
            </a:extLst>
          </p:cNvPr>
          <p:cNvSpPr/>
          <p:nvPr/>
        </p:nvSpPr>
        <p:spPr bwMode="auto">
          <a:xfrm>
            <a:off x="604837" y="5750634"/>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89" name="Rounded Rectangle 28">
            <a:extLst>
              <a:ext uri="{FF2B5EF4-FFF2-40B4-BE49-F238E27FC236}">
                <a16:creationId xmlns:a16="http://schemas.microsoft.com/office/drawing/2014/main" id="{0FF8A59D-DF00-43C1-A729-19FD00BBF551}"/>
              </a:ext>
            </a:extLst>
          </p:cNvPr>
          <p:cNvSpPr/>
          <p:nvPr/>
        </p:nvSpPr>
        <p:spPr bwMode="auto">
          <a:xfrm>
            <a:off x="2948141" y="1943100"/>
            <a:ext cx="8625600" cy="353885"/>
          </a:xfrm>
          <a:prstGeom prst="rect">
            <a:avLst/>
          </a:prstGeom>
          <a:solidFill>
            <a:schemeClr val="tx1"/>
          </a:solidFill>
          <a:ln>
            <a:noFill/>
          </a:ln>
          <a:effectLst/>
        </p:spPr>
        <p:txBody>
          <a:bodyPr wrap="square" lIns="91428" tIns="45715" rIns="91428" bIns="45715" rtlCol="0" anchor="ctr">
            <a:noAutofit/>
          </a:bodyPr>
          <a:lstStyle/>
          <a:p>
            <a:pPr marL="112713" lvl="0" indent="-112713" algn="ctr" defTabSz="3489325">
              <a:buClr>
                <a:srgbClr val="000000"/>
              </a:buClr>
              <a:defRPr/>
            </a:pPr>
            <a:r>
              <a:rPr lang="en-US" sz="1200" b="1" kern="0" dirty="0">
                <a:solidFill>
                  <a:schemeClr val="bg1"/>
                </a:solidFill>
              </a:rPr>
              <a:t>Insert your own text</a:t>
            </a:r>
          </a:p>
        </p:txBody>
      </p:sp>
      <p:sp>
        <p:nvSpPr>
          <p:cNvPr id="93" name="Rounded Rectangle 33">
            <a:extLst>
              <a:ext uri="{FF2B5EF4-FFF2-40B4-BE49-F238E27FC236}">
                <a16:creationId xmlns:a16="http://schemas.microsoft.com/office/drawing/2014/main" id="{6B8BDBFB-C9AB-4DA3-91CF-78762FD9F6AC}"/>
              </a:ext>
            </a:extLst>
          </p:cNvPr>
          <p:cNvSpPr/>
          <p:nvPr/>
        </p:nvSpPr>
        <p:spPr bwMode="auto">
          <a:xfrm>
            <a:off x="5132888" y="2367761"/>
            <a:ext cx="2073943"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bg1"/>
                </a:solidFill>
                <a:effectLst/>
                <a:uLnTx/>
                <a:uFillTx/>
              </a:rPr>
              <a:t>April - June</a:t>
            </a:r>
          </a:p>
        </p:txBody>
      </p:sp>
      <p:sp>
        <p:nvSpPr>
          <p:cNvPr id="95" name="Rounded Rectangle 35">
            <a:extLst>
              <a:ext uri="{FF2B5EF4-FFF2-40B4-BE49-F238E27FC236}">
                <a16:creationId xmlns:a16="http://schemas.microsoft.com/office/drawing/2014/main" id="{5ACB04BE-1142-4BB4-84FD-9D06BF7C823A}"/>
              </a:ext>
            </a:extLst>
          </p:cNvPr>
          <p:cNvSpPr/>
          <p:nvPr/>
        </p:nvSpPr>
        <p:spPr bwMode="auto">
          <a:xfrm>
            <a:off x="5132888" y="5750635"/>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9" name="Rounded Rectangle 51">
            <a:extLst>
              <a:ext uri="{FF2B5EF4-FFF2-40B4-BE49-F238E27FC236}">
                <a16:creationId xmlns:a16="http://schemas.microsoft.com/office/drawing/2014/main" id="{A97E0AFA-6DAB-491F-83B8-9A9DB63F3770}"/>
              </a:ext>
            </a:extLst>
          </p:cNvPr>
          <p:cNvSpPr/>
          <p:nvPr/>
        </p:nvSpPr>
        <p:spPr bwMode="auto">
          <a:xfrm>
            <a:off x="7316344" y="2367761"/>
            <a:ext cx="2073943"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bg1"/>
                </a:solidFill>
                <a:effectLst/>
                <a:uLnTx/>
                <a:uFillTx/>
              </a:rPr>
              <a:t>July - September</a:t>
            </a:r>
          </a:p>
        </p:txBody>
      </p:sp>
      <p:sp>
        <p:nvSpPr>
          <p:cNvPr id="101" name="Rounded Rectangle 53">
            <a:extLst>
              <a:ext uri="{FF2B5EF4-FFF2-40B4-BE49-F238E27FC236}">
                <a16:creationId xmlns:a16="http://schemas.microsoft.com/office/drawing/2014/main" id="{F7CB5AAC-A2D8-4979-B84B-31F946E7F202}"/>
              </a:ext>
            </a:extLst>
          </p:cNvPr>
          <p:cNvSpPr/>
          <p:nvPr/>
        </p:nvSpPr>
        <p:spPr bwMode="auto">
          <a:xfrm>
            <a:off x="7316344" y="5750635"/>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78" name="Rounded Rectangle 5">
            <a:extLst>
              <a:ext uri="{FF2B5EF4-FFF2-40B4-BE49-F238E27FC236}">
                <a16:creationId xmlns:a16="http://schemas.microsoft.com/office/drawing/2014/main" id="{6D9A1D40-02CE-40EE-AE8E-62CF86031B40}"/>
              </a:ext>
            </a:extLst>
          </p:cNvPr>
          <p:cNvSpPr/>
          <p:nvPr/>
        </p:nvSpPr>
        <p:spPr bwMode="auto">
          <a:xfrm>
            <a:off x="604837" y="2789612"/>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77" name="Rounded Rectangle 4">
            <a:extLst>
              <a:ext uri="{FF2B5EF4-FFF2-40B4-BE49-F238E27FC236}">
                <a16:creationId xmlns:a16="http://schemas.microsoft.com/office/drawing/2014/main" id="{5D54D76E-6986-4BD0-B7FE-48D05D0619ED}"/>
              </a:ext>
            </a:extLst>
          </p:cNvPr>
          <p:cNvSpPr/>
          <p:nvPr/>
        </p:nvSpPr>
        <p:spPr bwMode="auto">
          <a:xfrm>
            <a:off x="2949432" y="2789612"/>
            <a:ext cx="2073943" cy="672256"/>
          </a:xfrm>
          <a:prstGeom prst="rect">
            <a:avLst/>
          </a:prstGeom>
          <a:solidFill>
            <a:schemeClr val="bg1"/>
          </a:solidFill>
          <a:ln>
            <a:noFill/>
          </a:ln>
          <a:effectLst/>
        </p:spPr>
        <p:txBody>
          <a:bodyPr wrap="square" lIns="91428" tIns="45715" rIns="91428" bIns="45715" rtlCol="0" anchor="ctr">
            <a:noAutofit/>
          </a:bodyPr>
          <a:lstStyle/>
          <a:p>
            <a:pPr marL="88900" marR="0" lvl="0" indent="-88900" defTabSz="623853" eaLnBrk="1" fontAlgn="auto" latinLnBrk="0" hangingPunct="1">
              <a:lnSpc>
                <a:spcPct val="100000"/>
              </a:lnSpc>
              <a:spcBef>
                <a:spcPts val="0"/>
              </a:spcBef>
              <a:spcAft>
                <a:spcPts val="0"/>
              </a:spcAft>
              <a:buClr>
                <a:srgbClr val="000000"/>
              </a:buClr>
              <a:buSzTx/>
              <a:buFont typeface="Arial" pitchFamily="34" charset="0"/>
              <a:buChar char="•"/>
              <a:tabLst/>
              <a:defRPr/>
            </a:pPr>
            <a:r>
              <a:rPr kumimoji="0" lang="en-AU" sz="900" b="0" i="0" u="none" strike="noStrike" kern="0" cap="none" spc="0" normalizeH="0" baseline="0" noProof="0" dirty="0">
                <a:ln>
                  <a:noFill/>
                </a:ln>
                <a:effectLst/>
                <a:uLnTx/>
                <a:uFillTx/>
              </a:rPr>
              <a:t>Insert text</a:t>
            </a:r>
          </a:p>
        </p:txBody>
      </p:sp>
      <p:sp>
        <p:nvSpPr>
          <p:cNvPr id="90" name="Rounded Rectangle 30">
            <a:extLst>
              <a:ext uri="{FF2B5EF4-FFF2-40B4-BE49-F238E27FC236}">
                <a16:creationId xmlns:a16="http://schemas.microsoft.com/office/drawing/2014/main" id="{B2699C5B-D7DE-414A-B11D-560F8A9026C9}"/>
              </a:ext>
            </a:extLst>
          </p:cNvPr>
          <p:cNvSpPr/>
          <p:nvPr/>
        </p:nvSpPr>
        <p:spPr bwMode="auto">
          <a:xfrm>
            <a:off x="5132888" y="278961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6" name="Rounded Rectangle 48">
            <a:extLst>
              <a:ext uri="{FF2B5EF4-FFF2-40B4-BE49-F238E27FC236}">
                <a16:creationId xmlns:a16="http://schemas.microsoft.com/office/drawing/2014/main" id="{D8A81C7B-D900-4353-B0E5-BB2B7D6484C8}"/>
              </a:ext>
            </a:extLst>
          </p:cNvPr>
          <p:cNvSpPr/>
          <p:nvPr/>
        </p:nvSpPr>
        <p:spPr bwMode="auto">
          <a:xfrm>
            <a:off x="7316344" y="278961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2" name="Rounded Rectangle 54">
            <a:extLst>
              <a:ext uri="{FF2B5EF4-FFF2-40B4-BE49-F238E27FC236}">
                <a16:creationId xmlns:a16="http://schemas.microsoft.com/office/drawing/2014/main" id="{41F2F221-556B-423D-B655-08140FE3CE06}"/>
              </a:ext>
            </a:extLst>
          </p:cNvPr>
          <p:cNvSpPr/>
          <p:nvPr/>
        </p:nvSpPr>
        <p:spPr bwMode="auto">
          <a:xfrm>
            <a:off x="9499798" y="278961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80" name="Rounded Rectangle 8">
            <a:extLst>
              <a:ext uri="{FF2B5EF4-FFF2-40B4-BE49-F238E27FC236}">
                <a16:creationId xmlns:a16="http://schemas.microsoft.com/office/drawing/2014/main" id="{2D9A4F8B-8C42-4C5B-AB48-CFF25F7B8024}"/>
              </a:ext>
            </a:extLst>
          </p:cNvPr>
          <p:cNvSpPr/>
          <p:nvPr/>
        </p:nvSpPr>
        <p:spPr bwMode="auto">
          <a:xfrm>
            <a:off x="604837" y="3529867"/>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79" name="Rounded Rectangle 7">
            <a:extLst>
              <a:ext uri="{FF2B5EF4-FFF2-40B4-BE49-F238E27FC236}">
                <a16:creationId xmlns:a16="http://schemas.microsoft.com/office/drawing/2014/main" id="{2F09AE87-86E7-472E-A20D-BB0D9593BE21}"/>
              </a:ext>
            </a:extLst>
          </p:cNvPr>
          <p:cNvSpPr/>
          <p:nvPr/>
        </p:nvSpPr>
        <p:spPr bwMode="auto">
          <a:xfrm>
            <a:off x="2949432" y="352986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1" name="Rounded Rectangle 31">
            <a:extLst>
              <a:ext uri="{FF2B5EF4-FFF2-40B4-BE49-F238E27FC236}">
                <a16:creationId xmlns:a16="http://schemas.microsoft.com/office/drawing/2014/main" id="{40C968AA-611D-49C8-97B7-49A636429C3A}"/>
              </a:ext>
            </a:extLst>
          </p:cNvPr>
          <p:cNvSpPr/>
          <p:nvPr/>
        </p:nvSpPr>
        <p:spPr bwMode="auto">
          <a:xfrm>
            <a:off x="5132888" y="352986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7" name="Rounded Rectangle 49">
            <a:extLst>
              <a:ext uri="{FF2B5EF4-FFF2-40B4-BE49-F238E27FC236}">
                <a16:creationId xmlns:a16="http://schemas.microsoft.com/office/drawing/2014/main" id="{ABD52E5B-8B59-446A-B834-2C15A457C5BE}"/>
              </a:ext>
            </a:extLst>
          </p:cNvPr>
          <p:cNvSpPr/>
          <p:nvPr/>
        </p:nvSpPr>
        <p:spPr bwMode="auto">
          <a:xfrm>
            <a:off x="7316344" y="352986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3" name="Rounded Rectangle 55">
            <a:extLst>
              <a:ext uri="{FF2B5EF4-FFF2-40B4-BE49-F238E27FC236}">
                <a16:creationId xmlns:a16="http://schemas.microsoft.com/office/drawing/2014/main" id="{A72752D8-9F92-4CF3-A770-D5A701DCC7C3}"/>
              </a:ext>
            </a:extLst>
          </p:cNvPr>
          <p:cNvSpPr/>
          <p:nvPr/>
        </p:nvSpPr>
        <p:spPr bwMode="auto">
          <a:xfrm>
            <a:off x="9499798" y="352986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82" name="Rounded Rectangle 10">
            <a:extLst>
              <a:ext uri="{FF2B5EF4-FFF2-40B4-BE49-F238E27FC236}">
                <a16:creationId xmlns:a16="http://schemas.microsoft.com/office/drawing/2014/main" id="{7886D270-AF61-467A-A87D-5E7602296B99}"/>
              </a:ext>
            </a:extLst>
          </p:cNvPr>
          <p:cNvSpPr/>
          <p:nvPr/>
        </p:nvSpPr>
        <p:spPr bwMode="auto">
          <a:xfrm>
            <a:off x="604837" y="4270122"/>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81" name="Rounded Rectangle 9">
            <a:extLst>
              <a:ext uri="{FF2B5EF4-FFF2-40B4-BE49-F238E27FC236}">
                <a16:creationId xmlns:a16="http://schemas.microsoft.com/office/drawing/2014/main" id="{BB77B1F3-770F-44CF-B4CE-AA6F6427F819}"/>
              </a:ext>
            </a:extLst>
          </p:cNvPr>
          <p:cNvSpPr/>
          <p:nvPr/>
        </p:nvSpPr>
        <p:spPr bwMode="auto">
          <a:xfrm>
            <a:off x="2949432" y="427012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2" name="Rounded Rectangle 32">
            <a:extLst>
              <a:ext uri="{FF2B5EF4-FFF2-40B4-BE49-F238E27FC236}">
                <a16:creationId xmlns:a16="http://schemas.microsoft.com/office/drawing/2014/main" id="{BCFD6D05-4374-45EB-A228-D5FC3C0EB28E}"/>
              </a:ext>
            </a:extLst>
          </p:cNvPr>
          <p:cNvSpPr/>
          <p:nvPr/>
        </p:nvSpPr>
        <p:spPr bwMode="auto">
          <a:xfrm>
            <a:off x="5132888" y="427012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8" name="Rounded Rectangle 50">
            <a:extLst>
              <a:ext uri="{FF2B5EF4-FFF2-40B4-BE49-F238E27FC236}">
                <a16:creationId xmlns:a16="http://schemas.microsoft.com/office/drawing/2014/main" id="{ADCDB500-E3E3-482E-ACF3-F4A1BCA19711}"/>
              </a:ext>
            </a:extLst>
          </p:cNvPr>
          <p:cNvSpPr/>
          <p:nvPr/>
        </p:nvSpPr>
        <p:spPr bwMode="auto">
          <a:xfrm>
            <a:off x="7316344" y="427012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4" name="Rounded Rectangle 56">
            <a:extLst>
              <a:ext uri="{FF2B5EF4-FFF2-40B4-BE49-F238E27FC236}">
                <a16:creationId xmlns:a16="http://schemas.microsoft.com/office/drawing/2014/main" id="{4E0DA549-9488-42C1-BEF3-CA00414E5B90}"/>
              </a:ext>
            </a:extLst>
          </p:cNvPr>
          <p:cNvSpPr/>
          <p:nvPr/>
        </p:nvSpPr>
        <p:spPr bwMode="auto">
          <a:xfrm>
            <a:off x="9499798" y="4270122"/>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83" name="Rounded Rectangle 15">
            <a:extLst>
              <a:ext uri="{FF2B5EF4-FFF2-40B4-BE49-F238E27FC236}">
                <a16:creationId xmlns:a16="http://schemas.microsoft.com/office/drawing/2014/main" id="{2DA3D089-0CBB-45A8-A6BA-AAB628C9DC72}"/>
              </a:ext>
            </a:extLst>
          </p:cNvPr>
          <p:cNvSpPr/>
          <p:nvPr/>
        </p:nvSpPr>
        <p:spPr bwMode="auto">
          <a:xfrm>
            <a:off x="2949432" y="2367761"/>
            <a:ext cx="2073943"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bg1"/>
                </a:solidFill>
                <a:effectLst/>
                <a:uLnTx/>
                <a:uFillTx/>
              </a:rPr>
              <a:t>Jan - March</a:t>
            </a:r>
          </a:p>
        </p:txBody>
      </p:sp>
      <p:sp>
        <p:nvSpPr>
          <p:cNvPr id="105" name="Rounded Rectangle 57">
            <a:extLst>
              <a:ext uri="{FF2B5EF4-FFF2-40B4-BE49-F238E27FC236}">
                <a16:creationId xmlns:a16="http://schemas.microsoft.com/office/drawing/2014/main" id="{157477CF-9780-4632-91AD-B231931B3F67}"/>
              </a:ext>
            </a:extLst>
          </p:cNvPr>
          <p:cNvSpPr/>
          <p:nvPr/>
        </p:nvSpPr>
        <p:spPr bwMode="auto">
          <a:xfrm>
            <a:off x="9499798" y="2367761"/>
            <a:ext cx="2073943" cy="353854"/>
          </a:xfrm>
          <a:prstGeom prst="rect">
            <a:avLst/>
          </a:prstGeom>
          <a:solidFill>
            <a:schemeClr val="tx1"/>
          </a:solidFill>
          <a:ln>
            <a:noFill/>
          </a:ln>
          <a:effectLst/>
        </p:spPr>
        <p:txBody>
          <a:bodyPr wrap="square" lIns="91428" tIns="45715" rIns="91428" bIns="45715" rtlCol="0" anchor="ctr">
            <a:noAutofit/>
          </a:bodyPr>
          <a:lstStyle/>
          <a:p>
            <a:pPr marL="0" marR="0" lvl="0" indent="0" algn="ctr" defTabSz="3489325"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chemeClr val="bg1"/>
                </a:solidFill>
                <a:effectLst/>
                <a:uLnTx/>
                <a:uFillTx/>
              </a:rPr>
              <a:t>October - December</a:t>
            </a:r>
          </a:p>
        </p:txBody>
      </p:sp>
      <p:sp>
        <p:nvSpPr>
          <p:cNvPr id="86" name="Rounded Rectangle 23">
            <a:extLst>
              <a:ext uri="{FF2B5EF4-FFF2-40B4-BE49-F238E27FC236}">
                <a16:creationId xmlns:a16="http://schemas.microsoft.com/office/drawing/2014/main" id="{B885C7A7-3AFD-42D4-8BD9-F3AC821A90BB}"/>
              </a:ext>
            </a:extLst>
          </p:cNvPr>
          <p:cNvSpPr/>
          <p:nvPr/>
        </p:nvSpPr>
        <p:spPr bwMode="auto">
          <a:xfrm>
            <a:off x="604837" y="5010377"/>
            <a:ext cx="2235082" cy="672258"/>
          </a:xfrm>
          <a:prstGeom prst="rect">
            <a:avLst/>
          </a:prstGeom>
          <a:solidFill>
            <a:schemeClr val="bg1"/>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pPr>
            <a:r>
              <a:rPr lang="en-US" sz="1200" b="1" kern="0" dirty="0"/>
              <a:t>Insert your own text</a:t>
            </a:r>
          </a:p>
        </p:txBody>
      </p:sp>
      <p:sp>
        <p:nvSpPr>
          <p:cNvPr id="85" name="Rounded Rectangle 22">
            <a:extLst>
              <a:ext uri="{FF2B5EF4-FFF2-40B4-BE49-F238E27FC236}">
                <a16:creationId xmlns:a16="http://schemas.microsoft.com/office/drawing/2014/main" id="{4D35E494-D97B-40EE-A56B-7693338AD6A2}"/>
              </a:ext>
            </a:extLst>
          </p:cNvPr>
          <p:cNvSpPr/>
          <p:nvPr/>
        </p:nvSpPr>
        <p:spPr bwMode="auto">
          <a:xfrm>
            <a:off x="2949432" y="501037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94" name="Rounded Rectangle 34">
            <a:extLst>
              <a:ext uri="{FF2B5EF4-FFF2-40B4-BE49-F238E27FC236}">
                <a16:creationId xmlns:a16="http://schemas.microsoft.com/office/drawing/2014/main" id="{A0109FF5-E192-4D9B-8028-119C9E132AF1}"/>
              </a:ext>
            </a:extLst>
          </p:cNvPr>
          <p:cNvSpPr/>
          <p:nvPr/>
        </p:nvSpPr>
        <p:spPr bwMode="auto">
          <a:xfrm>
            <a:off x="5132888" y="501037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0" name="Rounded Rectangle 52">
            <a:extLst>
              <a:ext uri="{FF2B5EF4-FFF2-40B4-BE49-F238E27FC236}">
                <a16:creationId xmlns:a16="http://schemas.microsoft.com/office/drawing/2014/main" id="{9F6015EC-4179-4A00-AE58-F6A1EDB05926}"/>
              </a:ext>
            </a:extLst>
          </p:cNvPr>
          <p:cNvSpPr/>
          <p:nvPr/>
        </p:nvSpPr>
        <p:spPr bwMode="auto">
          <a:xfrm>
            <a:off x="7316344" y="501037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6" name="Rounded Rectangle 58">
            <a:extLst>
              <a:ext uri="{FF2B5EF4-FFF2-40B4-BE49-F238E27FC236}">
                <a16:creationId xmlns:a16="http://schemas.microsoft.com/office/drawing/2014/main" id="{D931B0B0-5646-4A44-B455-BA92F1812E0E}"/>
              </a:ext>
            </a:extLst>
          </p:cNvPr>
          <p:cNvSpPr/>
          <p:nvPr/>
        </p:nvSpPr>
        <p:spPr bwMode="auto">
          <a:xfrm>
            <a:off x="9499798" y="5010377"/>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107" name="Rounded Rectangle 59">
            <a:extLst>
              <a:ext uri="{FF2B5EF4-FFF2-40B4-BE49-F238E27FC236}">
                <a16:creationId xmlns:a16="http://schemas.microsoft.com/office/drawing/2014/main" id="{ED350588-0553-4F3E-A0BC-69AD7B4AF105}"/>
              </a:ext>
            </a:extLst>
          </p:cNvPr>
          <p:cNvSpPr/>
          <p:nvPr/>
        </p:nvSpPr>
        <p:spPr bwMode="auto">
          <a:xfrm>
            <a:off x="9499798" y="5750635"/>
            <a:ext cx="2073943" cy="672256"/>
          </a:xfrm>
          <a:prstGeom prst="rect">
            <a:avLst/>
          </a:prstGeom>
          <a:solidFill>
            <a:schemeClr val="bg1"/>
          </a:solidFill>
          <a:ln>
            <a:noFill/>
          </a:ln>
          <a:effectLst/>
        </p:spPr>
        <p:txBody>
          <a:bodyPr wrap="square" lIns="91428" tIns="45715" rIns="91428" bIns="45715" rtlCol="0" anchor="ctr">
            <a:noAutofit/>
          </a:bodyPr>
          <a:lstStyle/>
          <a:p>
            <a:pPr marL="88900" lvl="0" indent="-88900" defTabSz="623853">
              <a:buClr>
                <a:srgbClr val="000000"/>
              </a:buClr>
              <a:buFont typeface="Arial" pitchFamily="34" charset="0"/>
              <a:buChar char="•"/>
              <a:defRPr/>
            </a:pPr>
            <a:r>
              <a:rPr lang="en-AU" sz="900" kern="0" dirty="0"/>
              <a:t>Insert text</a:t>
            </a:r>
          </a:p>
        </p:txBody>
      </p:sp>
      <p:sp>
        <p:nvSpPr>
          <p:cNvPr id="2" name="Rectangle: Rounded Corners 1">
            <a:extLst>
              <a:ext uri="{FF2B5EF4-FFF2-40B4-BE49-F238E27FC236}">
                <a16:creationId xmlns:a16="http://schemas.microsoft.com/office/drawing/2014/main" id="{D8F07D49-A898-987C-2C23-1DA924975AF3}"/>
              </a:ext>
            </a:extLst>
          </p:cNvPr>
          <p:cNvSpPr/>
          <p:nvPr/>
        </p:nvSpPr>
        <p:spPr>
          <a:xfrm>
            <a:off x="10208484" y="169253"/>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8631870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46" name="Rectangle 45">
            <a:extLst>
              <a:ext uri="{FF2B5EF4-FFF2-40B4-BE49-F238E27FC236}">
                <a16:creationId xmlns:a16="http://schemas.microsoft.com/office/drawing/2014/main" id="{630430F8-772B-4AE0-A36E-66F2E497ED76}"/>
              </a:ext>
            </a:extLst>
          </p:cNvPr>
          <p:cNvSpPr/>
          <p:nvPr/>
        </p:nvSpPr>
        <p:spPr>
          <a:xfrm>
            <a:off x="2423264" y="1954853"/>
            <a:ext cx="6479620" cy="929169"/>
          </a:xfrm>
          <a:prstGeom prst="rect">
            <a:avLst/>
          </a:prstGeom>
          <a:solidFill>
            <a:schemeClr val="bg1"/>
          </a:solidFill>
          <a:ln w="3175" algn="ctr">
            <a:noFill/>
            <a:round/>
            <a:headEnd/>
            <a:tailEnd/>
          </a:ln>
          <a:effectLst/>
        </p:spPr>
        <p:txBody>
          <a:bodyPr lIns="36000" tIns="0" rIns="0" bIns="0" anchor="ctr"/>
          <a:lstStyle/>
          <a:p>
            <a:pPr marL="88900" marR="0" lvl="0" indent="-88900" defTabSz="623853" eaLnBrk="1" fontAlgn="auto" latinLnBrk="0" hangingPunct="1">
              <a:lnSpc>
                <a:spcPct val="100000"/>
              </a:lnSpc>
              <a:spcBef>
                <a:spcPts val="0"/>
              </a:spcBef>
              <a:spcAft>
                <a:spcPts val="0"/>
              </a:spcAft>
              <a:buClr>
                <a:srgbClr val="000000"/>
              </a:buClr>
              <a:buSzTx/>
              <a:buFont typeface="Arial" pitchFamily="34" charset="0"/>
              <a:buChar char="•"/>
              <a:tabLst/>
              <a:defRPr/>
            </a:pPr>
            <a:r>
              <a:rPr kumimoji="0" lang="en-AU" sz="1100" b="0" i="0" u="none" strike="noStrike" kern="0" cap="none" spc="0" normalizeH="0" baseline="0" noProof="0" dirty="0">
                <a:ln>
                  <a:noFill/>
                </a:ln>
                <a:effectLst/>
                <a:uLnTx/>
                <a:uFillTx/>
              </a:rPr>
              <a:t>Insert your own text</a:t>
            </a:r>
          </a:p>
        </p:txBody>
      </p:sp>
      <p:sp>
        <p:nvSpPr>
          <p:cNvPr id="48" name="Rectangle 47">
            <a:extLst>
              <a:ext uri="{FF2B5EF4-FFF2-40B4-BE49-F238E27FC236}">
                <a16:creationId xmlns:a16="http://schemas.microsoft.com/office/drawing/2014/main" id="{E1290AA1-8F95-42FE-ABC0-E1BB0A2396E9}"/>
              </a:ext>
            </a:extLst>
          </p:cNvPr>
          <p:cNvSpPr/>
          <p:nvPr/>
        </p:nvSpPr>
        <p:spPr>
          <a:xfrm>
            <a:off x="2423264" y="2960989"/>
            <a:ext cx="6479620" cy="929169"/>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sp>
        <p:nvSpPr>
          <p:cNvPr id="49" name="Rectangle 48">
            <a:extLst>
              <a:ext uri="{FF2B5EF4-FFF2-40B4-BE49-F238E27FC236}">
                <a16:creationId xmlns:a16="http://schemas.microsoft.com/office/drawing/2014/main" id="{69409DC0-50DB-420F-9324-34D0FAB937DE}"/>
              </a:ext>
            </a:extLst>
          </p:cNvPr>
          <p:cNvSpPr/>
          <p:nvPr/>
        </p:nvSpPr>
        <p:spPr>
          <a:xfrm>
            <a:off x="2423264" y="3966681"/>
            <a:ext cx="6479620" cy="929169"/>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sp>
        <p:nvSpPr>
          <p:cNvPr id="50" name="Rectangle 49">
            <a:extLst>
              <a:ext uri="{FF2B5EF4-FFF2-40B4-BE49-F238E27FC236}">
                <a16:creationId xmlns:a16="http://schemas.microsoft.com/office/drawing/2014/main" id="{84B607EA-D241-4557-A7FC-427AD54429EA}"/>
              </a:ext>
            </a:extLst>
          </p:cNvPr>
          <p:cNvSpPr/>
          <p:nvPr/>
        </p:nvSpPr>
        <p:spPr>
          <a:xfrm>
            <a:off x="9024897" y="1954853"/>
            <a:ext cx="2562267" cy="928700"/>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050" kern="0" dirty="0"/>
              <a:t>Insert your own text</a:t>
            </a:r>
          </a:p>
        </p:txBody>
      </p:sp>
      <p:sp>
        <p:nvSpPr>
          <p:cNvPr id="51" name="Rectangle 50">
            <a:extLst>
              <a:ext uri="{FF2B5EF4-FFF2-40B4-BE49-F238E27FC236}">
                <a16:creationId xmlns:a16="http://schemas.microsoft.com/office/drawing/2014/main" id="{6F362974-7C0F-4482-915D-6726347787E2}"/>
              </a:ext>
            </a:extLst>
          </p:cNvPr>
          <p:cNvSpPr/>
          <p:nvPr/>
        </p:nvSpPr>
        <p:spPr>
          <a:xfrm>
            <a:off x="9024897" y="2960989"/>
            <a:ext cx="2562267" cy="928700"/>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050" kern="0" dirty="0"/>
              <a:t>Insert your own text</a:t>
            </a:r>
          </a:p>
        </p:txBody>
      </p:sp>
      <p:sp>
        <p:nvSpPr>
          <p:cNvPr id="52" name="Rectangle 51">
            <a:extLst>
              <a:ext uri="{FF2B5EF4-FFF2-40B4-BE49-F238E27FC236}">
                <a16:creationId xmlns:a16="http://schemas.microsoft.com/office/drawing/2014/main" id="{9E66C8F1-7BEB-4291-B435-F5BEA4227DE5}"/>
              </a:ext>
            </a:extLst>
          </p:cNvPr>
          <p:cNvSpPr/>
          <p:nvPr/>
        </p:nvSpPr>
        <p:spPr>
          <a:xfrm>
            <a:off x="9024897" y="3966681"/>
            <a:ext cx="2562267" cy="928700"/>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sp>
        <p:nvSpPr>
          <p:cNvPr id="53" name="Rectangle 52">
            <a:extLst>
              <a:ext uri="{FF2B5EF4-FFF2-40B4-BE49-F238E27FC236}">
                <a16:creationId xmlns:a16="http://schemas.microsoft.com/office/drawing/2014/main" id="{34FC0E30-1E05-4485-A511-8DEBD764EC7B}"/>
              </a:ext>
            </a:extLst>
          </p:cNvPr>
          <p:cNvSpPr/>
          <p:nvPr/>
        </p:nvSpPr>
        <p:spPr>
          <a:xfrm>
            <a:off x="2423264" y="1652759"/>
            <a:ext cx="6479620" cy="250183"/>
          </a:xfrm>
          <a:prstGeom prst="rect">
            <a:avLst/>
          </a:prstGeom>
          <a:solidFill>
            <a:schemeClr val="tx1"/>
          </a:solidFill>
          <a:ln w="3175" algn="ctr">
            <a:noFill/>
            <a:round/>
            <a:headEnd/>
            <a:tailEnd/>
          </a:ln>
          <a:effectLst/>
        </p:spPr>
        <p:txBody>
          <a:bodyPr lIns="36000" tIns="0" rIns="0" bIns="0" anchor="ctr"/>
          <a:lstStyle/>
          <a:p>
            <a:pPr marL="88900" marR="0" lvl="0" indent="-88900" algn="ctr" defTabSz="623853"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dirty="0">
                <a:ln>
                  <a:noFill/>
                </a:ln>
                <a:solidFill>
                  <a:srgbClr val="FFFFFF"/>
                </a:solidFill>
                <a:effectLst/>
                <a:uLnTx/>
                <a:uFillTx/>
              </a:rPr>
              <a:t>Activities</a:t>
            </a:r>
          </a:p>
        </p:txBody>
      </p:sp>
      <p:sp>
        <p:nvSpPr>
          <p:cNvPr id="54" name="Rectangle 53">
            <a:extLst>
              <a:ext uri="{FF2B5EF4-FFF2-40B4-BE49-F238E27FC236}">
                <a16:creationId xmlns:a16="http://schemas.microsoft.com/office/drawing/2014/main" id="{0B110A36-CE67-4E6D-94C7-9EC1786443D2}"/>
              </a:ext>
            </a:extLst>
          </p:cNvPr>
          <p:cNvSpPr/>
          <p:nvPr/>
        </p:nvSpPr>
        <p:spPr>
          <a:xfrm>
            <a:off x="9024897" y="1652759"/>
            <a:ext cx="2562267" cy="250183"/>
          </a:xfrm>
          <a:prstGeom prst="rect">
            <a:avLst/>
          </a:prstGeom>
          <a:solidFill>
            <a:schemeClr val="tx1"/>
          </a:solidFill>
          <a:ln w="3175" algn="ctr">
            <a:noFill/>
            <a:round/>
            <a:headEnd/>
            <a:tailEnd/>
          </a:ln>
          <a:effectLst/>
        </p:spPr>
        <p:txBody>
          <a:bodyPr lIns="36000" tIns="0" rIns="0" bIns="0" anchor="ctr"/>
          <a:lstStyle/>
          <a:p>
            <a:pPr marL="88900" marR="0" lvl="0" indent="-88900" algn="ctr" defTabSz="623853"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dirty="0">
                <a:ln>
                  <a:noFill/>
                </a:ln>
                <a:solidFill>
                  <a:srgbClr val="FFFFFF"/>
                </a:solidFill>
                <a:effectLst/>
                <a:uLnTx/>
                <a:uFillTx/>
              </a:rPr>
              <a:t>Contributors</a:t>
            </a:r>
          </a:p>
        </p:txBody>
      </p:sp>
      <p:grpSp>
        <p:nvGrpSpPr>
          <p:cNvPr id="55" name="Group 6">
            <a:extLst>
              <a:ext uri="{FF2B5EF4-FFF2-40B4-BE49-F238E27FC236}">
                <a16:creationId xmlns:a16="http://schemas.microsoft.com/office/drawing/2014/main" id="{8856350C-665E-4F5C-990F-0727C685AB44}"/>
              </a:ext>
            </a:extLst>
          </p:cNvPr>
          <p:cNvGrpSpPr/>
          <p:nvPr/>
        </p:nvGrpSpPr>
        <p:grpSpPr>
          <a:xfrm>
            <a:off x="623456" y="5018749"/>
            <a:ext cx="1760546" cy="1322809"/>
            <a:chOff x="1" y="2578508"/>
            <a:chExt cx="1039018" cy="1484312"/>
          </a:xfrm>
          <a:solidFill>
            <a:schemeClr val="tx1">
              <a:lumMod val="50000"/>
              <a:lumOff val="50000"/>
            </a:schemeClr>
          </a:solidFill>
        </p:grpSpPr>
        <p:sp>
          <p:nvSpPr>
            <p:cNvPr id="56" name="Chevron 35">
              <a:extLst>
                <a:ext uri="{FF2B5EF4-FFF2-40B4-BE49-F238E27FC236}">
                  <a16:creationId xmlns:a16="http://schemas.microsoft.com/office/drawing/2014/main" id="{5BF0ECD5-1D0C-4760-BC36-DE9C87264E67}"/>
                </a:ext>
              </a:extLst>
            </p:cNvPr>
            <p:cNvSpPr/>
            <p:nvPr/>
          </p:nvSpPr>
          <p:spPr>
            <a:xfrm rot="5400000">
              <a:off x="-222646" y="2801154"/>
              <a:ext cx="1484312" cy="1039018"/>
            </a:xfrm>
            <a:prstGeom prst="chevron">
              <a:avLst>
                <a:gd name="adj" fmla="val 27195"/>
              </a:avLst>
            </a:prstGeom>
            <a:grpFill/>
            <a:ln w="25400" cap="flat" cmpd="sng" algn="ctr">
              <a:noFill/>
              <a:prstDash val="solid"/>
            </a:ln>
            <a:effectLst/>
          </p:spPr>
        </p:sp>
        <p:sp>
          <p:nvSpPr>
            <p:cNvPr id="57" name="Chevron 8">
              <a:extLst>
                <a:ext uri="{FF2B5EF4-FFF2-40B4-BE49-F238E27FC236}">
                  <a16:creationId xmlns:a16="http://schemas.microsoft.com/office/drawing/2014/main" id="{90205938-7C9E-451F-93AD-F6354DA2A9A4}"/>
                </a:ext>
              </a:extLst>
            </p:cNvPr>
            <p:cNvSpPr/>
            <p:nvPr/>
          </p:nvSpPr>
          <p:spPr>
            <a:xfrm>
              <a:off x="1" y="3124036"/>
              <a:ext cx="1039018" cy="445294"/>
            </a:xfrm>
            <a:prstGeom prst="rect">
              <a:avLst/>
            </a:prstGeom>
            <a:grpFill/>
            <a:ln>
              <a:noFill/>
            </a:ln>
            <a:effectLst/>
          </p:spPr>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200" b="1" kern="0" dirty="0">
                  <a:solidFill>
                    <a:srgbClr val="FFFFFF"/>
                  </a:solidFill>
                </a:rPr>
                <a:t>Insert your own text</a:t>
              </a:r>
            </a:p>
          </p:txBody>
        </p:sp>
      </p:grpSp>
      <p:sp>
        <p:nvSpPr>
          <p:cNvPr id="58" name="Rectangle 57">
            <a:extLst>
              <a:ext uri="{FF2B5EF4-FFF2-40B4-BE49-F238E27FC236}">
                <a16:creationId xmlns:a16="http://schemas.microsoft.com/office/drawing/2014/main" id="{1D0B4778-51E2-4A0C-83C3-D2EFAC4C4F81}"/>
              </a:ext>
            </a:extLst>
          </p:cNvPr>
          <p:cNvSpPr/>
          <p:nvPr/>
        </p:nvSpPr>
        <p:spPr>
          <a:xfrm>
            <a:off x="2423264" y="4976489"/>
            <a:ext cx="6479620" cy="1033373"/>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sp>
        <p:nvSpPr>
          <p:cNvPr id="59" name="Rectangle 58">
            <a:extLst>
              <a:ext uri="{FF2B5EF4-FFF2-40B4-BE49-F238E27FC236}">
                <a16:creationId xmlns:a16="http://schemas.microsoft.com/office/drawing/2014/main" id="{E337EC11-8491-46D5-9AEF-7A0BEF46AFB4}"/>
              </a:ext>
            </a:extLst>
          </p:cNvPr>
          <p:cNvSpPr/>
          <p:nvPr/>
        </p:nvSpPr>
        <p:spPr>
          <a:xfrm>
            <a:off x="9024897" y="4976489"/>
            <a:ext cx="2562267" cy="1033373"/>
          </a:xfrm>
          <a:prstGeom prst="rect">
            <a:avLst/>
          </a:prstGeom>
          <a:solidFill>
            <a:schemeClr val="bg1"/>
          </a:solidFill>
          <a:ln w="3175" algn="ctr">
            <a:noFill/>
            <a:round/>
            <a:headEnd/>
            <a:tailEnd/>
          </a:ln>
          <a:effectLst/>
        </p:spPr>
        <p:txBody>
          <a:bodyPr lIns="36000" tIns="0" rIns="0" bIns="0" anchor="ctr"/>
          <a:lstStyle/>
          <a:p>
            <a:pPr marL="88900" lvl="0" indent="-88900" defTabSz="623853">
              <a:buClr>
                <a:srgbClr val="000000"/>
              </a:buClr>
              <a:buFont typeface="Arial" pitchFamily="34" charset="0"/>
              <a:buChar char="•"/>
              <a:defRPr/>
            </a:pPr>
            <a:r>
              <a:rPr lang="en-AU" sz="1100" kern="0" dirty="0"/>
              <a:t>Insert your own text</a:t>
            </a:r>
          </a:p>
        </p:txBody>
      </p:sp>
      <p:grpSp>
        <p:nvGrpSpPr>
          <p:cNvPr id="60" name="Group 6">
            <a:extLst>
              <a:ext uri="{FF2B5EF4-FFF2-40B4-BE49-F238E27FC236}">
                <a16:creationId xmlns:a16="http://schemas.microsoft.com/office/drawing/2014/main" id="{3735B72A-EB68-4AA9-9863-3F1CE08213DB}"/>
              </a:ext>
            </a:extLst>
          </p:cNvPr>
          <p:cNvGrpSpPr/>
          <p:nvPr/>
        </p:nvGrpSpPr>
        <p:grpSpPr>
          <a:xfrm>
            <a:off x="623456" y="3990633"/>
            <a:ext cx="1760546" cy="1322809"/>
            <a:chOff x="1" y="2578508"/>
            <a:chExt cx="1039018" cy="1484312"/>
          </a:xfrm>
          <a:solidFill>
            <a:schemeClr val="tx1">
              <a:lumMod val="50000"/>
              <a:lumOff val="50000"/>
            </a:schemeClr>
          </a:solidFill>
        </p:grpSpPr>
        <p:sp>
          <p:nvSpPr>
            <p:cNvPr id="61" name="Chevron 35">
              <a:extLst>
                <a:ext uri="{FF2B5EF4-FFF2-40B4-BE49-F238E27FC236}">
                  <a16:creationId xmlns:a16="http://schemas.microsoft.com/office/drawing/2014/main" id="{71DD9599-1413-4AE9-AA03-FB6612F3E0AF}"/>
                </a:ext>
              </a:extLst>
            </p:cNvPr>
            <p:cNvSpPr/>
            <p:nvPr/>
          </p:nvSpPr>
          <p:spPr>
            <a:xfrm rot="5400000">
              <a:off x="-222646" y="2801154"/>
              <a:ext cx="1484312" cy="1039018"/>
            </a:xfrm>
            <a:prstGeom prst="chevron">
              <a:avLst>
                <a:gd name="adj" fmla="val 27195"/>
              </a:avLst>
            </a:prstGeom>
            <a:grpFill/>
            <a:ln w="25400" cap="flat" cmpd="sng" algn="ctr">
              <a:noFill/>
              <a:prstDash val="solid"/>
            </a:ln>
            <a:effectLst/>
          </p:spPr>
        </p:sp>
        <p:sp>
          <p:nvSpPr>
            <p:cNvPr id="62" name="Chevron 8">
              <a:extLst>
                <a:ext uri="{FF2B5EF4-FFF2-40B4-BE49-F238E27FC236}">
                  <a16:creationId xmlns:a16="http://schemas.microsoft.com/office/drawing/2014/main" id="{BA65D609-48D1-4F87-BCA1-B41ABF1E0476}"/>
                </a:ext>
              </a:extLst>
            </p:cNvPr>
            <p:cNvSpPr/>
            <p:nvPr/>
          </p:nvSpPr>
          <p:spPr>
            <a:xfrm>
              <a:off x="1" y="3124036"/>
              <a:ext cx="1039018" cy="445294"/>
            </a:xfrm>
            <a:prstGeom prst="rect">
              <a:avLst/>
            </a:prstGeom>
            <a:grpFill/>
            <a:ln>
              <a:noFill/>
            </a:ln>
            <a:effectLst/>
          </p:spPr>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200" b="1" kern="0" dirty="0">
                  <a:solidFill>
                    <a:srgbClr val="FFFFFF"/>
                  </a:solidFill>
                </a:rPr>
                <a:t>Insert your own text</a:t>
              </a:r>
            </a:p>
          </p:txBody>
        </p:sp>
      </p:grpSp>
      <p:grpSp>
        <p:nvGrpSpPr>
          <p:cNvPr id="63" name="Group 6">
            <a:extLst>
              <a:ext uri="{FF2B5EF4-FFF2-40B4-BE49-F238E27FC236}">
                <a16:creationId xmlns:a16="http://schemas.microsoft.com/office/drawing/2014/main" id="{76CC9B6C-628D-4604-A93C-2D4634429258}"/>
              </a:ext>
            </a:extLst>
          </p:cNvPr>
          <p:cNvGrpSpPr/>
          <p:nvPr/>
        </p:nvGrpSpPr>
        <p:grpSpPr>
          <a:xfrm>
            <a:off x="623456" y="2962518"/>
            <a:ext cx="1760546" cy="1322809"/>
            <a:chOff x="1" y="2578508"/>
            <a:chExt cx="1039018" cy="1484312"/>
          </a:xfrm>
          <a:solidFill>
            <a:schemeClr val="tx1">
              <a:lumMod val="50000"/>
              <a:lumOff val="50000"/>
            </a:schemeClr>
          </a:solidFill>
        </p:grpSpPr>
        <p:sp>
          <p:nvSpPr>
            <p:cNvPr id="64" name="Chevron 35">
              <a:extLst>
                <a:ext uri="{FF2B5EF4-FFF2-40B4-BE49-F238E27FC236}">
                  <a16:creationId xmlns:a16="http://schemas.microsoft.com/office/drawing/2014/main" id="{8C5A2CAC-B402-4B5E-B4D0-407B5ECE2CE3}"/>
                </a:ext>
              </a:extLst>
            </p:cNvPr>
            <p:cNvSpPr/>
            <p:nvPr/>
          </p:nvSpPr>
          <p:spPr>
            <a:xfrm rot="5400000">
              <a:off x="-222646" y="2801154"/>
              <a:ext cx="1484312" cy="1039018"/>
            </a:xfrm>
            <a:prstGeom prst="chevron">
              <a:avLst>
                <a:gd name="adj" fmla="val 27195"/>
              </a:avLst>
            </a:prstGeom>
            <a:grpFill/>
            <a:ln w="25400" cap="flat" cmpd="sng" algn="ctr">
              <a:noFill/>
              <a:prstDash val="solid"/>
            </a:ln>
            <a:effectLst/>
          </p:spPr>
        </p:sp>
        <p:sp>
          <p:nvSpPr>
            <p:cNvPr id="65" name="Chevron 8">
              <a:extLst>
                <a:ext uri="{FF2B5EF4-FFF2-40B4-BE49-F238E27FC236}">
                  <a16:creationId xmlns:a16="http://schemas.microsoft.com/office/drawing/2014/main" id="{8479CFC3-6C10-4CC8-B0F4-95057EF9F47E}"/>
                </a:ext>
              </a:extLst>
            </p:cNvPr>
            <p:cNvSpPr/>
            <p:nvPr/>
          </p:nvSpPr>
          <p:spPr>
            <a:xfrm>
              <a:off x="1" y="3124036"/>
              <a:ext cx="1039018" cy="445294"/>
            </a:xfrm>
            <a:prstGeom prst="rect">
              <a:avLst/>
            </a:prstGeom>
            <a:grpFill/>
            <a:ln>
              <a:noFill/>
            </a:ln>
            <a:effectLst/>
          </p:spPr>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200" b="1" kern="0" dirty="0">
                  <a:solidFill>
                    <a:srgbClr val="FFFFFF"/>
                  </a:solidFill>
                </a:rPr>
                <a:t>Insert your own text</a:t>
              </a:r>
            </a:p>
          </p:txBody>
        </p:sp>
      </p:grpSp>
      <p:grpSp>
        <p:nvGrpSpPr>
          <p:cNvPr id="66" name="Group 6">
            <a:extLst>
              <a:ext uri="{FF2B5EF4-FFF2-40B4-BE49-F238E27FC236}">
                <a16:creationId xmlns:a16="http://schemas.microsoft.com/office/drawing/2014/main" id="{4A7D14DB-B015-41AE-A17A-A64E9E98A9F8}"/>
              </a:ext>
            </a:extLst>
          </p:cNvPr>
          <p:cNvGrpSpPr/>
          <p:nvPr/>
        </p:nvGrpSpPr>
        <p:grpSpPr>
          <a:xfrm>
            <a:off x="623456" y="1934403"/>
            <a:ext cx="1760546" cy="1322809"/>
            <a:chOff x="1" y="2578508"/>
            <a:chExt cx="1039018" cy="1484312"/>
          </a:xfrm>
          <a:solidFill>
            <a:schemeClr val="tx1">
              <a:lumMod val="50000"/>
              <a:lumOff val="50000"/>
            </a:schemeClr>
          </a:solidFill>
        </p:grpSpPr>
        <p:sp>
          <p:nvSpPr>
            <p:cNvPr id="67" name="Chevron 35">
              <a:extLst>
                <a:ext uri="{FF2B5EF4-FFF2-40B4-BE49-F238E27FC236}">
                  <a16:creationId xmlns:a16="http://schemas.microsoft.com/office/drawing/2014/main" id="{C46B23F1-BFC0-431B-ADA0-344A70218D65}"/>
                </a:ext>
              </a:extLst>
            </p:cNvPr>
            <p:cNvSpPr/>
            <p:nvPr/>
          </p:nvSpPr>
          <p:spPr>
            <a:xfrm rot="5400000">
              <a:off x="-222646" y="2801154"/>
              <a:ext cx="1484312" cy="1039018"/>
            </a:xfrm>
            <a:prstGeom prst="chevron">
              <a:avLst>
                <a:gd name="adj" fmla="val 27195"/>
              </a:avLst>
            </a:prstGeom>
            <a:grpFill/>
            <a:ln w="25400" cap="flat" cmpd="sng" algn="ctr">
              <a:noFill/>
              <a:prstDash val="solid"/>
            </a:ln>
            <a:effectLst/>
          </p:spPr>
        </p:sp>
        <p:sp>
          <p:nvSpPr>
            <p:cNvPr id="68" name="Chevron 8">
              <a:extLst>
                <a:ext uri="{FF2B5EF4-FFF2-40B4-BE49-F238E27FC236}">
                  <a16:creationId xmlns:a16="http://schemas.microsoft.com/office/drawing/2014/main" id="{4B07314E-95BE-4DFF-820C-37E7FA67DAA8}"/>
                </a:ext>
              </a:extLst>
            </p:cNvPr>
            <p:cNvSpPr/>
            <p:nvPr/>
          </p:nvSpPr>
          <p:spPr>
            <a:xfrm>
              <a:off x="1" y="3124036"/>
              <a:ext cx="1039018" cy="445294"/>
            </a:xfrm>
            <a:prstGeom prst="rect">
              <a:avLst/>
            </a:prstGeom>
            <a:grpFill/>
            <a:ln>
              <a:noFill/>
            </a:ln>
            <a:effectLst/>
          </p:spPr>
          <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200" b="1" kern="0" dirty="0">
                  <a:solidFill>
                    <a:srgbClr val="FFFFFF"/>
                  </a:solidFill>
                </a:rPr>
                <a:t>Insert your own text</a:t>
              </a:r>
            </a:p>
          </p:txBody>
        </p:sp>
      </p:grpSp>
      <p:sp>
        <p:nvSpPr>
          <p:cNvPr id="2" name="Rectangle: Rounded Corners 1">
            <a:extLst>
              <a:ext uri="{FF2B5EF4-FFF2-40B4-BE49-F238E27FC236}">
                <a16:creationId xmlns:a16="http://schemas.microsoft.com/office/drawing/2014/main" id="{63DE41EA-42E5-A4E7-E84F-B6CB13BC9CBA}"/>
              </a:ext>
            </a:extLst>
          </p:cNvPr>
          <p:cNvSpPr/>
          <p:nvPr/>
        </p:nvSpPr>
        <p:spPr>
          <a:xfrm>
            <a:off x="10208484" y="169253"/>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9178901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23" name="Rectangle 22">
            <a:extLst>
              <a:ext uri="{FF2B5EF4-FFF2-40B4-BE49-F238E27FC236}">
                <a16:creationId xmlns:a16="http://schemas.microsoft.com/office/drawing/2014/main" id="{30C3C104-6A12-42D7-BD3D-E6E2A6F3E878}"/>
              </a:ext>
            </a:extLst>
          </p:cNvPr>
          <p:cNvSpPr/>
          <p:nvPr/>
        </p:nvSpPr>
        <p:spPr>
          <a:xfrm>
            <a:off x="2034176" y="1653618"/>
            <a:ext cx="9552987" cy="912937"/>
          </a:xfrm>
          <a:prstGeom prst="rect">
            <a:avLst/>
          </a:prstGeom>
          <a:noFill/>
          <a:ln w="12700" cap="flat" cmpd="sng" algn="ctr">
            <a:solidFill>
              <a:srgbClr val="00B050"/>
            </a:solidFill>
            <a:prstDash val="dash"/>
            <a:miter lim="800000"/>
          </a:ln>
          <a:effectLst/>
        </p:spPr>
        <p:txBody>
          <a:bodyPr rot="0" spcFirstLastPara="0" vertOverflow="overflow" horzOverflow="overflow" vert="horz" wrap="square" lIns="73152" tIns="91440" rIns="73152" bIns="73152" numCol="1" spcCol="0" rtlCol="0" fromWordArt="0" anchor="t"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AU" sz="1400" b="1" kern="0" dirty="0">
                <a:solidFill>
                  <a:srgbClr val="00B050"/>
                </a:solidFill>
                <a:latin typeface="Arial"/>
              </a:rPr>
              <a:t>Target State</a:t>
            </a:r>
            <a:endParaRPr kumimoji="0" lang="en-AU" sz="1400" b="1" i="0" u="none" strike="noStrike" kern="0" cap="none" spc="0" normalizeH="0" baseline="0" noProof="0" dirty="0">
              <a:ln>
                <a:noFill/>
              </a:ln>
              <a:solidFill>
                <a:srgbClr val="00B050"/>
              </a:solidFill>
              <a:effectLst/>
              <a:uLnTx/>
              <a:uFillTx/>
              <a:latin typeface="Arial"/>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AU" sz="1600" b="1" i="0" u="none" strike="noStrike" kern="0" cap="none" spc="0" normalizeH="0" baseline="0" noProof="0" dirty="0">
              <a:ln>
                <a:noFill/>
              </a:ln>
              <a:solidFill>
                <a:srgbClr val="00B05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8CC15EE-437E-4AAD-B549-8C9DDF347B97}"/>
              </a:ext>
            </a:extLst>
          </p:cNvPr>
          <p:cNvSpPr/>
          <p:nvPr/>
        </p:nvSpPr>
        <p:spPr>
          <a:xfrm>
            <a:off x="2124299" y="2021887"/>
            <a:ext cx="1802250" cy="470808"/>
          </a:xfrm>
          <a:prstGeom prst="rect">
            <a:avLst/>
          </a:prstGeom>
          <a:solidFill>
            <a:schemeClr val="accent3"/>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25" name="Rectangle 24">
            <a:extLst>
              <a:ext uri="{FF2B5EF4-FFF2-40B4-BE49-F238E27FC236}">
                <a16:creationId xmlns:a16="http://schemas.microsoft.com/office/drawing/2014/main" id="{DE6C73C5-4985-4749-A6B8-D735679E4604}"/>
              </a:ext>
            </a:extLst>
          </p:cNvPr>
          <p:cNvSpPr/>
          <p:nvPr/>
        </p:nvSpPr>
        <p:spPr>
          <a:xfrm>
            <a:off x="666395" y="3121522"/>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26" name="Rectangle 25">
            <a:extLst>
              <a:ext uri="{FF2B5EF4-FFF2-40B4-BE49-F238E27FC236}">
                <a16:creationId xmlns:a16="http://schemas.microsoft.com/office/drawing/2014/main" id="{698EFB1C-CF77-4E59-B676-B351E373824B}"/>
              </a:ext>
            </a:extLst>
          </p:cNvPr>
          <p:cNvSpPr/>
          <p:nvPr/>
        </p:nvSpPr>
        <p:spPr>
          <a:xfrm>
            <a:off x="666395" y="5001910"/>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44" name="Rectangle 43">
            <a:extLst>
              <a:ext uri="{FF2B5EF4-FFF2-40B4-BE49-F238E27FC236}">
                <a16:creationId xmlns:a16="http://schemas.microsoft.com/office/drawing/2014/main" id="{29733F04-B0AE-4771-A4A8-B0680E8F819F}"/>
              </a:ext>
            </a:extLst>
          </p:cNvPr>
          <p:cNvSpPr/>
          <p:nvPr/>
        </p:nvSpPr>
        <p:spPr>
          <a:xfrm>
            <a:off x="666395" y="4061716"/>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45" name="Rectangle 44">
            <a:extLst>
              <a:ext uri="{FF2B5EF4-FFF2-40B4-BE49-F238E27FC236}">
                <a16:creationId xmlns:a16="http://schemas.microsoft.com/office/drawing/2014/main" id="{C95AB2A5-5441-423E-9F65-7CA9C050ED5C}"/>
              </a:ext>
            </a:extLst>
          </p:cNvPr>
          <p:cNvSpPr/>
          <p:nvPr/>
        </p:nvSpPr>
        <p:spPr>
          <a:xfrm>
            <a:off x="666395" y="5942105"/>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47" name="Rectangle 46">
            <a:extLst>
              <a:ext uri="{FF2B5EF4-FFF2-40B4-BE49-F238E27FC236}">
                <a16:creationId xmlns:a16="http://schemas.microsoft.com/office/drawing/2014/main" id="{8E22B649-7320-41BE-BDE6-1990810B4CAC}"/>
              </a:ext>
            </a:extLst>
          </p:cNvPr>
          <p:cNvSpPr/>
          <p:nvPr/>
        </p:nvSpPr>
        <p:spPr>
          <a:xfrm>
            <a:off x="4019521" y="2021887"/>
            <a:ext cx="1802250" cy="470808"/>
          </a:xfrm>
          <a:prstGeom prst="rect">
            <a:avLst/>
          </a:prstGeom>
          <a:solidFill>
            <a:schemeClr val="accent3"/>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48" name="Rectangle 47">
            <a:extLst>
              <a:ext uri="{FF2B5EF4-FFF2-40B4-BE49-F238E27FC236}">
                <a16:creationId xmlns:a16="http://schemas.microsoft.com/office/drawing/2014/main" id="{5E5B9537-9B51-4FC4-8A5B-D33A4154ADC8}"/>
              </a:ext>
            </a:extLst>
          </p:cNvPr>
          <p:cNvSpPr/>
          <p:nvPr/>
        </p:nvSpPr>
        <p:spPr>
          <a:xfrm>
            <a:off x="5914744" y="2021887"/>
            <a:ext cx="1802250" cy="470808"/>
          </a:xfrm>
          <a:prstGeom prst="rect">
            <a:avLst/>
          </a:prstGeom>
          <a:solidFill>
            <a:schemeClr val="accent3"/>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49" name="Rectangle 48">
            <a:extLst>
              <a:ext uri="{FF2B5EF4-FFF2-40B4-BE49-F238E27FC236}">
                <a16:creationId xmlns:a16="http://schemas.microsoft.com/office/drawing/2014/main" id="{C9D1E12F-520C-42B9-AEF0-A4728CD792C3}"/>
              </a:ext>
            </a:extLst>
          </p:cNvPr>
          <p:cNvSpPr/>
          <p:nvPr/>
        </p:nvSpPr>
        <p:spPr>
          <a:xfrm>
            <a:off x="7809966" y="2021887"/>
            <a:ext cx="1802250" cy="470808"/>
          </a:xfrm>
          <a:prstGeom prst="rect">
            <a:avLst/>
          </a:prstGeom>
          <a:solidFill>
            <a:schemeClr val="accent3"/>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50" name="Rectangle 49">
            <a:extLst>
              <a:ext uri="{FF2B5EF4-FFF2-40B4-BE49-F238E27FC236}">
                <a16:creationId xmlns:a16="http://schemas.microsoft.com/office/drawing/2014/main" id="{C94F7C42-C58E-4523-9185-61EA4FF0D529}"/>
              </a:ext>
            </a:extLst>
          </p:cNvPr>
          <p:cNvSpPr/>
          <p:nvPr/>
        </p:nvSpPr>
        <p:spPr>
          <a:xfrm>
            <a:off x="9705187" y="2021887"/>
            <a:ext cx="1802250" cy="470808"/>
          </a:xfrm>
          <a:prstGeom prst="rect">
            <a:avLst/>
          </a:prstGeom>
          <a:solidFill>
            <a:schemeClr val="accent3"/>
          </a:solidFill>
          <a:ln w="19050" cap="flat" cmpd="sng" algn="ctr">
            <a:solidFill>
              <a:srgbClr val="00B050"/>
            </a:solidFill>
            <a:prstDash val="solid"/>
          </a:ln>
          <a:effectLst/>
        </p:spPr>
        <p:txBody>
          <a:bodyPr rtlCol="0" anchor="ctr"/>
          <a:lstStyle/>
          <a:p>
            <a:pPr algn="ctr"/>
            <a:r>
              <a:rPr lang="en-AU" sz="900" b="1" kern="0" dirty="0">
                <a:solidFill>
                  <a:schemeClr val="bg1"/>
                </a:solidFill>
                <a:cs typeface="Arial"/>
              </a:rPr>
              <a:t>Insert Target State component</a:t>
            </a:r>
          </a:p>
        </p:txBody>
      </p:sp>
      <p:sp>
        <p:nvSpPr>
          <p:cNvPr id="51" name="Rectangle 50">
            <a:extLst>
              <a:ext uri="{FF2B5EF4-FFF2-40B4-BE49-F238E27FC236}">
                <a16:creationId xmlns:a16="http://schemas.microsoft.com/office/drawing/2014/main" id="{ECD2576A-87DD-47D8-A2C5-0E48095DF96C}"/>
              </a:ext>
            </a:extLst>
          </p:cNvPr>
          <p:cNvSpPr/>
          <p:nvPr/>
        </p:nvSpPr>
        <p:spPr>
          <a:xfrm>
            <a:off x="666395" y="2651425"/>
            <a:ext cx="1351838" cy="411578"/>
          </a:xfrm>
          <a:prstGeom prst="rect">
            <a:avLst/>
          </a:prstGeom>
          <a:solidFill>
            <a:schemeClr val="tx1"/>
          </a:solidFill>
          <a:ln w="190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1" i="0" u="none" strike="noStrike" kern="0" cap="none" spc="0" normalizeH="0" baseline="0" noProof="0" dirty="0">
                <a:ln>
                  <a:noFill/>
                </a:ln>
                <a:solidFill>
                  <a:schemeClr val="bg1"/>
                </a:solidFill>
                <a:effectLst/>
                <a:uLnTx/>
                <a:uFillTx/>
                <a:cs typeface="Arial"/>
              </a:rPr>
              <a:t>Insert stream of work</a:t>
            </a:r>
          </a:p>
        </p:txBody>
      </p:sp>
      <p:sp>
        <p:nvSpPr>
          <p:cNvPr id="52" name="Rectangle 51">
            <a:extLst>
              <a:ext uri="{FF2B5EF4-FFF2-40B4-BE49-F238E27FC236}">
                <a16:creationId xmlns:a16="http://schemas.microsoft.com/office/drawing/2014/main" id="{57D66E87-0A3F-40D2-9E55-46AD404791D6}"/>
              </a:ext>
            </a:extLst>
          </p:cNvPr>
          <p:cNvSpPr/>
          <p:nvPr/>
        </p:nvSpPr>
        <p:spPr>
          <a:xfrm>
            <a:off x="666395" y="4531813"/>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53" name="Rectangle 52">
            <a:extLst>
              <a:ext uri="{FF2B5EF4-FFF2-40B4-BE49-F238E27FC236}">
                <a16:creationId xmlns:a16="http://schemas.microsoft.com/office/drawing/2014/main" id="{0EFEE93A-3AD2-4F2C-963C-94739533C01E}"/>
              </a:ext>
            </a:extLst>
          </p:cNvPr>
          <p:cNvSpPr/>
          <p:nvPr/>
        </p:nvSpPr>
        <p:spPr>
          <a:xfrm>
            <a:off x="666395" y="3591619"/>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54" name="Rectangle 53">
            <a:extLst>
              <a:ext uri="{FF2B5EF4-FFF2-40B4-BE49-F238E27FC236}">
                <a16:creationId xmlns:a16="http://schemas.microsoft.com/office/drawing/2014/main" id="{ABC7AD48-B684-4DE9-91DA-89E51FFDC231}"/>
              </a:ext>
            </a:extLst>
          </p:cNvPr>
          <p:cNvSpPr/>
          <p:nvPr/>
        </p:nvSpPr>
        <p:spPr>
          <a:xfrm>
            <a:off x="666395" y="5472007"/>
            <a:ext cx="1351838" cy="411578"/>
          </a:xfrm>
          <a:prstGeom prst="rect">
            <a:avLst/>
          </a:prstGeom>
          <a:solidFill>
            <a:schemeClr val="tx1"/>
          </a:solidFill>
          <a:ln w="19050" cap="flat" cmpd="sng" algn="ctr">
            <a:solidFill>
              <a:schemeClr val="tx1"/>
            </a:solidFill>
            <a:prstDash val="solid"/>
          </a:ln>
          <a:effectLst/>
        </p:spPr>
        <p:txBody>
          <a:bodyPr rtlCol="0" anchor="ctr"/>
          <a:lstStyle/>
          <a:p>
            <a:pPr lvl="0" algn="ctr">
              <a:defRPr/>
            </a:pPr>
            <a:r>
              <a:rPr lang="en-AU" sz="900" b="1" kern="0" dirty="0">
                <a:solidFill>
                  <a:schemeClr val="bg1"/>
                </a:solidFill>
                <a:cs typeface="Arial"/>
              </a:rPr>
              <a:t>Insert stream of work</a:t>
            </a:r>
          </a:p>
        </p:txBody>
      </p:sp>
      <p:sp>
        <p:nvSpPr>
          <p:cNvPr id="55" name="Rectangle 54">
            <a:extLst>
              <a:ext uri="{FF2B5EF4-FFF2-40B4-BE49-F238E27FC236}">
                <a16:creationId xmlns:a16="http://schemas.microsoft.com/office/drawing/2014/main" id="{DC7EAC9E-D98F-49F9-B610-6D1AC60120EF}"/>
              </a:ext>
            </a:extLst>
          </p:cNvPr>
          <p:cNvSpPr/>
          <p:nvPr/>
        </p:nvSpPr>
        <p:spPr>
          <a:xfrm>
            <a:off x="2124299"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56" name="Rectangle 55">
            <a:extLst>
              <a:ext uri="{FF2B5EF4-FFF2-40B4-BE49-F238E27FC236}">
                <a16:creationId xmlns:a16="http://schemas.microsoft.com/office/drawing/2014/main" id="{56AEB4ED-E6AC-4F01-9FF8-D081D4ED5E58}"/>
              </a:ext>
            </a:extLst>
          </p:cNvPr>
          <p:cNvSpPr/>
          <p:nvPr/>
        </p:nvSpPr>
        <p:spPr>
          <a:xfrm>
            <a:off x="4016872"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57" name="Rectangle 56">
            <a:extLst>
              <a:ext uri="{FF2B5EF4-FFF2-40B4-BE49-F238E27FC236}">
                <a16:creationId xmlns:a16="http://schemas.microsoft.com/office/drawing/2014/main" id="{24AAC056-5A4F-4293-9949-7761261DF8A0}"/>
              </a:ext>
            </a:extLst>
          </p:cNvPr>
          <p:cNvSpPr/>
          <p:nvPr/>
        </p:nvSpPr>
        <p:spPr>
          <a:xfrm>
            <a:off x="5909445"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58" name="Rectangle 57">
            <a:extLst>
              <a:ext uri="{FF2B5EF4-FFF2-40B4-BE49-F238E27FC236}">
                <a16:creationId xmlns:a16="http://schemas.microsoft.com/office/drawing/2014/main" id="{FEDD05FD-871F-4750-A834-D0AE2E78A146}"/>
              </a:ext>
            </a:extLst>
          </p:cNvPr>
          <p:cNvSpPr/>
          <p:nvPr/>
        </p:nvSpPr>
        <p:spPr>
          <a:xfrm>
            <a:off x="7809766"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59" name="Rectangle 58">
            <a:extLst>
              <a:ext uri="{FF2B5EF4-FFF2-40B4-BE49-F238E27FC236}">
                <a16:creationId xmlns:a16="http://schemas.microsoft.com/office/drawing/2014/main" id="{69A59E4E-093F-4C65-8A9A-0E83AC9AA22E}"/>
              </a:ext>
            </a:extLst>
          </p:cNvPr>
          <p:cNvSpPr/>
          <p:nvPr/>
        </p:nvSpPr>
        <p:spPr>
          <a:xfrm>
            <a:off x="9704987" y="265142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0" name="Rectangle 59">
            <a:extLst>
              <a:ext uri="{FF2B5EF4-FFF2-40B4-BE49-F238E27FC236}">
                <a16:creationId xmlns:a16="http://schemas.microsoft.com/office/drawing/2014/main" id="{01C43998-2E5C-4D1E-B786-23FBB64FFB6D}"/>
              </a:ext>
            </a:extLst>
          </p:cNvPr>
          <p:cNvSpPr/>
          <p:nvPr/>
        </p:nvSpPr>
        <p:spPr>
          <a:xfrm>
            <a:off x="2124299"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1" name="Rectangle 60">
            <a:extLst>
              <a:ext uri="{FF2B5EF4-FFF2-40B4-BE49-F238E27FC236}">
                <a16:creationId xmlns:a16="http://schemas.microsoft.com/office/drawing/2014/main" id="{07005491-9981-4D86-BB48-F6304CFBAFFC}"/>
              </a:ext>
            </a:extLst>
          </p:cNvPr>
          <p:cNvSpPr/>
          <p:nvPr/>
        </p:nvSpPr>
        <p:spPr>
          <a:xfrm>
            <a:off x="4016872"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2" name="Rectangle 61">
            <a:extLst>
              <a:ext uri="{FF2B5EF4-FFF2-40B4-BE49-F238E27FC236}">
                <a16:creationId xmlns:a16="http://schemas.microsoft.com/office/drawing/2014/main" id="{B7567568-7693-4683-B658-66D99BF2BA86}"/>
              </a:ext>
            </a:extLst>
          </p:cNvPr>
          <p:cNvSpPr/>
          <p:nvPr/>
        </p:nvSpPr>
        <p:spPr>
          <a:xfrm>
            <a:off x="5909445"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3" name="Rectangle 62">
            <a:extLst>
              <a:ext uri="{FF2B5EF4-FFF2-40B4-BE49-F238E27FC236}">
                <a16:creationId xmlns:a16="http://schemas.microsoft.com/office/drawing/2014/main" id="{77822F11-B94F-4CEF-A9D9-B91801FEC7AE}"/>
              </a:ext>
            </a:extLst>
          </p:cNvPr>
          <p:cNvSpPr/>
          <p:nvPr/>
        </p:nvSpPr>
        <p:spPr>
          <a:xfrm>
            <a:off x="7809766"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4" name="Rectangle 63">
            <a:extLst>
              <a:ext uri="{FF2B5EF4-FFF2-40B4-BE49-F238E27FC236}">
                <a16:creationId xmlns:a16="http://schemas.microsoft.com/office/drawing/2014/main" id="{679E0F3E-6CDA-4EE7-B209-2A2E965322A6}"/>
              </a:ext>
            </a:extLst>
          </p:cNvPr>
          <p:cNvSpPr/>
          <p:nvPr/>
        </p:nvSpPr>
        <p:spPr>
          <a:xfrm>
            <a:off x="9704987" y="312178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5" name="Rectangle 64">
            <a:extLst>
              <a:ext uri="{FF2B5EF4-FFF2-40B4-BE49-F238E27FC236}">
                <a16:creationId xmlns:a16="http://schemas.microsoft.com/office/drawing/2014/main" id="{E7810CF4-1DC4-4B18-A018-9A59FB1F033A}"/>
              </a:ext>
            </a:extLst>
          </p:cNvPr>
          <p:cNvSpPr/>
          <p:nvPr/>
        </p:nvSpPr>
        <p:spPr>
          <a:xfrm>
            <a:off x="2124299"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6" name="Rectangle 65">
            <a:extLst>
              <a:ext uri="{FF2B5EF4-FFF2-40B4-BE49-F238E27FC236}">
                <a16:creationId xmlns:a16="http://schemas.microsoft.com/office/drawing/2014/main" id="{E9ED6D31-84E7-4CC4-BE53-694A96DCC8D4}"/>
              </a:ext>
            </a:extLst>
          </p:cNvPr>
          <p:cNvSpPr/>
          <p:nvPr/>
        </p:nvSpPr>
        <p:spPr>
          <a:xfrm>
            <a:off x="4016872"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7" name="Rectangle 66">
            <a:extLst>
              <a:ext uri="{FF2B5EF4-FFF2-40B4-BE49-F238E27FC236}">
                <a16:creationId xmlns:a16="http://schemas.microsoft.com/office/drawing/2014/main" id="{8D668244-3B43-439D-8516-80181D9A79C1}"/>
              </a:ext>
            </a:extLst>
          </p:cNvPr>
          <p:cNvSpPr/>
          <p:nvPr/>
        </p:nvSpPr>
        <p:spPr>
          <a:xfrm>
            <a:off x="5909445"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8" name="Rectangle 67">
            <a:extLst>
              <a:ext uri="{FF2B5EF4-FFF2-40B4-BE49-F238E27FC236}">
                <a16:creationId xmlns:a16="http://schemas.microsoft.com/office/drawing/2014/main" id="{F2CB9959-4838-413C-9C49-6F824FFA088A}"/>
              </a:ext>
            </a:extLst>
          </p:cNvPr>
          <p:cNvSpPr/>
          <p:nvPr/>
        </p:nvSpPr>
        <p:spPr>
          <a:xfrm>
            <a:off x="7809766"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69" name="Rectangle 68">
            <a:extLst>
              <a:ext uri="{FF2B5EF4-FFF2-40B4-BE49-F238E27FC236}">
                <a16:creationId xmlns:a16="http://schemas.microsoft.com/office/drawing/2014/main" id="{ECBD0895-C96B-4D37-A8E4-82E6B815DEDF}"/>
              </a:ext>
            </a:extLst>
          </p:cNvPr>
          <p:cNvSpPr/>
          <p:nvPr/>
        </p:nvSpPr>
        <p:spPr>
          <a:xfrm>
            <a:off x="9704987" y="3592141"/>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0" name="Rectangle 69">
            <a:extLst>
              <a:ext uri="{FF2B5EF4-FFF2-40B4-BE49-F238E27FC236}">
                <a16:creationId xmlns:a16="http://schemas.microsoft.com/office/drawing/2014/main" id="{8A718402-AECF-43D0-A36F-DAB0EEABA169}"/>
              </a:ext>
            </a:extLst>
          </p:cNvPr>
          <p:cNvSpPr/>
          <p:nvPr/>
        </p:nvSpPr>
        <p:spPr>
          <a:xfrm>
            <a:off x="2124299"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1" name="Rectangle 70">
            <a:extLst>
              <a:ext uri="{FF2B5EF4-FFF2-40B4-BE49-F238E27FC236}">
                <a16:creationId xmlns:a16="http://schemas.microsoft.com/office/drawing/2014/main" id="{5EDB8CEB-FEBC-4C64-A38C-4B976C5909CA}"/>
              </a:ext>
            </a:extLst>
          </p:cNvPr>
          <p:cNvSpPr/>
          <p:nvPr/>
        </p:nvSpPr>
        <p:spPr>
          <a:xfrm>
            <a:off x="4016872"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2" name="Rectangle 71">
            <a:extLst>
              <a:ext uri="{FF2B5EF4-FFF2-40B4-BE49-F238E27FC236}">
                <a16:creationId xmlns:a16="http://schemas.microsoft.com/office/drawing/2014/main" id="{3E77BBCF-E676-404D-A0E4-FA5B9F46EFB2}"/>
              </a:ext>
            </a:extLst>
          </p:cNvPr>
          <p:cNvSpPr/>
          <p:nvPr/>
        </p:nvSpPr>
        <p:spPr>
          <a:xfrm>
            <a:off x="5909445"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3" name="Rectangle 72">
            <a:extLst>
              <a:ext uri="{FF2B5EF4-FFF2-40B4-BE49-F238E27FC236}">
                <a16:creationId xmlns:a16="http://schemas.microsoft.com/office/drawing/2014/main" id="{C0E65CF7-B90A-4B29-957C-5B6B5A55F249}"/>
              </a:ext>
            </a:extLst>
          </p:cNvPr>
          <p:cNvSpPr/>
          <p:nvPr/>
        </p:nvSpPr>
        <p:spPr>
          <a:xfrm>
            <a:off x="7809766"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4" name="Rectangle 73">
            <a:extLst>
              <a:ext uri="{FF2B5EF4-FFF2-40B4-BE49-F238E27FC236}">
                <a16:creationId xmlns:a16="http://schemas.microsoft.com/office/drawing/2014/main" id="{E029D06E-5022-4A8C-AFBF-E92C33AEA3D3}"/>
              </a:ext>
            </a:extLst>
          </p:cNvPr>
          <p:cNvSpPr/>
          <p:nvPr/>
        </p:nvSpPr>
        <p:spPr>
          <a:xfrm>
            <a:off x="9704987" y="4062499"/>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5" name="Rectangle 74">
            <a:extLst>
              <a:ext uri="{FF2B5EF4-FFF2-40B4-BE49-F238E27FC236}">
                <a16:creationId xmlns:a16="http://schemas.microsoft.com/office/drawing/2014/main" id="{E1FC74D8-79E7-4B51-8A5B-30B87AF8CADA}"/>
              </a:ext>
            </a:extLst>
          </p:cNvPr>
          <p:cNvSpPr/>
          <p:nvPr/>
        </p:nvSpPr>
        <p:spPr>
          <a:xfrm>
            <a:off x="2124299"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6" name="Rectangle 75">
            <a:extLst>
              <a:ext uri="{FF2B5EF4-FFF2-40B4-BE49-F238E27FC236}">
                <a16:creationId xmlns:a16="http://schemas.microsoft.com/office/drawing/2014/main" id="{A5EA8694-3459-4D63-9EB7-A0D78F9D1D6D}"/>
              </a:ext>
            </a:extLst>
          </p:cNvPr>
          <p:cNvSpPr/>
          <p:nvPr/>
        </p:nvSpPr>
        <p:spPr>
          <a:xfrm>
            <a:off x="4016872"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7" name="Rectangle 76">
            <a:extLst>
              <a:ext uri="{FF2B5EF4-FFF2-40B4-BE49-F238E27FC236}">
                <a16:creationId xmlns:a16="http://schemas.microsoft.com/office/drawing/2014/main" id="{D5F4FB86-0256-46A0-8975-1D6145D906D6}"/>
              </a:ext>
            </a:extLst>
          </p:cNvPr>
          <p:cNvSpPr/>
          <p:nvPr/>
        </p:nvSpPr>
        <p:spPr>
          <a:xfrm>
            <a:off x="5909445"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8" name="Rectangle 77">
            <a:extLst>
              <a:ext uri="{FF2B5EF4-FFF2-40B4-BE49-F238E27FC236}">
                <a16:creationId xmlns:a16="http://schemas.microsoft.com/office/drawing/2014/main" id="{01A99314-4888-4917-83D4-5FF573CC866E}"/>
              </a:ext>
            </a:extLst>
          </p:cNvPr>
          <p:cNvSpPr/>
          <p:nvPr/>
        </p:nvSpPr>
        <p:spPr>
          <a:xfrm>
            <a:off x="7809766"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79" name="Rectangle 78">
            <a:extLst>
              <a:ext uri="{FF2B5EF4-FFF2-40B4-BE49-F238E27FC236}">
                <a16:creationId xmlns:a16="http://schemas.microsoft.com/office/drawing/2014/main" id="{8F5AFB87-882F-4290-B8CA-742E90890840}"/>
              </a:ext>
            </a:extLst>
          </p:cNvPr>
          <p:cNvSpPr/>
          <p:nvPr/>
        </p:nvSpPr>
        <p:spPr>
          <a:xfrm>
            <a:off x="9704987" y="4532857"/>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0" name="Rectangle 79">
            <a:extLst>
              <a:ext uri="{FF2B5EF4-FFF2-40B4-BE49-F238E27FC236}">
                <a16:creationId xmlns:a16="http://schemas.microsoft.com/office/drawing/2014/main" id="{D8E78B5B-E6A3-45F6-A218-DDDD161E73F6}"/>
              </a:ext>
            </a:extLst>
          </p:cNvPr>
          <p:cNvSpPr/>
          <p:nvPr/>
        </p:nvSpPr>
        <p:spPr>
          <a:xfrm>
            <a:off x="2124299"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1" name="Rectangle 80">
            <a:extLst>
              <a:ext uri="{FF2B5EF4-FFF2-40B4-BE49-F238E27FC236}">
                <a16:creationId xmlns:a16="http://schemas.microsoft.com/office/drawing/2014/main" id="{F8C6D0C5-26CE-44C2-AF03-CC9216C47289}"/>
              </a:ext>
            </a:extLst>
          </p:cNvPr>
          <p:cNvSpPr/>
          <p:nvPr/>
        </p:nvSpPr>
        <p:spPr>
          <a:xfrm>
            <a:off x="4016872"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2" name="Rectangle 81">
            <a:extLst>
              <a:ext uri="{FF2B5EF4-FFF2-40B4-BE49-F238E27FC236}">
                <a16:creationId xmlns:a16="http://schemas.microsoft.com/office/drawing/2014/main" id="{865DB583-8CA2-495B-B76A-EB6D1A481B64}"/>
              </a:ext>
            </a:extLst>
          </p:cNvPr>
          <p:cNvSpPr/>
          <p:nvPr/>
        </p:nvSpPr>
        <p:spPr>
          <a:xfrm>
            <a:off x="5909445"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3" name="Rectangle 82">
            <a:extLst>
              <a:ext uri="{FF2B5EF4-FFF2-40B4-BE49-F238E27FC236}">
                <a16:creationId xmlns:a16="http://schemas.microsoft.com/office/drawing/2014/main" id="{02DD3CEA-777A-49CF-B6EE-D40325CD6536}"/>
              </a:ext>
            </a:extLst>
          </p:cNvPr>
          <p:cNvSpPr/>
          <p:nvPr/>
        </p:nvSpPr>
        <p:spPr>
          <a:xfrm>
            <a:off x="7809766"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4" name="Rectangle 83">
            <a:extLst>
              <a:ext uri="{FF2B5EF4-FFF2-40B4-BE49-F238E27FC236}">
                <a16:creationId xmlns:a16="http://schemas.microsoft.com/office/drawing/2014/main" id="{71CC51E0-CAA2-4A7B-9596-300361A22495}"/>
              </a:ext>
            </a:extLst>
          </p:cNvPr>
          <p:cNvSpPr/>
          <p:nvPr/>
        </p:nvSpPr>
        <p:spPr>
          <a:xfrm>
            <a:off x="9704987" y="5003215"/>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5" name="Rectangle 84">
            <a:extLst>
              <a:ext uri="{FF2B5EF4-FFF2-40B4-BE49-F238E27FC236}">
                <a16:creationId xmlns:a16="http://schemas.microsoft.com/office/drawing/2014/main" id="{9435A68D-0250-412E-9187-8D4979E63C48}"/>
              </a:ext>
            </a:extLst>
          </p:cNvPr>
          <p:cNvSpPr/>
          <p:nvPr/>
        </p:nvSpPr>
        <p:spPr>
          <a:xfrm>
            <a:off x="2124299"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6" name="Rectangle 85">
            <a:extLst>
              <a:ext uri="{FF2B5EF4-FFF2-40B4-BE49-F238E27FC236}">
                <a16:creationId xmlns:a16="http://schemas.microsoft.com/office/drawing/2014/main" id="{CADF868E-1F43-4F03-A7D6-B624169016B0}"/>
              </a:ext>
            </a:extLst>
          </p:cNvPr>
          <p:cNvSpPr/>
          <p:nvPr/>
        </p:nvSpPr>
        <p:spPr>
          <a:xfrm>
            <a:off x="4016872"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7" name="Rectangle 86">
            <a:extLst>
              <a:ext uri="{FF2B5EF4-FFF2-40B4-BE49-F238E27FC236}">
                <a16:creationId xmlns:a16="http://schemas.microsoft.com/office/drawing/2014/main" id="{F20EBFDE-82B3-4E9F-93C4-0E07036F8BC9}"/>
              </a:ext>
            </a:extLst>
          </p:cNvPr>
          <p:cNvSpPr/>
          <p:nvPr/>
        </p:nvSpPr>
        <p:spPr>
          <a:xfrm>
            <a:off x="5909445"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8" name="Rectangle 87">
            <a:extLst>
              <a:ext uri="{FF2B5EF4-FFF2-40B4-BE49-F238E27FC236}">
                <a16:creationId xmlns:a16="http://schemas.microsoft.com/office/drawing/2014/main" id="{30815487-7801-4205-A6BA-DC2DDDC8D314}"/>
              </a:ext>
            </a:extLst>
          </p:cNvPr>
          <p:cNvSpPr/>
          <p:nvPr/>
        </p:nvSpPr>
        <p:spPr>
          <a:xfrm>
            <a:off x="7809766"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89" name="Rectangle 88">
            <a:extLst>
              <a:ext uri="{FF2B5EF4-FFF2-40B4-BE49-F238E27FC236}">
                <a16:creationId xmlns:a16="http://schemas.microsoft.com/office/drawing/2014/main" id="{74B6F51E-E471-46CF-957D-E566BE05E190}"/>
              </a:ext>
            </a:extLst>
          </p:cNvPr>
          <p:cNvSpPr/>
          <p:nvPr/>
        </p:nvSpPr>
        <p:spPr>
          <a:xfrm>
            <a:off x="9704987" y="5473573"/>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0" name="Rectangle 89">
            <a:extLst>
              <a:ext uri="{FF2B5EF4-FFF2-40B4-BE49-F238E27FC236}">
                <a16:creationId xmlns:a16="http://schemas.microsoft.com/office/drawing/2014/main" id="{6DA861C0-38FC-4963-AE8B-6FA9D0A30B64}"/>
              </a:ext>
            </a:extLst>
          </p:cNvPr>
          <p:cNvSpPr/>
          <p:nvPr/>
        </p:nvSpPr>
        <p:spPr>
          <a:xfrm>
            <a:off x="2124299"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1" name="Rectangle 90">
            <a:extLst>
              <a:ext uri="{FF2B5EF4-FFF2-40B4-BE49-F238E27FC236}">
                <a16:creationId xmlns:a16="http://schemas.microsoft.com/office/drawing/2014/main" id="{8815F460-7531-4968-AF91-007F2B50C52A}"/>
              </a:ext>
            </a:extLst>
          </p:cNvPr>
          <p:cNvSpPr/>
          <p:nvPr/>
        </p:nvSpPr>
        <p:spPr>
          <a:xfrm>
            <a:off x="4016872"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2" name="Rectangle 91">
            <a:extLst>
              <a:ext uri="{FF2B5EF4-FFF2-40B4-BE49-F238E27FC236}">
                <a16:creationId xmlns:a16="http://schemas.microsoft.com/office/drawing/2014/main" id="{B9780FDA-3313-40E6-84F4-24E2606D1D90}"/>
              </a:ext>
            </a:extLst>
          </p:cNvPr>
          <p:cNvSpPr/>
          <p:nvPr/>
        </p:nvSpPr>
        <p:spPr>
          <a:xfrm>
            <a:off x="5909445"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3" name="Rectangle 92">
            <a:extLst>
              <a:ext uri="{FF2B5EF4-FFF2-40B4-BE49-F238E27FC236}">
                <a16:creationId xmlns:a16="http://schemas.microsoft.com/office/drawing/2014/main" id="{056A7315-07C5-4839-97C8-67BE59EE94D4}"/>
              </a:ext>
            </a:extLst>
          </p:cNvPr>
          <p:cNvSpPr/>
          <p:nvPr/>
        </p:nvSpPr>
        <p:spPr>
          <a:xfrm>
            <a:off x="7809766"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94" name="Rectangle 93">
            <a:extLst>
              <a:ext uri="{FF2B5EF4-FFF2-40B4-BE49-F238E27FC236}">
                <a16:creationId xmlns:a16="http://schemas.microsoft.com/office/drawing/2014/main" id="{5BB5DF9D-6CE8-4F44-AAD4-4E3CCE3D0322}"/>
              </a:ext>
            </a:extLst>
          </p:cNvPr>
          <p:cNvSpPr/>
          <p:nvPr/>
        </p:nvSpPr>
        <p:spPr>
          <a:xfrm>
            <a:off x="9704987" y="5943930"/>
            <a:ext cx="1802450" cy="411578"/>
          </a:xfrm>
          <a:prstGeom prst="rect">
            <a:avLst/>
          </a:prstGeom>
          <a:solidFill>
            <a:schemeClr val="bg1"/>
          </a:solidFill>
          <a:ln w="19050" cap="flat" cmpd="sng" algn="ctr">
            <a:noFill/>
            <a:prstDash val="solid"/>
          </a:ln>
          <a:effectLst/>
        </p:spPr>
        <p:txBody>
          <a:bodyPr rtlCol="0" anchor="ctr"/>
          <a:lstStyle/>
          <a:p>
            <a:pPr marL="0" marR="0" lvl="0" indent="0" algn="ctr" defTabSz="859512" eaLnBrk="1" fontAlgn="auto" latinLnBrk="0" hangingPunct="1">
              <a:lnSpc>
                <a:spcPct val="100000"/>
              </a:lnSpc>
              <a:spcBef>
                <a:spcPts val="0"/>
              </a:spcBef>
              <a:spcAft>
                <a:spcPts val="0"/>
              </a:spcAft>
              <a:buClrTx/>
              <a:buSzTx/>
              <a:buFontTx/>
              <a:buNone/>
              <a:tabLst/>
              <a:defRPr/>
            </a:pPr>
            <a:r>
              <a:rPr kumimoji="0" lang="en-US" altLang="ja-JP" sz="2400" b="1" i="0" u="none" strike="noStrike" kern="0" cap="none" spc="0" normalizeH="0" baseline="0" noProof="0" dirty="0">
                <a:ln>
                  <a:noFill/>
                </a:ln>
                <a:solidFill>
                  <a:srgbClr val="336600"/>
                </a:solidFill>
                <a:effectLst/>
                <a:uLnTx/>
                <a:uFillTx/>
                <a:ea typeface="ＭＳ Ｐゴシック" charset="-128"/>
                <a:sym typeface="Wingdings" pitchFamily="2" charset="2"/>
              </a:rPr>
              <a:t></a:t>
            </a:r>
            <a:endParaRPr kumimoji="0" lang="en-US" sz="2400" b="1" i="0" u="none" strike="noStrike" kern="0" cap="none" spc="0" normalizeH="0" baseline="0" noProof="0" dirty="0">
              <a:ln>
                <a:noFill/>
              </a:ln>
              <a:solidFill>
                <a:srgbClr val="336600"/>
              </a:solidFill>
              <a:effectLst/>
              <a:uLnTx/>
              <a:uFillTx/>
              <a:ea typeface="ＭＳ Ｐゴシック" charset="-128"/>
              <a:sym typeface="Wingdings" pitchFamily="2" charset="2"/>
            </a:endParaRPr>
          </a:p>
        </p:txBody>
      </p:sp>
      <p:sp>
        <p:nvSpPr>
          <p:cNvPr id="46" name="Rectangle 45">
            <a:extLst>
              <a:ext uri="{FF2B5EF4-FFF2-40B4-BE49-F238E27FC236}">
                <a16:creationId xmlns:a16="http://schemas.microsoft.com/office/drawing/2014/main" id="{8755760A-8DD6-4D6D-8CFF-E00AE6F3C32A}"/>
              </a:ext>
            </a:extLst>
          </p:cNvPr>
          <p:cNvSpPr/>
          <p:nvPr/>
        </p:nvSpPr>
        <p:spPr>
          <a:xfrm>
            <a:off x="10507043" y="730411"/>
            <a:ext cx="1080120" cy="360040"/>
          </a:xfrm>
          <a:prstGeom prst="rect">
            <a:avLst/>
          </a:prstGeom>
          <a:solidFill>
            <a:schemeClr val="accent3"/>
          </a:solidFill>
          <a:ln w="19050" cap="flat" cmpd="sng" algn="ctr">
            <a:solidFill>
              <a:srgbClr val="00B050"/>
            </a:solidFill>
            <a:prstDash val="solid"/>
          </a:ln>
          <a:effectLst/>
        </p:spPr>
        <p:txBody>
          <a:bodyPr rtlCol="0" anchor="ctr"/>
          <a:lstStyle/>
          <a:p>
            <a:pPr lvl="0" algn="ctr">
              <a:defRPr/>
            </a:pPr>
            <a:r>
              <a:rPr lang="en-AU" sz="900" b="1" kern="0" dirty="0">
                <a:solidFill>
                  <a:schemeClr val="bg1"/>
                </a:solidFill>
                <a:cs typeface="Arial"/>
              </a:rPr>
              <a:t>Target State component</a:t>
            </a:r>
          </a:p>
        </p:txBody>
      </p:sp>
      <p:sp>
        <p:nvSpPr>
          <p:cNvPr id="95" name="Rectangle 94">
            <a:extLst>
              <a:ext uri="{FF2B5EF4-FFF2-40B4-BE49-F238E27FC236}">
                <a16:creationId xmlns:a16="http://schemas.microsoft.com/office/drawing/2014/main" id="{5BDF51A1-FC10-4A90-B5FC-92B4A56EE7D9}"/>
              </a:ext>
            </a:extLst>
          </p:cNvPr>
          <p:cNvSpPr/>
          <p:nvPr/>
        </p:nvSpPr>
        <p:spPr>
          <a:xfrm>
            <a:off x="9330679" y="730411"/>
            <a:ext cx="1080120" cy="360040"/>
          </a:xfrm>
          <a:prstGeom prst="rect">
            <a:avLst/>
          </a:prstGeom>
          <a:solidFill>
            <a:schemeClr val="tx1"/>
          </a:solidFill>
          <a:ln w="19050" cap="flat" cmpd="sng" algn="ctr">
            <a:solidFill>
              <a:srgbClr val="0072CF">
                <a:lumMod val="50000"/>
              </a:srgbClr>
            </a:solidFill>
            <a:prstDash val="solid"/>
          </a:ln>
          <a:effectLst/>
        </p:spPr>
        <p:txBody>
          <a:bodyPr rtlCol="0" anchor="ctr"/>
          <a:lstStyle/>
          <a:p>
            <a:pPr lvl="0" algn="ctr"/>
            <a:r>
              <a:rPr lang="en-AU" sz="900" b="1" kern="0" dirty="0">
                <a:solidFill>
                  <a:schemeClr val="bg1"/>
                </a:solidFill>
                <a:cs typeface="Arial"/>
              </a:rPr>
              <a:t>Stream of work</a:t>
            </a:r>
            <a:endParaRPr kumimoji="0" lang="en-AU" sz="900" b="1" i="0" u="none" strike="noStrike" kern="0" cap="none" spc="0" normalizeH="0" baseline="0" noProof="0" dirty="0">
              <a:ln>
                <a:noFill/>
              </a:ln>
              <a:solidFill>
                <a:schemeClr val="bg1"/>
              </a:solidFill>
              <a:effectLst/>
              <a:uLnTx/>
              <a:uFillTx/>
              <a:cs typeface="Arial"/>
            </a:endParaRPr>
          </a:p>
        </p:txBody>
      </p:sp>
      <p:sp>
        <p:nvSpPr>
          <p:cNvPr id="2" name="Rectangle: Rounded Corners 1">
            <a:extLst>
              <a:ext uri="{FF2B5EF4-FFF2-40B4-BE49-F238E27FC236}">
                <a16:creationId xmlns:a16="http://schemas.microsoft.com/office/drawing/2014/main" id="{C1E89911-D2B4-56D1-C1B7-30914AF10B0F}"/>
              </a:ext>
            </a:extLst>
          </p:cNvPr>
          <p:cNvSpPr/>
          <p:nvPr/>
        </p:nvSpPr>
        <p:spPr>
          <a:xfrm>
            <a:off x="10208484" y="169253"/>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297458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97" name="Rectangle 96">
            <a:extLst>
              <a:ext uri="{FF2B5EF4-FFF2-40B4-BE49-F238E27FC236}">
                <a16:creationId xmlns:a16="http://schemas.microsoft.com/office/drawing/2014/main" id="{D60B3DBE-EA95-4AFC-830F-E46BA3C8EE9E}"/>
              </a:ext>
            </a:extLst>
          </p:cNvPr>
          <p:cNvSpPr/>
          <p:nvPr/>
        </p:nvSpPr>
        <p:spPr bwMode="auto">
          <a:xfrm rot="5400000">
            <a:off x="553283" y="1740159"/>
            <a:ext cx="930051" cy="769620"/>
          </a:xfrm>
          <a:prstGeom prst="rect">
            <a:avLst/>
          </a:prstGeom>
          <a:solidFill>
            <a:schemeClr val="bg1">
              <a:lumMod val="85000"/>
            </a:schemeClr>
          </a:solidFill>
          <a:ln>
            <a:noFill/>
          </a:ln>
          <a:effectLst/>
        </p:spPr>
        <p:txBody>
          <a:bodyPr vert="vert270" lIns="91428" tIns="45715" rIns="91428" bIns="45715" anchor="ctr"/>
          <a:lstStyle/>
          <a:p>
            <a:pPr algn="ctr" defTabSz="623853">
              <a:lnSpc>
                <a:spcPts val="1100"/>
              </a:lnSpc>
              <a:buClr>
                <a:srgbClr val="000000"/>
              </a:buClr>
              <a:defRPr/>
            </a:pPr>
            <a:r>
              <a:rPr lang="en-US" sz="1200" b="1" dirty="0">
                <a:cs typeface="Times New Roman" pitchFamily="18" charset="0"/>
              </a:rPr>
              <a:t>2020</a:t>
            </a:r>
          </a:p>
        </p:txBody>
      </p:sp>
      <p:sp>
        <p:nvSpPr>
          <p:cNvPr id="98" name="Rectangle 97">
            <a:extLst>
              <a:ext uri="{FF2B5EF4-FFF2-40B4-BE49-F238E27FC236}">
                <a16:creationId xmlns:a16="http://schemas.microsoft.com/office/drawing/2014/main" id="{6AFC6E4C-A2C7-4000-85D4-DD2A47B730B6}"/>
              </a:ext>
            </a:extLst>
          </p:cNvPr>
          <p:cNvSpPr/>
          <p:nvPr/>
        </p:nvSpPr>
        <p:spPr bwMode="auto">
          <a:xfrm rot="5400000">
            <a:off x="553283" y="3680929"/>
            <a:ext cx="930051" cy="769620"/>
          </a:xfrm>
          <a:prstGeom prst="rect">
            <a:avLst/>
          </a:prstGeom>
          <a:solidFill>
            <a:schemeClr val="bg1">
              <a:lumMod val="85000"/>
            </a:schemeClr>
          </a:solidFill>
          <a:ln>
            <a:noFill/>
          </a:ln>
          <a:effectLst/>
        </p:spPr>
        <p:txBody>
          <a:bodyPr vert="vert270" lIns="91428" tIns="45715" rIns="91428" bIns="45715" anchor="ctr"/>
          <a:lstStyle/>
          <a:p>
            <a:pPr algn="ctr" defTabSz="623853">
              <a:lnSpc>
                <a:spcPts val="1100"/>
              </a:lnSpc>
              <a:buClr>
                <a:srgbClr val="000000"/>
              </a:buClr>
              <a:defRPr/>
            </a:pPr>
            <a:r>
              <a:rPr lang="en-US" sz="1200" b="1" dirty="0">
                <a:cs typeface="Times New Roman" pitchFamily="18" charset="0"/>
              </a:rPr>
              <a:t>2022</a:t>
            </a:r>
          </a:p>
        </p:txBody>
      </p:sp>
      <p:sp>
        <p:nvSpPr>
          <p:cNvPr id="99" name="Pentagon 21">
            <a:extLst>
              <a:ext uri="{FF2B5EF4-FFF2-40B4-BE49-F238E27FC236}">
                <a16:creationId xmlns:a16="http://schemas.microsoft.com/office/drawing/2014/main" id="{29B6D90C-DB85-467F-9AB1-7703ADBCB7D6}"/>
              </a:ext>
            </a:extLst>
          </p:cNvPr>
          <p:cNvSpPr/>
          <p:nvPr/>
        </p:nvSpPr>
        <p:spPr bwMode="auto">
          <a:xfrm rot="5400000">
            <a:off x="537575" y="5641217"/>
            <a:ext cx="961467" cy="762000"/>
          </a:xfrm>
          <a:prstGeom prst="homePlate">
            <a:avLst/>
          </a:prstGeom>
          <a:solidFill>
            <a:schemeClr val="tx2"/>
          </a:solidFill>
          <a:ln>
            <a:noFill/>
          </a:ln>
          <a:effectLst/>
        </p:spPr>
        <p:txBody>
          <a:bodyPr vert="vert270" lIns="91428" tIns="45715" rIns="91428" bIns="45715" anchor="ctr"/>
          <a:lstStyle/>
          <a:p>
            <a:pPr algn="ctr" defTabSz="623853">
              <a:lnSpc>
                <a:spcPts val="1100"/>
              </a:lnSpc>
              <a:buClr>
                <a:srgbClr val="000000"/>
              </a:buClr>
              <a:defRPr/>
            </a:pPr>
            <a:r>
              <a:rPr lang="en-US" sz="1200" b="1" dirty="0">
                <a:solidFill>
                  <a:schemeClr val="bg1"/>
                </a:solidFill>
                <a:cs typeface="Times New Roman" pitchFamily="18" charset="0"/>
              </a:rPr>
              <a:t>2024</a:t>
            </a:r>
          </a:p>
        </p:txBody>
      </p:sp>
      <p:sp>
        <p:nvSpPr>
          <p:cNvPr id="100" name="Rectangle 99">
            <a:extLst>
              <a:ext uri="{FF2B5EF4-FFF2-40B4-BE49-F238E27FC236}">
                <a16:creationId xmlns:a16="http://schemas.microsoft.com/office/drawing/2014/main" id="{557BF973-EB72-43E4-A0CB-A94C18AFCB6D}"/>
              </a:ext>
            </a:extLst>
          </p:cNvPr>
          <p:cNvSpPr/>
          <p:nvPr/>
        </p:nvSpPr>
        <p:spPr bwMode="auto">
          <a:xfrm rot="5400000">
            <a:off x="553283" y="2710544"/>
            <a:ext cx="930051" cy="769620"/>
          </a:xfrm>
          <a:prstGeom prst="rect">
            <a:avLst/>
          </a:prstGeom>
          <a:solidFill>
            <a:schemeClr val="bg1">
              <a:lumMod val="85000"/>
            </a:schemeClr>
          </a:solidFill>
          <a:ln>
            <a:noFill/>
          </a:ln>
          <a:effectLst/>
        </p:spPr>
        <p:txBody>
          <a:bodyPr vert="vert270" lIns="91428" tIns="45715" rIns="91428" bIns="45715" anchor="ctr"/>
          <a:lstStyle/>
          <a:p>
            <a:pPr algn="ctr" defTabSz="623853">
              <a:lnSpc>
                <a:spcPts val="1100"/>
              </a:lnSpc>
              <a:buClr>
                <a:srgbClr val="000000"/>
              </a:buClr>
              <a:defRPr/>
            </a:pPr>
            <a:r>
              <a:rPr lang="en-US" sz="1200" b="1" dirty="0">
                <a:cs typeface="Times New Roman" pitchFamily="18" charset="0"/>
              </a:rPr>
              <a:t>2021</a:t>
            </a:r>
          </a:p>
        </p:txBody>
      </p:sp>
      <p:sp>
        <p:nvSpPr>
          <p:cNvPr id="101" name="Rectangle 100">
            <a:extLst>
              <a:ext uri="{FF2B5EF4-FFF2-40B4-BE49-F238E27FC236}">
                <a16:creationId xmlns:a16="http://schemas.microsoft.com/office/drawing/2014/main" id="{063D8B28-E12E-47F5-9071-7B4C4A2E5059}"/>
              </a:ext>
            </a:extLst>
          </p:cNvPr>
          <p:cNvSpPr/>
          <p:nvPr/>
        </p:nvSpPr>
        <p:spPr bwMode="auto">
          <a:xfrm rot="5400000">
            <a:off x="553283" y="4651314"/>
            <a:ext cx="930051" cy="769620"/>
          </a:xfrm>
          <a:prstGeom prst="rect">
            <a:avLst/>
          </a:prstGeom>
          <a:solidFill>
            <a:schemeClr val="bg1">
              <a:lumMod val="85000"/>
            </a:schemeClr>
          </a:solidFill>
          <a:ln>
            <a:noFill/>
          </a:ln>
          <a:effectLst/>
        </p:spPr>
        <p:txBody>
          <a:bodyPr vert="vert270" lIns="91428" tIns="45715" rIns="91428" bIns="45715" anchor="ctr"/>
          <a:lstStyle/>
          <a:p>
            <a:pPr algn="ctr" defTabSz="623853">
              <a:lnSpc>
                <a:spcPts val="1100"/>
              </a:lnSpc>
              <a:buClr>
                <a:srgbClr val="000000"/>
              </a:buClr>
              <a:defRPr/>
            </a:pPr>
            <a:r>
              <a:rPr lang="en-US" sz="1200" b="1" dirty="0">
                <a:cs typeface="Times New Roman" pitchFamily="18" charset="0"/>
              </a:rPr>
              <a:t>2023</a:t>
            </a:r>
          </a:p>
        </p:txBody>
      </p:sp>
      <p:cxnSp>
        <p:nvCxnSpPr>
          <p:cNvPr id="102" name="Straight Connector 101">
            <a:extLst>
              <a:ext uri="{FF2B5EF4-FFF2-40B4-BE49-F238E27FC236}">
                <a16:creationId xmlns:a16="http://schemas.microsoft.com/office/drawing/2014/main" id="{BD608943-C392-418A-A475-1B02766E4126}"/>
              </a:ext>
            </a:extLst>
          </p:cNvPr>
          <p:cNvCxnSpPr>
            <a:cxnSpLocks/>
          </p:cNvCxnSpPr>
          <p:nvPr/>
        </p:nvCxnSpPr>
        <p:spPr>
          <a:xfrm>
            <a:off x="1399309" y="2610161"/>
            <a:ext cx="10187854" cy="0"/>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B174482-D9AE-472C-A6BA-B4E259531736}"/>
              </a:ext>
            </a:extLst>
          </p:cNvPr>
          <p:cNvCxnSpPr>
            <a:cxnSpLocks/>
          </p:cNvCxnSpPr>
          <p:nvPr/>
        </p:nvCxnSpPr>
        <p:spPr>
          <a:xfrm>
            <a:off x="1399309" y="3580546"/>
            <a:ext cx="10187854" cy="0"/>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DD58F1C-588B-41F6-B181-A646EBC24C58}"/>
              </a:ext>
            </a:extLst>
          </p:cNvPr>
          <p:cNvCxnSpPr>
            <a:cxnSpLocks/>
          </p:cNvCxnSpPr>
          <p:nvPr/>
        </p:nvCxnSpPr>
        <p:spPr>
          <a:xfrm>
            <a:off x="1399309" y="4550931"/>
            <a:ext cx="10187854" cy="0"/>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2BA0229-F902-4874-82D5-3E6C6DB96359}"/>
              </a:ext>
            </a:extLst>
          </p:cNvPr>
          <p:cNvCxnSpPr>
            <a:cxnSpLocks/>
          </p:cNvCxnSpPr>
          <p:nvPr/>
        </p:nvCxnSpPr>
        <p:spPr>
          <a:xfrm>
            <a:off x="1399309" y="5521316"/>
            <a:ext cx="10187854" cy="0"/>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C8822065-5A7B-4462-B3F7-CE9DFE174E3D}"/>
              </a:ext>
            </a:extLst>
          </p:cNvPr>
          <p:cNvSpPr txBox="1"/>
          <p:nvPr/>
        </p:nvSpPr>
        <p:spPr>
          <a:xfrm>
            <a:off x="1589809" y="1717165"/>
            <a:ext cx="9986963" cy="815608"/>
          </a:xfrm>
          <a:prstGeom prst="rect">
            <a:avLst/>
          </a:prstGeom>
          <a:noFill/>
        </p:spPr>
        <p:txBody>
          <a:bodyPr wrap="square">
            <a:spAutoFit/>
          </a:bodyPr>
          <a:lstStyle/>
          <a:p>
            <a:pPr>
              <a:defRPr/>
            </a:pPr>
            <a:r>
              <a:rPr lang="en-US" sz="1400" b="1" dirty="0">
                <a:solidFill>
                  <a:schemeClr val="bg1">
                    <a:lumMod val="50000"/>
                  </a:schemeClr>
                </a:solidFill>
              </a:rPr>
              <a:t>Placeholder:</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285750" indent="-168275">
              <a:buFont typeface="Arial" pitchFamily="34" charset="0"/>
              <a:buChar char="•"/>
              <a:defRPr/>
            </a:pPr>
            <a:endParaRPr lang="en-US" sz="1100" dirty="0">
              <a:solidFill>
                <a:schemeClr val="bg1">
                  <a:lumMod val="50000"/>
                </a:schemeClr>
              </a:solidFill>
            </a:endParaRPr>
          </a:p>
        </p:txBody>
      </p:sp>
      <p:sp>
        <p:nvSpPr>
          <p:cNvPr id="107" name="TextBox 106">
            <a:extLst>
              <a:ext uri="{FF2B5EF4-FFF2-40B4-BE49-F238E27FC236}">
                <a16:creationId xmlns:a16="http://schemas.microsoft.com/office/drawing/2014/main" id="{A66C7B09-D4F5-442D-AA56-B0A11EBFA14D}"/>
              </a:ext>
            </a:extLst>
          </p:cNvPr>
          <p:cNvSpPr txBox="1"/>
          <p:nvPr/>
        </p:nvSpPr>
        <p:spPr>
          <a:xfrm>
            <a:off x="1589809" y="2648855"/>
            <a:ext cx="9986963" cy="815608"/>
          </a:xfrm>
          <a:prstGeom prst="rect">
            <a:avLst/>
          </a:prstGeom>
          <a:noFill/>
        </p:spPr>
        <p:txBody>
          <a:bodyPr wrap="square">
            <a:spAutoFit/>
          </a:bodyPr>
          <a:lstStyle/>
          <a:p>
            <a:pPr>
              <a:defRPr/>
            </a:pPr>
            <a:r>
              <a:rPr lang="en-US" sz="1400" b="1" dirty="0">
                <a:solidFill>
                  <a:schemeClr val="bg1">
                    <a:lumMod val="50000"/>
                  </a:schemeClr>
                </a:solidFill>
              </a:rPr>
              <a:t>Placeholder:</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117475">
              <a:defRPr/>
            </a:pPr>
            <a:endParaRPr lang="en-US" sz="1100" dirty="0">
              <a:solidFill>
                <a:schemeClr val="bg1">
                  <a:lumMod val="50000"/>
                </a:schemeClr>
              </a:solidFill>
            </a:endParaRPr>
          </a:p>
        </p:txBody>
      </p:sp>
      <p:sp>
        <p:nvSpPr>
          <p:cNvPr id="108" name="TextBox 107">
            <a:extLst>
              <a:ext uri="{FF2B5EF4-FFF2-40B4-BE49-F238E27FC236}">
                <a16:creationId xmlns:a16="http://schemas.microsoft.com/office/drawing/2014/main" id="{24F4CF7C-B61F-45E0-B2FD-E4980C290206}"/>
              </a:ext>
            </a:extLst>
          </p:cNvPr>
          <p:cNvSpPr txBox="1"/>
          <p:nvPr/>
        </p:nvSpPr>
        <p:spPr>
          <a:xfrm>
            <a:off x="1589809" y="3657934"/>
            <a:ext cx="9986963" cy="815608"/>
          </a:xfrm>
          <a:prstGeom prst="rect">
            <a:avLst/>
          </a:prstGeom>
          <a:noFill/>
        </p:spPr>
        <p:txBody>
          <a:bodyPr wrap="square">
            <a:spAutoFit/>
          </a:bodyPr>
          <a:lstStyle/>
          <a:p>
            <a:pPr>
              <a:defRPr/>
            </a:pPr>
            <a:r>
              <a:rPr lang="en-US" sz="1400" b="1" dirty="0">
                <a:solidFill>
                  <a:schemeClr val="bg1">
                    <a:lumMod val="50000"/>
                  </a:schemeClr>
                </a:solidFill>
              </a:rPr>
              <a:t>Placeholder:</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117475">
              <a:defRPr/>
            </a:pPr>
            <a:endParaRPr lang="en-US" sz="1100" dirty="0">
              <a:solidFill>
                <a:schemeClr val="bg1">
                  <a:lumMod val="50000"/>
                </a:schemeClr>
              </a:solidFill>
            </a:endParaRPr>
          </a:p>
        </p:txBody>
      </p:sp>
      <p:sp>
        <p:nvSpPr>
          <p:cNvPr id="109" name="TextBox 108">
            <a:extLst>
              <a:ext uri="{FF2B5EF4-FFF2-40B4-BE49-F238E27FC236}">
                <a16:creationId xmlns:a16="http://schemas.microsoft.com/office/drawing/2014/main" id="{0548C53E-8538-40DE-B43A-C1E4C341F3A6}"/>
              </a:ext>
            </a:extLst>
          </p:cNvPr>
          <p:cNvSpPr txBox="1"/>
          <p:nvPr/>
        </p:nvSpPr>
        <p:spPr>
          <a:xfrm>
            <a:off x="1589809" y="4628320"/>
            <a:ext cx="9986963" cy="815608"/>
          </a:xfrm>
          <a:prstGeom prst="rect">
            <a:avLst/>
          </a:prstGeom>
          <a:noFill/>
        </p:spPr>
        <p:txBody>
          <a:bodyPr wrap="square">
            <a:spAutoFit/>
          </a:bodyPr>
          <a:lstStyle/>
          <a:p>
            <a:pPr>
              <a:defRPr/>
            </a:pPr>
            <a:r>
              <a:rPr lang="en-US" sz="1400" b="1" dirty="0">
                <a:solidFill>
                  <a:schemeClr val="bg1">
                    <a:lumMod val="50000"/>
                  </a:schemeClr>
                </a:solidFill>
              </a:rPr>
              <a:t>Placeholder:</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93663" indent="-93663">
              <a:buFont typeface="Arial" pitchFamily="34" charset="0"/>
              <a:buChar char="•"/>
              <a:defRPr/>
            </a:pPr>
            <a:r>
              <a:rPr lang="en-US" sz="1100" dirty="0">
                <a:solidFill>
                  <a:schemeClr val="bg1">
                    <a:lumMod val="50000"/>
                  </a:schemeClr>
                </a:solidFill>
              </a:rPr>
              <a:t>All phrases can be replaced by your own text / All phrases can be replaced by your own text</a:t>
            </a:r>
          </a:p>
          <a:p>
            <a:pPr marL="285750" indent="-168275">
              <a:buFont typeface="Arial" pitchFamily="34" charset="0"/>
              <a:buChar char="•"/>
              <a:defRPr/>
            </a:pPr>
            <a:endParaRPr lang="en-US" sz="1100" dirty="0">
              <a:solidFill>
                <a:schemeClr val="bg1">
                  <a:lumMod val="50000"/>
                </a:schemeClr>
              </a:solidFill>
            </a:endParaRPr>
          </a:p>
        </p:txBody>
      </p:sp>
      <p:sp>
        <p:nvSpPr>
          <p:cNvPr id="110" name="TextBox 109">
            <a:extLst>
              <a:ext uri="{FF2B5EF4-FFF2-40B4-BE49-F238E27FC236}">
                <a16:creationId xmlns:a16="http://schemas.microsoft.com/office/drawing/2014/main" id="{761DAC9D-49D5-4D98-B736-99F426213ECD}"/>
              </a:ext>
            </a:extLst>
          </p:cNvPr>
          <p:cNvSpPr txBox="1"/>
          <p:nvPr/>
        </p:nvSpPr>
        <p:spPr>
          <a:xfrm>
            <a:off x="1589809" y="5571172"/>
            <a:ext cx="9986963" cy="815608"/>
          </a:xfrm>
          <a:prstGeom prst="rect">
            <a:avLst/>
          </a:prstGeom>
          <a:noFill/>
        </p:spPr>
        <p:txBody>
          <a:bodyPr wrap="square">
            <a:spAutoFit/>
          </a:bodyPr>
          <a:lstStyle/>
          <a:p>
            <a:pPr>
              <a:defRPr/>
            </a:pPr>
            <a:r>
              <a:rPr lang="en-US" sz="1400" b="1" dirty="0">
                <a:solidFill>
                  <a:schemeClr val="tx2"/>
                </a:solidFill>
              </a:rPr>
              <a:t>Placeholder:</a:t>
            </a:r>
          </a:p>
          <a:p>
            <a:pPr marL="93663" indent="-93663">
              <a:buFont typeface="Arial" pitchFamily="34" charset="0"/>
              <a:buChar char="•"/>
              <a:defRPr/>
            </a:pPr>
            <a:r>
              <a:rPr lang="en-US" sz="1100" dirty="0"/>
              <a:t>All phrases can be replaced by your own text / All phrases can be replaced by your own text</a:t>
            </a:r>
          </a:p>
          <a:p>
            <a:pPr marL="93663" indent="-93663">
              <a:buFont typeface="Arial" pitchFamily="34" charset="0"/>
              <a:buChar char="•"/>
              <a:defRPr/>
            </a:pPr>
            <a:r>
              <a:rPr lang="en-US" sz="1100" dirty="0"/>
              <a:t>All phrases can be replaced by your own text / All phrases can be replaced by your own text</a:t>
            </a:r>
          </a:p>
          <a:p>
            <a:pPr marL="285750" indent="-168275">
              <a:buFont typeface="Arial" pitchFamily="34" charset="0"/>
              <a:buChar char="•"/>
              <a:defRPr/>
            </a:pPr>
            <a:endParaRPr lang="en-US" sz="1100" dirty="0">
              <a:solidFill>
                <a:schemeClr val="tx2">
                  <a:lumMod val="60000"/>
                  <a:lumOff val="40000"/>
                </a:schemeClr>
              </a:solidFill>
            </a:endParaRPr>
          </a:p>
        </p:txBody>
      </p:sp>
      <p:sp>
        <p:nvSpPr>
          <p:cNvPr id="2" name="Rectangle: Rounded Corners 1">
            <a:extLst>
              <a:ext uri="{FF2B5EF4-FFF2-40B4-BE49-F238E27FC236}">
                <a16:creationId xmlns:a16="http://schemas.microsoft.com/office/drawing/2014/main" id="{42CCC3EE-6778-8B4B-2C35-1559F226745A}"/>
              </a:ext>
            </a:extLst>
          </p:cNvPr>
          <p:cNvSpPr/>
          <p:nvPr/>
        </p:nvSpPr>
        <p:spPr>
          <a:xfrm>
            <a:off x="10208484" y="169253"/>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6353249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Guid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can use this deliverable directly for your own purposes. You simply need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have an orange rectangle in the top-right corner. You may decide to delete these slides as they are mainly there to help you fill in the rest of the deliverable. Before you do, copy and paste this document so you always have the original version in case you need it.</a:t>
            </a:r>
          </a:p>
        </p:txBody>
      </p:sp>
    </p:spTree>
    <p:extLst>
      <p:ext uri="{BB962C8B-B14F-4D97-AF65-F5344CB8AC3E}">
        <p14:creationId xmlns:p14="http://schemas.microsoft.com/office/powerpoint/2010/main" val="2508926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19" name="Rectangle 18">
            <a:extLst>
              <a:ext uri="{FF2B5EF4-FFF2-40B4-BE49-F238E27FC236}">
                <a16:creationId xmlns:a16="http://schemas.microsoft.com/office/drawing/2014/main" id="{F694FBB3-FEF2-4795-9EA4-E11676173943}"/>
              </a:ext>
            </a:extLst>
          </p:cNvPr>
          <p:cNvSpPr/>
          <p:nvPr/>
        </p:nvSpPr>
        <p:spPr>
          <a:xfrm>
            <a:off x="7037679" y="636047"/>
            <a:ext cx="4549483" cy="548768"/>
          </a:xfrm>
          <a:prstGeom prst="rect">
            <a:avLst/>
          </a:prstGeom>
          <a:noFill/>
          <a:ln w="9525" cap="flat" cmpd="sng" algn="ctr">
            <a:solidFill>
              <a:schemeClr val="tx1"/>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1" i="0" u="none" strike="noStrike" kern="0" cap="none" spc="0" normalizeH="0" baseline="0" noProof="0" dirty="0">
                <a:ln>
                  <a:noFill/>
                </a:ln>
                <a:effectLst/>
                <a:uLnTx/>
                <a:uFillTx/>
                <a:ea typeface="+mn-ea"/>
                <a:cs typeface="+mn-cs"/>
              </a:rPr>
              <a:t>Key:</a:t>
            </a:r>
          </a:p>
        </p:txBody>
      </p:sp>
      <p:sp>
        <p:nvSpPr>
          <p:cNvPr id="20" name="Isosceles Triangle 19">
            <a:extLst>
              <a:ext uri="{FF2B5EF4-FFF2-40B4-BE49-F238E27FC236}">
                <a16:creationId xmlns:a16="http://schemas.microsoft.com/office/drawing/2014/main" id="{E45AAB02-80C2-4324-BF25-0BC050365890}"/>
              </a:ext>
            </a:extLst>
          </p:cNvPr>
          <p:cNvSpPr/>
          <p:nvPr/>
        </p:nvSpPr>
        <p:spPr>
          <a:xfrm>
            <a:off x="7870878" y="702134"/>
            <a:ext cx="216000" cy="216024"/>
          </a:xfrm>
          <a:prstGeom prst="triangle">
            <a:avLst/>
          </a:prstGeom>
          <a:solidFill>
            <a:srgbClr val="FFD75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21" name="Isosceles Triangle 20">
            <a:extLst>
              <a:ext uri="{FF2B5EF4-FFF2-40B4-BE49-F238E27FC236}">
                <a16:creationId xmlns:a16="http://schemas.microsoft.com/office/drawing/2014/main" id="{6717F6F1-6C17-46DE-903F-EF6CF20250B8}"/>
              </a:ext>
            </a:extLst>
          </p:cNvPr>
          <p:cNvSpPr/>
          <p:nvPr/>
        </p:nvSpPr>
        <p:spPr>
          <a:xfrm>
            <a:off x="9960476" y="702134"/>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22" name="TextBox 21">
            <a:extLst>
              <a:ext uri="{FF2B5EF4-FFF2-40B4-BE49-F238E27FC236}">
                <a16:creationId xmlns:a16="http://schemas.microsoft.com/office/drawing/2014/main" id="{9252E179-FBF9-4432-B138-6F5FF17699E6}"/>
              </a:ext>
            </a:extLst>
          </p:cNvPr>
          <p:cNvSpPr txBox="1"/>
          <p:nvPr/>
        </p:nvSpPr>
        <p:spPr>
          <a:xfrm>
            <a:off x="10691147" y="920423"/>
            <a:ext cx="844256"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text</a:t>
            </a:r>
          </a:p>
        </p:txBody>
      </p:sp>
      <p:sp>
        <p:nvSpPr>
          <p:cNvPr id="23" name="Isosceles Triangle 22">
            <a:extLst>
              <a:ext uri="{FF2B5EF4-FFF2-40B4-BE49-F238E27FC236}">
                <a16:creationId xmlns:a16="http://schemas.microsoft.com/office/drawing/2014/main" id="{4C1B42EB-9AE7-4698-B641-B482B1A580B8}"/>
              </a:ext>
            </a:extLst>
          </p:cNvPr>
          <p:cNvSpPr/>
          <p:nvPr/>
        </p:nvSpPr>
        <p:spPr>
          <a:xfrm>
            <a:off x="8915677" y="702134"/>
            <a:ext cx="216000" cy="216024"/>
          </a:xfrm>
          <a:prstGeom prst="triangle">
            <a:avLst/>
          </a:prstGeom>
          <a:solidFill>
            <a:srgbClr val="7030A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graphicFrame>
        <p:nvGraphicFramePr>
          <p:cNvPr id="24" name="Content Placeholder 5">
            <a:extLst>
              <a:ext uri="{FF2B5EF4-FFF2-40B4-BE49-F238E27FC236}">
                <a16:creationId xmlns:a16="http://schemas.microsoft.com/office/drawing/2014/main" id="{7B2D0A26-91B5-4007-AE15-9D434FBDF449}"/>
              </a:ext>
            </a:extLst>
          </p:cNvPr>
          <p:cNvGraphicFramePr>
            <a:graphicFrameLocks/>
          </p:cNvGraphicFramePr>
          <p:nvPr/>
        </p:nvGraphicFramePr>
        <p:xfrm>
          <a:off x="604837" y="1664879"/>
          <a:ext cx="10982323" cy="4743647"/>
        </p:xfrm>
        <a:graphic>
          <a:graphicData uri="http://schemas.openxmlformats.org/drawingml/2006/table">
            <a:tbl>
              <a:tblPr firstRow="1" bandRow="1"/>
              <a:tblGrid>
                <a:gridCol w="1874977">
                  <a:extLst>
                    <a:ext uri="{9D8B030D-6E8A-4147-A177-3AD203B41FA5}">
                      <a16:colId xmlns:a16="http://schemas.microsoft.com/office/drawing/2014/main" val="20000"/>
                    </a:ext>
                  </a:extLst>
                </a:gridCol>
                <a:gridCol w="873600">
                  <a:extLst>
                    <a:ext uri="{9D8B030D-6E8A-4147-A177-3AD203B41FA5}">
                      <a16:colId xmlns:a16="http://schemas.microsoft.com/office/drawing/2014/main" val="20001"/>
                    </a:ext>
                  </a:extLst>
                </a:gridCol>
                <a:gridCol w="1372291">
                  <a:extLst>
                    <a:ext uri="{9D8B030D-6E8A-4147-A177-3AD203B41FA5}">
                      <a16:colId xmlns:a16="http://schemas.microsoft.com/office/drawing/2014/main" val="20002"/>
                    </a:ext>
                  </a:extLst>
                </a:gridCol>
                <a:gridCol w="1372291">
                  <a:extLst>
                    <a:ext uri="{9D8B030D-6E8A-4147-A177-3AD203B41FA5}">
                      <a16:colId xmlns:a16="http://schemas.microsoft.com/office/drawing/2014/main" val="20003"/>
                    </a:ext>
                  </a:extLst>
                </a:gridCol>
                <a:gridCol w="1372291">
                  <a:extLst>
                    <a:ext uri="{9D8B030D-6E8A-4147-A177-3AD203B41FA5}">
                      <a16:colId xmlns:a16="http://schemas.microsoft.com/office/drawing/2014/main" val="20004"/>
                    </a:ext>
                  </a:extLst>
                </a:gridCol>
                <a:gridCol w="1372291">
                  <a:extLst>
                    <a:ext uri="{9D8B030D-6E8A-4147-A177-3AD203B41FA5}">
                      <a16:colId xmlns:a16="http://schemas.microsoft.com/office/drawing/2014/main" val="20005"/>
                    </a:ext>
                  </a:extLst>
                </a:gridCol>
                <a:gridCol w="1372291">
                  <a:extLst>
                    <a:ext uri="{9D8B030D-6E8A-4147-A177-3AD203B41FA5}">
                      <a16:colId xmlns:a16="http://schemas.microsoft.com/office/drawing/2014/main" val="20006"/>
                    </a:ext>
                  </a:extLst>
                </a:gridCol>
                <a:gridCol w="1372291">
                  <a:extLst>
                    <a:ext uri="{9D8B030D-6E8A-4147-A177-3AD203B41FA5}">
                      <a16:colId xmlns:a16="http://schemas.microsoft.com/office/drawing/2014/main" val="20007"/>
                    </a:ext>
                  </a:extLst>
                </a:gridCol>
              </a:tblGrid>
              <a:tr h="450413">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 of people</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March</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r>
                        <a:rPr lang="en-AU" sz="1100" dirty="0">
                          <a:solidFill>
                            <a:schemeClr val="bg1"/>
                          </a:solidFill>
                          <a:latin typeface="+mn-lt"/>
                        </a:rPr>
                        <a:t>August</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0294">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0</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b="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8</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0294">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algn="ctr" defTabSz="914400" rtl="0" eaLnBrk="1" latinLnBrk="0" hangingPunct="1">
                        <a:spcBef>
                          <a:spcPts val="600"/>
                        </a:spcBef>
                        <a:spcAft>
                          <a:spcPts val="600"/>
                        </a:spcAft>
                      </a:pPr>
                      <a:r>
                        <a:rPr lang="en-AU" sz="1000" b="0" kern="1200" dirty="0">
                          <a:solidFill>
                            <a:schemeClr val="tx1"/>
                          </a:solidFill>
                          <a:latin typeface="+mn-lt"/>
                          <a:ea typeface="Calibri"/>
                          <a:cs typeface="Times New Roman"/>
                        </a:rPr>
                        <a:t>8</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algn="ctr" defTabSz="914400" rtl="0" eaLnBrk="1" latinLnBrk="0" hangingPunct="1">
                        <a:spcBef>
                          <a:spcPts val="600"/>
                        </a:spcBef>
                        <a:spcAft>
                          <a:spcPts val="600"/>
                        </a:spcAft>
                      </a:pPr>
                      <a:endParaRPr lang="en-AU" sz="1000" kern="12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4</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8</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0294">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5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90294">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1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0294">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FFFFFF"/>
                          </a:solidFill>
                          <a:effectLst/>
                          <a:uLnTx/>
                          <a:uFillTx/>
                          <a:latin typeface="+mn-lt"/>
                          <a:ea typeface="Calibri"/>
                          <a:cs typeface="Times New Roman"/>
                        </a:rPr>
                        <a:t>Insert team nam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r>
                        <a:rPr lang="en-AU" sz="1000" b="0" dirty="0">
                          <a:solidFill>
                            <a:schemeClr val="tx1"/>
                          </a:solidFill>
                          <a:latin typeface="+mn-lt"/>
                          <a:ea typeface="Calibri"/>
                          <a:cs typeface="Times New Roman"/>
                        </a:rPr>
                        <a:t>5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sz="1700" dirty="0">
                        <a:latin typeface="+mn-lt"/>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sz="1700" dirty="0">
                        <a:latin typeface="+mn-lt"/>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endParaRPr lang="en-AU" sz="1700" dirty="0">
                        <a:latin typeface="+mn-lt"/>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
        <p:nvSpPr>
          <p:cNvPr id="25" name="Isosceles Triangle 24">
            <a:extLst>
              <a:ext uri="{FF2B5EF4-FFF2-40B4-BE49-F238E27FC236}">
                <a16:creationId xmlns:a16="http://schemas.microsoft.com/office/drawing/2014/main" id="{5C82308A-30A3-4413-B411-DA4B7754FEEF}"/>
              </a:ext>
            </a:extLst>
          </p:cNvPr>
          <p:cNvSpPr/>
          <p:nvPr/>
        </p:nvSpPr>
        <p:spPr>
          <a:xfrm>
            <a:off x="3759409" y="2196134"/>
            <a:ext cx="216000" cy="216024"/>
          </a:xfrm>
          <a:prstGeom prst="triangle">
            <a:avLst/>
          </a:prstGeom>
          <a:solidFill>
            <a:srgbClr val="FFD75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26" name="Isosceles Triangle 25">
            <a:extLst>
              <a:ext uri="{FF2B5EF4-FFF2-40B4-BE49-F238E27FC236}">
                <a16:creationId xmlns:a16="http://schemas.microsoft.com/office/drawing/2014/main" id="{A0BBCF43-34D7-48E1-AFF8-C46DAC70AE62}"/>
              </a:ext>
            </a:extLst>
          </p:cNvPr>
          <p:cNvSpPr/>
          <p:nvPr/>
        </p:nvSpPr>
        <p:spPr>
          <a:xfrm>
            <a:off x="4092177" y="2196134"/>
            <a:ext cx="216000" cy="216024"/>
          </a:xfrm>
          <a:prstGeom prst="triangl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0346C7EE-9A76-4580-9237-36FC2CE31CB2}"/>
              </a:ext>
            </a:extLst>
          </p:cNvPr>
          <p:cNvSpPr/>
          <p:nvPr/>
        </p:nvSpPr>
        <p:spPr>
          <a:xfrm>
            <a:off x="6690323" y="2196134"/>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28" name="Isosceles Triangle 27">
            <a:extLst>
              <a:ext uri="{FF2B5EF4-FFF2-40B4-BE49-F238E27FC236}">
                <a16:creationId xmlns:a16="http://schemas.microsoft.com/office/drawing/2014/main" id="{89C9A97C-CD76-4E12-8DF8-88C05138C16A}"/>
              </a:ext>
            </a:extLst>
          </p:cNvPr>
          <p:cNvSpPr/>
          <p:nvPr/>
        </p:nvSpPr>
        <p:spPr>
          <a:xfrm>
            <a:off x="8045336" y="2585540"/>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29" name="Isosceles Triangle 28">
            <a:extLst>
              <a:ext uri="{FF2B5EF4-FFF2-40B4-BE49-F238E27FC236}">
                <a16:creationId xmlns:a16="http://schemas.microsoft.com/office/drawing/2014/main" id="{AECEF4D1-2CE3-482A-BF48-705B06C213F8}"/>
              </a:ext>
            </a:extLst>
          </p:cNvPr>
          <p:cNvSpPr/>
          <p:nvPr/>
        </p:nvSpPr>
        <p:spPr>
          <a:xfrm>
            <a:off x="3759409" y="2585540"/>
            <a:ext cx="216000" cy="216024"/>
          </a:xfrm>
          <a:prstGeom prst="triangle">
            <a:avLst/>
          </a:prstGeom>
          <a:solidFill>
            <a:srgbClr val="FFD75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0" name="Isosceles Triangle 29">
            <a:extLst>
              <a:ext uri="{FF2B5EF4-FFF2-40B4-BE49-F238E27FC236}">
                <a16:creationId xmlns:a16="http://schemas.microsoft.com/office/drawing/2014/main" id="{3A2FF774-A6C9-4530-A902-937E2FBE920A}"/>
              </a:ext>
            </a:extLst>
          </p:cNvPr>
          <p:cNvSpPr/>
          <p:nvPr/>
        </p:nvSpPr>
        <p:spPr>
          <a:xfrm>
            <a:off x="6690323" y="2585540"/>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1" name="Isosceles Triangle 30">
            <a:extLst>
              <a:ext uri="{FF2B5EF4-FFF2-40B4-BE49-F238E27FC236}">
                <a16:creationId xmlns:a16="http://schemas.microsoft.com/office/drawing/2014/main" id="{A516EEBC-7775-4FFC-96A7-E777FD6A5324}"/>
              </a:ext>
            </a:extLst>
          </p:cNvPr>
          <p:cNvSpPr/>
          <p:nvPr/>
        </p:nvSpPr>
        <p:spPr>
          <a:xfrm>
            <a:off x="6690323" y="2974946"/>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2" name="Isosceles Triangle 31">
            <a:extLst>
              <a:ext uri="{FF2B5EF4-FFF2-40B4-BE49-F238E27FC236}">
                <a16:creationId xmlns:a16="http://schemas.microsoft.com/office/drawing/2014/main" id="{6E1BC0E5-F5B1-464F-8B26-3F4B7EA809FA}"/>
              </a:ext>
            </a:extLst>
          </p:cNvPr>
          <p:cNvSpPr/>
          <p:nvPr/>
        </p:nvSpPr>
        <p:spPr>
          <a:xfrm>
            <a:off x="6690323" y="3364352"/>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3" name="Isosceles Triangle 32">
            <a:extLst>
              <a:ext uri="{FF2B5EF4-FFF2-40B4-BE49-F238E27FC236}">
                <a16:creationId xmlns:a16="http://schemas.microsoft.com/office/drawing/2014/main" id="{43AB5A1B-2680-4A79-B3EF-6ED0BC02ECE2}"/>
              </a:ext>
            </a:extLst>
          </p:cNvPr>
          <p:cNvSpPr/>
          <p:nvPr/>
        </p:nvSpPr>
        <p:spPr>
          <a:xfrm>
            <a:off x="6690323" y="3753758"/>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4" name="Isosceles Triangle 33">
            <a:extLst>
              <a:ext uri="{FF2B5EF4-FFF2-40B4-BE49-F238E27FC236}">
                <a16:creationId xmlns:a16="http://schemas.microsoft.com/office/drawing/2014/main" id="{2B150E59-70F5-4DAE-AEA6-83A24C317C87}"/>
              </a:ext>
            </a:extLst>
          </p:cNvPr>
          <p:cNvSpPr/>
          <p:nvPr/>
        </p:nvSpPr>
        <p:spPr>
          <a:xfrm>
            <a:off x="6690323" y="4143164"/>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5" name="Isosceles Triangle 34">
            <a:extLst>
              <a:ext uri="{FF2B5EF4-FFF2-40B4-BE49-F238E27FC236}">
                <a16:creationId xmlns:a16="http://schemas.microsoft.com/office/drawing/2014/main" id="{59E9946B-2E5C-4D19-8875-8BDBE4DBAB01}"/>
              </a:ext>
            </a:extLst>
          </p:cNvPr>
          <p:cNvSpPr/>
          <p:nvPr/>
        </p:nvSpPr>
        <p:spPr>
          <a:xfrm>
            <a:off x="6690323" y="4532570"/>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6" name="Isosceles Triangle 35">
            <a:extLst>
              <a:ext uri="{FF2B5EF4-FFF2-40B4-BE49-F238E27FC236}">
                <a16:creationId xmlns:a16="http://schemas.microsoft.com/office/drawing/2014/main" id="{C8B67819-EB06-40B9-A5AE-0548AB8C89F6}"/>
              </a:ext>
            </a:extLst>
          </p:cNvPr>
          <p:cNvSpPr/>
          <p:nvPr/>
        </p:nvSpPr>
        <p:spPr>
          <a:xfrm>
            <a:off x="6690323" y="4921976"/>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7" name="Isosceles Triangle 36">
            <a:extLst>
              <a:ext uri="{FF2B5EF4-FFF2-40B4-BE49-F238E27FC236}">
                <a16:creationId xmlns:a16="http://schemas.microsoft.com/office/drawing/2014/main" id="{0DB00C17-0C67-4FA2-A198-177D31AC2E36}"/>
              </a:ext>
            </a:extLst>
          </p:cNvPr>
          <p:cNvSpPr/>
          <p:nvPr/>
        </p:nvSpPr>
        <p:spPr>
          <a:xfrm>
            <a:off x="6690323" y="5311382"/>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8" name="Isosceles Triangle 37">
            <a:extLst>
              <a:ext uri="{FF2B5EF4-FFF2-40B4-BE49-F238E27FC236}">
                <a16:creationId xmlns:a16="http://schemas.microsoft.com/office/drawing/2014/main" id="{D8BBBE97-E4CF-4FC7-9E9C-941628496DC9}"/>
              </a:ext>
            </a:extLst>
          </p:cNvPr>
          <p:cNvSpPr/>
          <p:nvPr/>
        </p:nvSpPr>
        <p:spPr>
          <a:xfrm>
            <a:off x="6690323" y="5700788"/>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39" name="Isosceles Triangle 38">
            <a:extLst>
              <a:ext uri="{FF2B5EF4-FFF2-40B4-BE49-F238E27FC236}">
                <a16:creationId xmlns:a16="http://schemas.microsoft.com/office/drawing/2014/main" id="{652967D5-76AA-4981-B379-5C737A320B97}"/>
              </a:ext>
            </a:extLst>
          </p:cNvPr>
          <p:cNvSpPr/>
          <p:nvPr/>
        </p:nvSpPr>
        <p:spPr>
          <a:xfrm>
            <a:off x="6690323" y="6090197"/>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0" name="Isosceles Triangle 39">
            <a:extLst>
              <a:ext uri="{FF2B5EF4-FFF2-40B4-BE49-F238E27FC236}">
                <a16:creationId xmlns:a16="http://schemas.microsoft.com/office/drawing/2014/main" id="{0EA5C73C-AC6D-488E-8BAB-8EC7AA9C8B9F}"/>
              </a:ext>
            </a:extLst>
          </p:cNvPr>
          <p:cNvSpPr/>
          <p:nvPr/>
        </p:nvSpPr>
        <p:spPr>
          <a:xfrm>
            <a:off x="4092177" y="4143164"/>
            <a:ext cx="216000" cy="216024"/>
          </a:xfrm>
          <a:prstGeom prst="triangl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1" name="Isosceles Triangle 40">
            <a:extLst>
              <a:ext uri="{FF2B5EF4-FFF2-40B4-BE49-F238E27FC236}">
                <a16:creationId xmlns:a16="http://schemas.microsoft.com/office/drawing/2014/main" id="{B66D62B0-FF6A-439D-92F2-557D7E4195EF}"/>
              </a:ext>
            </a:extLst>
          </p:cNvPr>
          <p:cNvSpPr/>
          <p:nvPr/>
        </p:nvSpPr>
        <p:spPr>
          <a:xfrm>
            <a:off x="8045336" y="4143164"/>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2" name="Isosceles Triangle 41">
            <a:extLst>
              <a:ext uri="{FF2B5EF4-FFF2-40B4-BE49-F238E27FC236}">
                <a16:creationId xmlns:a16="http://schemas.microsoft.com/office/drawing/2014/main" id="{C569C94F-26C6-4489-BD83-77ACA25539E0}"/>
              </a:ext>
            </a:extLst>
          </p:cNvPr>
          <p:cNvSpPr/>
          <p:nvPr/>
        </p:nvSpPr>
        <p:spPr>
          <a:xfrm>
            <a:off x="4092177" y="4532570"/>
            <a:ext cx="216000" cy="216024"/>
          </a:xfrm>
          <a:prstGeom prst="triangl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3" name="Isosceles Triangle 42">
            <a:extLst>
              <a:ext uri="{FF2B5EF4-FFF2-40B4-BE49-F238E27FC236}">
                <a16:creationId xmlns:a16="http://schemas.microsoft.com/office/drawing/2014/main" id="{AD9EB863-E1C8-4A1A-A77A-3A9B11DC542E}"/>
              </a:ext>
            </a:extLst>
          </p:cNvPr>
          <p:cNvSpPr/>
          <p:nvPr/>
        </p:nvSpPr>
        <p:spPr>
          <a:xfrm>
            <a:off x="8045336" y="4535300"/>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4" name="Isosceles Triangle 43">
            <a:extLst>
              <a:ext uri="{FF2B5EF4-FFF2-40B4-BE49-F238E27FC236}">
                <a16:creationId xmlns:a16="http://schemas.microsoft.com/office/drawing/2014/main" id="{0AF87A32-D262-48DA-8310-72F59D34D775}"/>
              </a:ext>
            </a:extLst>
          </p:cNvPr>
          <p:cNvSpPr/>
          <p:nvPr/>
        </p:nvSpPr>
        <p:spPr>
          <a:xfrm>
            <a:off x="5501678" y="4930362"/>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5" name="Isosceles Triangle 44">
            <a:extLst>
              <a:ext uri="{FF2B5EF4-FFF2-40B4-BE49-F238E27FC236}">
                <a16:creationId xmlns:a16="http://schemas.microsoft.com/office/drawing/2014/main" id="{49F765D1-81EC-43FC-9A00-7C0DA0FD5CFD}"/>
              </a:ext>
            </a:extLst>
          </p:cNvPr>
          <p:cNvSpPr/>
          <p:nvPr/>
        </p:nvSpPr>
        <p:spPr>
          <a:xfrm>
            <a:off x="8045336" y="4927436"/>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83DAD569-64C1-4643-AB35-B76986FE23DC}"/>
              </a:ext>
            </a:extLst>
          </p:cNvPr>
          <p:cNvSpPr/>
          <p:nvPr/>
        </p:nvSpPr>
        <p:spPr>
          <a:xfrm>
            <a:off x="5213646" y="4930362"/>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7" name="Isosceles Triangle 46">
            <a:extLst>
              <a:ext uri="{FF2B5EF4-FFF2-40B4-BE49-F238E27FC236}">
                <a16:creationId xmlns:a16="http://schemas.microsoft.com/office/drawing/2014/main" id="{DCB989EB-27F5-4EFA-91B3-030051561F04}"/>
              </a:ext>
            </a:extLst>
          </p:cNvPr>
          <p:cNvSpPr/>
          <p:nvPr/>
        </p:nvSpPr>
        <p:spPr>
          <a:xfrm>
            <a:off x="5501678" y="5272986"/>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8" name="Isosceles Triangle 47">
            <a:extLst>
              <a:ext uri="{FF2B5EF4-FFF2-40B4-BE49-F238E27FC236}">
                <a16:creationId xmlns:a16="http://schemas.microsoft.com/office/drawing/2014/main" id="{77F1D27D-93F5-4EE2-AEAF-59BB906FE8C0}"/>
              </a:ext>
            </a:extLst>
          </p:cNvPr>
          <p:cNvSpPr/>
          <p:nvPr/>
        </p:nvSpPr>
        <p:spPr>
          <a:xfrm>
            <a:off x="5258358" y="5272986"/>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9" name="Isosceles Triangle 48">
            <a:extLst>
              <a:ext uri="{FF2B5EF4-FFF2-40B4-BE49-F238E27FC236}">
                <a16:creationId xmlns:a16="http://schemas.microsoft.com/office/drawing/2014/main" id="{4C52842C-E18E-49DB-8C72-0D68B4BABC09}"/>
              </a:ext>
            </a:extLst>
          </p:cNvPr>
          <p:cNvSpPr/>
          <p:nvPr/>
        </p:nvSpPr>
        <p:spPr>
          <a:xfrm>
            <a:off x="5501678" y="5719713"/>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Isosceles Triangle 49">
            <a:extLst>
              <a:ext uri="{FF2B5EF4-FFF2-40B4-BE49-F238E27FC236}">
                <a16:creationId xmlns:a16="http://schemas.microsoft.com/office/drawing/2014/main" id="{3EF54BFA-7567-47CA-A3E8-992B4D974982}"/>
              </a:ext>
            </a:extLst>
          </p:cNvPr>
          <p:cNvSpPr/>
          <p:nvPr/>
        </p:nvSpPr>
        <p:spPr>
          <a:xfrm>
            <a:off x="5258358" y="5719713"/>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1" name="Isosceles Triangle 50">
            <a:extLst>
              <a:ext uri="{FF2B5EF4-FFF2-40B4-BE49-F238E27FC236}">
                <a16:creationId xmlns:a16="http://schemas.microsoft.com/office/drawing/2014/main" id="{DAEBD224-A3FD-47AA-9C95-8D267A6C1A7F}"/>
              </a:ext>
            </a:extLst>
          </p:cNvPr>
          <p:cNvSpPr/>
          <p:nvPr/>
        </p:nvSpPr>
        <p:spPr>
          <a:xfrm>
            <a:off x="5501678" y="6103845"/>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2" name="Isosceles Triangle 51">
            <a:extLst>
              <a:ext uri="{FF2B5EF4-FFF2-40B4-BE49-F238E27FC236}">
                <a16:creationId xmlns:a16="http://schemas.microsoft.com/office/drawing/2014/main" id="{75F9D0C0-BF69-4055-92EB-A435AE0DDA6E}"/>
              </a:ext>
            </a:extLst>
          </p:cNvPr>
          <p:cNvSpPr/>
          <p:nvPr/>
        </p:nvSpPr>
        <p:spPr>
          <a:xfrm>
            <a:off x="5258358" y="6103845"/>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3" name="Isosceles Triangle 52">
            <a:extLst>
              <a:ext uri="{FF2B5EF4-FFF2-40B4-BE49-F238E27FC236}">
                <a16:creationId xmlns:a16="http://schemas.microsoft.com/office/drawing/2014/main" id="{CD281278-4AA2-4E9F-BD57-40552C087D1C}"/>
              </a:ext>
            </a:extLst>
          </p:cNvPr>
          <p:cNvSpPr/>
          <p:nvPr/>
        </p:nvSpPr>
        <p:spPr>
          <a:xfrm>
            <a:off x="8045336" y="5319572"/>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4" name="Isosceles Triangle 53">
            <a:extLst>
              <a:ext uri="{FF2B5EF4-FFF2-40B4-BE49-F238E27FC236}">
                <a16:creationId xmlns:a16="http://schemas.microsoft.com/office/drawing/2014/main" id="{51035EE2-0386-48CD-BD2E-BB690B2FB79F}"/>
              </a:ext>
            </a:extLst>
          </p:cNvPr>
          <p:cNvSpPr/>
          <p:nvPr/>
        </p:nvSpPr>
        <p:spPr>
          <a:xfrm>
            <a:off x="8045336" y="5711708"/>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5" name="Isosceles Triangle 54">
            <a:extLst>
              <a:ext uri="{FF2B5EF4-FFF2-40B4-BE49-F238E27FC236}">
                <a16:creationId xmlns:a16="http://schemas.microsoft.com/office/drawing/2014/main" id="{19BF7F33-0B46-4AD7-B347-480D79407688}"/>
              </a:ext>
            </a:extLst>
          </p:cNvPr>
          <p:cNvSpPr/>
          <p:nvPr/>
        </p:nvSpPr>
        <p:spPr>
          <a:xfrm>
            <a:off x="8045336" y="6103845"/>
            <a:ext cx="216000" cy="216024"/>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6" name="Isosceles Triangle 55">
            <a:extLst>
              <a:ext uri="{FF2B5EF4-FFF2-40B4-BE49-F238E27FC236}">
                <a16:creationId xmlns:a16="http://schemas.microsoft.com/office/drawing/2014/main" id="{DC1D984A-43E3-451B-B91A-CE5AAE14F4FF}"/>
              </a:ext>
            </a:extLst>
          </p:cNvPr>
          <p:cNvSpPr/>
          <p:nvPr/>
        </p:nvSpPr>
        <p:spPr>
          <a:xfrm>
            <a:off x="11005275" y="702134"/>
            <a:ext cx="216000" cy="216024"/>
          </a:xfrm>
          <a:prstGeom prst="triangle">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effectLst/>
              <a:uLnTx/>
              <a:uFillTx/>
              <a:ea typeface="+mn-ea"/>
              <a:cs typeface="+mn-cs"/>
            </a:endParaRPr>
          </a:p>
        </p:txBody>
      </p:sp>
      <p:sp>
        <p:nvSpPr>
          <p:cNvPr id="57" name="TextBox 56">
            <a:extLst>
              <a:ext uri="{FF2B5EF4-FFF2-40B4-BE49-F238E27FC236}">
                <a16:creationId xmlns:a16="http://schemas.microsoft.com/office/drawing/2014/main" id="{E4297F07-820F-4076-9F35-39E3BAE15352}"/>
              </a:ext>
            </a:extLst>
          </p:cNvPr>
          <p:cNvSpPr txBox="1"/>
          <p:nvPr/>
        </p:nvSpPr>
        <p:spPr>
          <a:xfrm>
            <a:off x="9646348" y="920423"/>
            <a:ext cx="844256"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text</a:t>
            </a:r>
          </a:p>
        </p:txBody>
      </p:sp>
      <p:sp>
        <p:nvSpPr>
          <p:cNvPr id="58" name="TextBox 57">
            <a:extLst>
              <a:ext uri="{FF2B5EF4-FFF2-40B4-BE49-F238E27FC236}">
                <a16:creationId xmlns:a16="http://schemas.microsoft.com/office/drawing/2014/main" id="{2BA153D3-BB9E-49CA-99E3-F5625B171E91}"/>
              </a:ext>
            </a:extLst>
          </p:cNvPr>
          <p:cNvSpPr txBox="1"/>
          <p:nvPr/>
        </p:nvSpPr>
        <p:spPr>
          <a:xfrm>
            <a:off x="8601549" y="920423"/>
            <a:ext cx="844256"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text</a:t>
            </a:r>
          </a:p>
        </p:txBody>
      </p:sp>
      <p:sp>
        <p:nvSpPr>
          <p:cNvPr id="59" name="TextBox 58">
            <a:extLst>
              <a:ext uri="{FF2B5EF4-FFF2-40B4-BE49-F238E27FC236}">
                <a16:creationId xmlns:a16="http://schemas.microsoft.com/office/drawing/2014/main" id="{EC3225D7-B4D8-4D48-9011-848F7F76EE13}"/>
              </a:ext>
            </a:extLst>
          </p:cNvPr>
          <p:cNvSpPr txBox="1"/>
          <p:nvPr/>
        </p:nvSpPr>
        <p:spPr>
          <a:xfrm>
            <a:off x="7556750" y="920423"/>
            <a:ext cx="844256"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0" i="0" u="none" strike="noStrike" kern="0" cap="none" spc="0" normalizeH="0" baseline="0" noProof="0" dirty="0">
                <a:ln>
                  <a:noFill/>
                </a:ln>
                <a:effectLst/>
                <a:uLnTx/>
                <a:uFillTx/>
              </a:rPr>
              <a:t>Insert text</a:t>
            </a:r>
          </a:p>
        </p:txBody>
      </p:sp>
      <p:sp>
        <p:nvSpPr>
          <p:cNvPr id="2" name="Rectangle: Rounded Corners 1">
            <a:extLst>
              <a:ext uri="{FF2B5EF4-FFF2-40B4-BE49-F238E27FC236}">
                <a16:creationId xmlns:a16="http://schemas.microsoft.com/office/drawing/2014/main" id="{4F1A5E86-9979-3CBF-C9C5-BB234BF4DBBB}"/>
              </a:ext>
            </a:extLst>
          </p:cNvPr>
          <p:cNvSpPr/>
          <p:nvPr/>
        </p:nvSpPr>
        <p:spPr>
          <a:xfrm>
            <a:off x="10208484" y="169253"/>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0141975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verarching Change Management Plan</a:t>
            </a:r>
            <a:br>
              <a:rPr lang="en-US" sz="2400" kern="0" dirty="0"/>
            </a:br>
            <a:r>
              <a:rPr lang="en-US" b="0" kern="0" dirty="0"/>
              <a:t>Open the Excel document “Overarching Change Management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1</a:t>
            </a:fld>
            <a:endParaRPr lang="en-US" sz="1000" dirty="0">
              <a:solidFill>
                <a:srgbClr val="ADAFBB"/>
              </a:solidFill>
            </a:endParaRPr>
          </a:p>
        </p:txBody>
      </p:sp>
      <p:pic>
        <p:nvPicPr>
          <p:cNvPr id="5" name="Picture 4" descr="Graphical user interface, application, table, Excel&#10;&#10;Description automatically generated">
            <a:extLst>
              <a:ext uri="{FF2B5EF4-FFF2-40B4-BE49-F238E27FC236}">
                <a16:creationId xmlns:a16="http://schemas.microsoft.com/office/drawing/2014/main" id="{9639206E-1E34-4EA9-9A19-C076A706E053}"/>
              </a:ext>
            </a:extLst>
          </p:cNvPr>
          <p:cNvPicPr>
            <a:picLocks noChangeAspect="1"/>
          </p:cNvPicPr>
          <p:nvPr/>
        </p:nvPicPr>
        <p:blipFill>
          <a:blip r:embed="rId5"/>
          <a:stretch>
            <a:fillRect/>
          </a:stretch>
        </p:blipFill>
        <p:spPr>
          <a:xfrm>
            <a:off x="2957274" y="1663562"/>
            <a:ext cx="5743381" cy="476132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628935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verarching Change Management Plan</a:t>
            </a:r>
            <a:br>
              <a:rPr lang="en-US" sz="2400" kern="0" dirty="0"/>
            </a:br>
            <a:r>
              <a:rPr lang="en-US" b="0" kern="0" dirty="0"/>
              <a:t>Open the Excel document “Overarching Change Management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2</a:t>
            </a:fld>
            <a:endParaRPr lang="en-US" sz="1000" dirty="0">
              <a:solidFill>
                <a:srgbClr val="ADAFBB"/>
              </a:solidFill>
            </a:endParaRPr>
          </a:p>
        </p:txBody>
      </p:sp>
      <p:pic>
        <p:nvPicPr>
          <p:cNvPr id="5" name="Picture 4" descr="Graphical user interface, application, table, Excel&#10;&#10;Description automatically generated">
            <a:extLst>
              <a:ext uri="{FF2B5EF4-FFF2-40B4-BE49-F238E27FC236}">
                <a16:creationId xmlns:a16="http://schemas.microsoft.com/office/drawing/2014/main" id="{9639206E-1E34-4EA9-9A19-C076A706E053}"/>
              </a:ext>
            </a:extLst>
          </p:cNvPr>
          <p:cNvPicPr>
            <a:picLocks noChangeAspect="1"/>
          </p:cNvPicPr>
          <p:nvPr/>
        </p:nvPicPr>
        <p:blipFill>
          <a:blip r:embed="rId5"/>
          <a:stretch>
            <a:fillRect/>
          </a:stretch>
        </p:blipFill>
        <p:spPr>
          <a:xfrm>
            <a:off x="2957274" y="1663562"/>
            <a:ext cx="5743381" cy="4761328"/>
          </a:xfrm>
          <a:prstGeom prst="rect">
            <a:avLst/>
          </a:prstGeom>
          <a:ln>
            <a:noFill/>
          </a:ln>
          <a:effectLst>
            <a:outerShdw blurRad="292100" dist="139700" dir="2700000" algn="tl" rotWithShape="0">
              <a:srgbClr val="333333">
                <a:alpha val="65000"/>
              </a:srgbClr>
            </a:outerShdw>
          </a:effectLst>
        </p:spPr>
      </p:pic>
      <p:sp>
        <p:nvSpPr>
          <p:cNvPr id="6" name="Rounded Rectangular Callout 19">
            <a:extLst>
              <a:ext uri="{FF2B5EF4-FFF2-40B4-BE49-F238E27FC236}">
                <a16:creationId xmlns:a16="http://schemas.microsoft.com/office/drawing/2014/main" id="{16C2923D-A6F4-4B21-AB51-B7A722DBBEE9}"/>
              </a:ext>
            </a:extLst>
          </p:cNvPr>
          <p:cNvSpPr/>
          <p:nvPr/>
        </p:nvSpPr>
        <p:spPr bwMode="auto">
          <a:xfrm>
            <a:off x="9181195" y="3018728"/>
            <a:ext cx="2475828" cy="2412254"/>
          </a:xfrm>
          <a:prstGeom prst="wedgeRoundRectCallout">
            <a:avLst>
              <a:gd name="adj1" fmla="val -86026"/>
              <a:gd name="adj2" fmla="val -2340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Based on the specificities of your situation, you’ll have to customize the Excel version too.</a:t>
            </a:r>
          </a:p>
          <a:p>
            <a:pPr defTabSz="623853" fontAlgn="base">
              <a:spcBef>
                <a:spcPts val="300"/>
              </a:spcBef>
              <a:spcAft>
                <a:spcPts val="300"/>
              </a:spcAft>
              <a:buClr>
                <a:srgbClr val="000000"/>
              </a:buClr>
            </a:pPr>
            <a:endParaRPr lang="en-US" sz="105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hen you present your deliverable to your hierarchy, keep the Excel version open on your computer, in case your audience wants to deep dive in the plan.</a:t>
            </a:r>
          </a:p>
        </p:txBody>
      </p:sp>
      <p:sp>
        <p:nvSpPr>
          <p:cNvPr id="2" name="Rectangle: Rounded Corners 1">
            <a:extLst>
              <a:ext uri="{FF2B5EF4-FFF2-40B4-BE49-F238E27FC236}">
                <a16:creationId xmlns:a16="http://schemas.microsoft.com/office/drawing/2014/main" id="{29FD5D23-9F9B-EB7C-1075-07C5C988EC6A}"/>
              </a:ext>
            </a:extLst>
          </p:cNvPr>
          <p:cNvSpPr/>
          <p:nvPr/>
        </p:nvSpPr>
        <p:spPr>
          <a:xfrm>
            <a:off x="10208484" y="169253"/>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42117807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302F4AE-CE77-436B-A364-9D9FC8BC6C5A}"/>
              </a:ext>
            </a:extLst>
          </p:cNvPr>
          <p:cNvSpPr/>
          <p:nvPr/>
        </p:nvSpPr>
        <p:spPr bwMode="auto">
          <a:xfrm>
            <a:off x="4271506" y="2705240"/>
            <a:ext cx="2952000" cy="25200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2" name="Chevron 17">
            <a:extLst>
              <a:ext uri="{FF2B5EF4-FFF2-40B4-BE49-F238E27FC236}">
                <a16:creationId xmlns:a16="http://schemas.microsoft.com/office/drawing/2014/main" id="{5D0013F7-EF7F-04FE-EC80-11B72ECC0D7A}"/>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451A0F3C-FD72-DB0C-A9BB-2B5ECF9DEDB6}"/>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4E3A6C91-55A7-ADC5-A381-0CE4C0866FB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6A6E9FAF-E8B5-D9DF-92AD-59BCB44D41EA}"/>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8" name="Rectangle 17">
            <a:extLst>
              <a:ext uri="{FF2B5EF4-FFF2-40B4-BE49-F238E27FC236}">
                <a16:creationId xmlns:a16="http://schemas.microsoft.com/office/drawing/2014/main" id="{487E4BAB-4E8A-7470-0753-9FD77FAAB3B5}"/>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9" name="Straight Connector 18">
            <a:extLst>
              <a:ext uri="{FF2B5EF4-FFF2-40B4-BE49-F238E27FC236}">
                <a16:creationId xmlns:a16="http://schemas.microsoft.com/office/drawing/2014/main" id="{859962B3-B67D-00CE-64E4-0D10DC7EB883}"/>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Chevron 17">
            <a:extLst>
              <a:ext uri="{FF2B5EF4-FFF2-40B4-BE49-F238E27FC236}">
                <a16:creationId xmlns:a16="http://schemas.microsoft.com/office/drawing/2014/main" id="{0C607D86-F533-3BD0-D6E4-9E0271907242}"/>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1" name="Straight Connector 20">
            <a:extLst>
              <a:ext uri="{FF2B5EF4-FFF2-40B4-BE49-F238E27FC236}">
                <a16:creationId xmlns:a16="http://schemas.microsoft.com/office/drawing/2014/main" id="{9B523359-B2FF-4E79-2A75-0E47351DE678}"/>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BF5BD295-0ACD-B0AE-AA66-73ED7B379754}"/>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3" name="Rectangle: Rounded Corners 22">
            <a:extLst>
              <a:ext uri="{FF2B5EF4-FFF2-40B4-BE49-F238E27FC236}">
                <a16:creationId xmlns:a16="http://schemas.microsoft.com/office/drawing/2014/main" id="{E9D1F1D5-A6E2-2B82-45F4-23EF4D814ABF}"/>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4" name="Rectangle: Rounded Corners 23">
            <a:extLst>
              <a:ext uri="{FF2B5EF4-FFF2-40B4-BE49-F238E27FC236}">
                <a16:creationId xmlns:a16="http://schemas.microsoft.com/office/drawing/2014/main" id="{3571F289-1E89-F16E-1AED-8C437E12AB0D}"/>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5" name="Rectangle: Rounded Corners 24">
            <a:extLst>
              <a:ext uri="{FF2B5EF4-FFF2-40B4-BE49-F238E27FC236}">
                <a16:creationId xmlns:a16="http://schemas.microsoft.com/office/drawing/2014/main" id="{1A88289D-32D2-4595-B10B-8DAF8922D4CE}"/>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30B6D0A9-E6A3-B367-5DD4-93B94FB333BD}"/>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637CCC2E-9FAF-1401-1B62-3B8B063DF58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602E80CB-A469-9FAA-2DB8-FCB6358DDAE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89E8783D-0CEC-AE53-92A1-4CBBBC380FD6}"/>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0" name="Rectangle: Rounded Corners 29">
            <a:extLst>
              <a:ext uri="{FF2B5EF4-FFF2-40B4-BE49-F238E27FC236}">
                <a16:creationId xmlns:a16="http://schemas.microsoft.com/office/drawing/2014/main" id="{08FB663E-FD9B-09CD-0DF4-1C88D599311D}"/>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1" name="Rectangle: Rounded Corners 30">
            <a:extLst>
              <a:ext uri="{FF2B5EF4-FFF2-40B4-BE49-F238E27FC236}">
                <a16:creationId xmlns:a16="http://schemas.microsoft.com/office/drawing/2014/main" id="{74F9C3F2-96CD-E0E2-5283-47282F446ED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EE739D0C-1D8A-0C54-74CA-E7F671882C55}"/>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3" name="Rectangle: Rounded Corners 32">
            <a:extLst>
              <a:ext uri="{FF2B5EF4-FFF2-40B4-BE49-F238E27FC236}">
                <a16:creationId xmlns:a16="http://schemas.microsoft.com/office/drawing/2014/main" id="{C5E721A6-5F25-17DB-9417-9B7E6C948B56}"/>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4" name="Rectangle: Rounded Corners 33">
            <a:extLst>
              <a:ext uri="{FF2B5EF4-FFF2-40B4-BE49-F238E27FC236}">
                <a16:creationId xmlns:a16="http://schemas.microsoft.com/office/drawing/2014/main" id="{2450E9E3-28CA-FC75-CF68-FCA97D19BD48}"/>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35" name="Graphic 34" descr="Blueprint outline">
            <a:extLst>
              <a:ext uri="{FF2B5EF4-FFF2-40B4-BE49-F238E27FC236}">
                <a16:creationId xmlns:a16="http://schemas.microsoft.com/office/drawing/2014/main" id="{366E577C-7704-1273-DFEF-3B75D78032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36" name="Graphic 35" descr="Target outline">
            <a:extLst>
              <a:ext uri="{FF2B5EF4-FFF2-40B4-BE49-F238E27FC236}">
                <a16:creationId xmlns:a16="http://schemas.microsoft.com/office/drawing/2014/main" id="{6A9B682C-1741-2AA6-B98F-1F808FE925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37" name="Graphic 36" descr="Clipboard Partially Checked outline">
            <a:extLst>
              <a:ext uri="{FF2B5EF4-FFF2-40B4-BE49-F238E27FC236}">
                <a16:creationId xmlns:a16="http://schemas.microsoft.com/office/drawing/2014/main" id="{67445EE8-2DCA-3260-D0AA-CEFBDCD3D8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15013785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700" kern="0" dirty="0"/>
              <a:t>Communication channel matrix</a:t>
            </a:r>
            <a:br>
              <a:rPr lang="en-US" sz="2400" kern="0" dirty="0"/>
            </a:br>
            <a:r>
              <a:rPr lang="en-GB" sz="2200" b="0" kern="0" dirty="0"/>
              <a:t>The Channel Matrix below will give us a comprehensive list of the key communication channels to consider, from face-to-face meetings to newsletter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Rounded Rectangle 4">
            <a:extLst>
              <a:ext uri="{FF2B5EF4-FFF2-40B4-BE49-F238E27FC236}">
                <a16:creationId xmlns:a16="http://schemas.microsoft.com/office/drawing/2014/main" id="{EE26DFE2-5FB0-4601-A7E3-319697CCA45F}"/>
              </a:ext>
            </a:extLst>
          </p:cNvPr>
          <p:cNvSpPr/>
          <p:nvPr/>
        </p:nvSpPr>
        <p:spPr bwMode="auto">
          <a:xfrm>
            <a:off x="4478165" y="1642707"/>
            <a:ext cx="7108997" cy="1712398"/>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partment or enterpris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Group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ocus gro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One-on-one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oad show presentations (by project team)</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own Hall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eam mee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rown bag lunch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Training courses and workshops</a:t>
            </a:r>
          </a:p>
        </p:txBody>
      </p:sp>
      <p:sp>
        <p:nvSpPr>
          <p:cNvPr id="11" name="Rounded Rectangle 5">
            <a:extLst>
              <a:ext uri="{FF2B5EF4-FFF2-40B4-BE49-F238E27FC236}">
                <a16:creationId xmlns:a16="http://schemas.microsoft.com/office/drawing/2014/main" id="{9A763CF7-0B21-4101-8F2D-5304201EFD7E}"/>
              </a:ext>
            </a:extLst>
          </p:cNvPr>
          <p:cNvSpPr/>
          <p:nvPr/>
        </p:nvSpPr>
        <p:spPr bwMode="auto">
          <a:xfrm>
            <a:off x="2002958" y="1642706"/>
            <a:ext cx="1358476" cy="1712401"/>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Face-to-face options </a:t>
            </a:r>
          </a:p>
        </p:txBody>
      </p:sp>
      <p:sp>
        <p:nvSpPr>
          <p:cNvPr id="12" name="Rounded Rectangle 6">
            <a:extLst>
              <a:ext uri="{FF2B5EF4-FFF2-40B4-BE49-F238E27FC236}">
                <a16:creationId xmlns:a16="http://schemas.microsoft.com/office/drawing/2014/main" id="{1CA6EF8C-323C-4CC7-BFA5-DA5EDC4AA4FB}"/>
              </a:ext>
            </a:extLst>
          </p:cNvPr>
          <p:cNvSpPr/>
          <p:nvPr/>
        </p:nvSpPr>
        <p:spPr bwMode="auto">
          <a:xfrm>
            <a:off x="4478165" y="3450726"/>
            <a:ext cx="7108997" cy="2020506"/>
          </a:xfrm>
          <a:prstGeom prst="rect">
            <a:avLst/>
          </a:prstGeom>
          <a:solidFill>
            <a:schemeClr val="bg1"/>
          </a:solidFill>
          <a:ln>
            <a:noFill/>
          </a:ln>
          <a:effectLst/>
        </p:spPr>
        <p:txBody>
          <a:bodyPr wrap="square" lIns="91428" tIns="45715" rIns="91428" bIns="45715" numCol="2"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Bulletin board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afeteria posting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hange book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orporate newsletters (feature sec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Demonstration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Frequently asked questions (memos or newsletter feature)</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ernal mem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Intranet pop-up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Leafle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os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Project newsletter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ideo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Voicemail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cast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ebsite (Intrane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Word of mouth</a:t>
            </a:r>
          </a:p>
        </p:txBody>
      </p:sp>
      <p:sp>
        <p:nvSpPr>
          <p:cNvPr id="14" name="Rounded Rectangle 7">
            <a:extLst>
              <a:ext uri="{FF2B5EF4-FFF2-40B4-BE49-F238E27FC236}">
                <a16:creationId xmlns:a16="http://schemas.microsoft.com/office/drawing/2014/main" id="{B589247D-75A4-41D4-822E-B528E391FDDA}"/>
              </a:ext>
            </a:extLst>
          </p:cNvPr>
          <p:cNvSpPr/>
          <p:nvPr/>
        </p:nvSpPr>
        <p:spPr bwMode="auto">
          <a:xfrm>
            <a:off x="2002958" y="3450725"/>
            <a:ext cx="1358476" cy="2020509"/>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Alternate communication channels</a:t>
            </a:r>
          </a:p>
        </p:txBody>
      </p:sp>
      <p:sp>
        <p:nvSpPr>
          <p:cNvPr id="15" name="Rounded Rectangle 8">
            <a:extLst>
              <a:ext uri="{FF2B5EF4-FFF2-40B4-BE49-F238E27FC236}">
                <a16:creationId xmlns:a16="http://schemas.microsoft.com/office/drawing/2014/main" id="{FF8961C6-2B9B-48A0-804D-3D6ECDCDC866}"/>
              </a:ext>
            </a:extLst>
          </p:cNvPr>
          <p:cNvSpPr/>
          <p:nvPr/>
        </p:nvSpPr>
        <p:spPr bwMode="auto">
          <a:xfrm>
            <a:off x="4478165" y="5578472"/>
            <a:ext cx="7108997" cy="914400"/>
          </a:xfrm>
          <a:prstGeom prst="rect">
            <a:avLst/>
          </a:prstGeom>
          <a:solidFill>
            <a:schemeClr val="bg1"/>
          </a:solidFill>
          <a:ln>
            <a:noFill/>
          </a:ln>
          <a:effectLst/>
        </p:spPr>
        <p:txBody>
          <a:bodyPr wrap="square" lIns="91428" tIns="45715" rIns="91428" bIns="45715" rtlCol="0" anchor="ctr">
            <a:noAutofit/>
          </a:bodyPr>
          <a:lstStyle/>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Marketplace changes</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Customer input</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Ready-access to information</a:t>
            </a:r>
          </a:p>
          <a:p>
            <a:pPr marL="112713" indent="-112713" defTabSz="623853" fontAlgn="base">
              <a:spcBef>
                <a:spcPts val="100"/>
              </a:spcBef>
              <a:spcAft>
                <a:spcPts val="100"/>
              </a:spcAft>
              <a:buClr>
                <a:srgbClr val="000000"/>
              </a:buClr>
              <a:buFont typeface="Arial" panose="020B0604020202020204" pitchFamily="34" charset="0"/>
              <a:buChar char="•"/>
            </a:pPr>
            <a:r>
              <a:rPr lang="en-US" sz="1050" dirty="0">
                <a:solidFill>
                  <a:schemeClr val="tx2"/>
                </a:solidFill>
              </a:rPr>
              <a:t>Employee rumors</a:t>
            </a:r>
          </a:p>
        </p:txBody>
      </p:sp>
      <p:sp>
        <p:nvSpPr>
          <p:cNvPr id="17" name="Rounded Rectangle 9">
            <a:extLst>
              <a:ext uri="{FF2B5EF4-FFF2-40B4-BE49-F238E27FC236}">
                <a16:creationId xmlns:a16="http://schemas.microsoft.com/office/drawing/2014/main" id="{AB80120D-17DA-4DEF-A9A9-ABC3375C2F1F}"/>
              </a:ext>
            </a:extLst>
          </p:cNvPr>
          <p:cNvSpPr/>
          <p:nvPr/>
        </p:nvSpPr>
        <p:spPr bwMode="auto">
          <a:xfrm>
            <a:off x="590549" y="5578472"/>
            <a:ext cx="2770885" cy="914402"/>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not under direct control of management </a:t>
            </a:r>
          </a:p>
        </p:txBody>
      </p:sp>
      <p:sp>
        <p:nvSpPr>
          <p:cNvPr id="18" name="Rounded Rectangle 11">
            <a:extLst>
              <a:ext uri="{FF2B5EF4-FFF2-40B4-BE49-F238E27FC236}">
                <a16:creationId xmlns:a16="http://schemas.microsoft.com/office/drawing/2014/main" id="{C62ECD01-BABC-4FB7-BC68-9E21970FE570}"/>
              </a:ext>
            </a:extLst>
          </p:cNvPr>
          <p:cNvSpPr/>
          <p:nvPr/>
        </p:nvSpPr>
        <p:spPr bwMode="auto">
          <a:xfrm>
            <a:off x="590549" y="1642706"/>
            <a:ext cx="1358476" cy="3828526"/>
          </a:xfrm>
          <a:prstGeom prst="rect">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hannels under direct control of management </a:t>
            </a:r>
          </a:p>
        </p:txBody>
      </p:sp>
      <p:sp>
        <p:nvSpPr>
          <p:cNvPr id="19" name="Striped Right Arrow 12">
            <a:extLst>
              <a:ext uri="{FF2B5EF4-FFF2-40B4-BE49-F238E27FC236}">
                <a16:creationId xmlns:a16="http://schemas.microsoft.com/office/drawing/2014/main" id="{5ECF368D-DD58-4A4F-B85B-B85BCEBC05F6}"/>
              </a:ext>
            </a:extLst>
          </p:cNvPr>
          <p:cNvSpPr/>
          <p:nvPr/>
        </p:nvSpPr>
        <p:spPr bwMode="auto">
          <a:xfrm>
            <a:off x="3438875" y="2199338"/>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0" name="Striped Right Arrow 14">
            <a:extLst>
              <a:ext uri="{FF2B5EF4-FFF2-40B4-BE49-F238E27FC236}">
                <a16:creationId xmlns:a16="http://schemas.microsoft.com/office/drawing/2014/main" id="{BB98F414-6A57-4581-B881-34CD8397188E}"/>
              </a:ext>
            </a:extLst>
          </p:cNvPr>
          <p:cNvSpPr/>
          <p:nvPr/>
        </p:nvSpPr>
        <p:spPr bwMode="auto">
          <a:xfrm>
            <a:off x="3438875" y="3954555"/>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
        <p:nvSpPr>
          <p:cNvPr id="23" name="Striped Right Arrow 15">
            <a:extLst>
              <a:ext uri="{FF2B5EF4-FFF2-40B4-BE49-F238E27FC236}">
                <a16:creationId xmlns:a16="http://schemas.microsoft.com/office/drawing/2014/main" id="{B3421CFE-9CAC-4425-B41E-A7D85D16ABF3}"/>
              </a:ext>
            </a:extLst>
          </p:cNvPr>
          <p:cNvSpPr/>
          <p:nvPr/>
        </p:nvSpPr>
        <p:spPr bwMode="auto">
          <a:xfrm>
            <a:off x="3438875" y="5671426"/>
            <a:ext cx="915689" cy="798512"/>
          </a:xfrm>
          <a:prstGeom prst="stripedRightArrow">
            <a:avLst/>
          </a:prstGeom>
          <a:solidFill>
            <a:schemeClr val="tx2"/>
          </a:solidFill>
          <a:ln>
            <a:noFill/>
          </a:ln>
          <a:effectLst/>
        </p:spPr>
        <p:txBody>
          <a:bodyPr wrap="square" lIns="0" tIns="45715" rIns="0" bIns="45715" rtlCol="0" anchor="ctr">
            <a:noAutofit/>
          </a:bodyPr>
          <a:lstStyle/>
          <a:p>
            <a:pPr algn="ctr" defTabSz="623853" fontAlgn="base">
              <a:spcBef>
                <a:spcPts val="200"/>
              </a:spcBef>
              <a:spcAft>
                <a:spcPts val="200"/>
              </a:spcAft>
              <a:buClr>
                <a:srgbClr val="000000"/>
              </a:buClr>
            </a:pPr>
            <a:endParaRPr lang="en-US" sz="1200" b="1" dirty="0">
              <a:solidFill>
                <a:schemeClr val="bg1"/>
              </a:solidFill>
              <a:latin typeface="Arial" charset="0"/>
              <a:cs typeface="Times New Roman" pitchFamily="18" charset="0"/>
            </a:endParaRPr>
          </a:p>
        </p:txBody>
      </p:sp>
    </p:spTree>
    <p:extLst>
      <p:ext uri="{BB962C8B-B14F-4D97-AF65-F5344CB8AC3E}">
        <p14:creationId xmlns:p14="http://schemas.microsoft.com/office/powerpoint/2010/main" val="20686659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Summary of our key stakeholder groups &amp; message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18" name="Rounded Rectangle 23">
            <a:extLst>
              <a:ext uri="{FF2B5EF4-FFF2-40B4-BE49-F238E27FC236}">
                <a16:creationId xmlns:a16="http://schemas.microsoft.com/office/drawing/2014/main" id="{580769FC-1DCE-4C03-A71A-58A703D89CB9}"/>
              </a:ext>
            </a:extLst>
          </p:cNvPr>
          <p:cNvSpPr>
            <a:spLocks noChangeArrowheads="1"/>
          </p:cNvSpPr>
          <p:nvPr>
            <p:custDataLst>
              <p:tags r:id="rId2"/>
            </p:custDataLst>
          </p:nvPr>
        </p:nvSpPr>
        <p:spPr bwMode="auto">
          <a:xfrm>
            <a:off x="2298519" y="1586346"/>
            <a:ext cx="92880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Messages</a:t>
            </a:r>
            <a:endParaRPr lang="en-GB" altLang="ja-JP" sz="1200" b="1" baseline="30000" dirty="0">
              <a:solidFill>
                <a:schemeClr val="bg1"/>
              </a:solidFill>
              <a:ea typeface="ＭＳ Ｐゴシック" pitchFamily="50" charset="-128"/>
            </a:endParaRPr>
          </a:p>
        </p:txBody>
      </p:sp>
      <p:sp>
        <p:nvSpPr>
          <p:cNvPr id="19" name="Rounded Rectangle 28">
            <a:extLst>
              <a:ext uri="{FF2B5EF4-FFF2-40B4-BE49-F238E27FC236}">
                <a16:creationId xmlns:a16="http://schemas.microsoft.com/office/drawing/2014/main" id="{CC3F4F47-18D5-4B9F-B910-BF5962D7EDFF}"/>
              </a:ext>
            </a:extLst>
          </p:cNvPr>
          <p:cNvSpPr>
            <a:spLocks noChangeArrowheads="1"/>
          </p:cNvSpPr>
          <p:nvPr>
            <p:custDataLst>
              <p:tags r:id="rId3"/>
            </p:custDataLst>
          </p:nvPr>
        </p:nvSpPr>
        <p:spPr bwMode="auto">
          <a:xfrm>
            <a:off x="595161" y="1586346"/>
            <a:ext cx="16272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takeholder Group</a:t>
            </a:r>
            <a:endParaRPr lang="en-GB" altLang="ja-JP" sz="1200" b="1" baseline="30000" dirty="0">
              <a:solidFill>
                <a:schemeClr val="bg1"/>
              </a:solidFill>
              <a:ea typeface="ＭＳ Ｐゴシック" pitchFamily="50" charset="-128"/>
            </a:endParaRPr>
          </a:p>
        </p:txBody>
      </p:sp>
      <p:sp>
        <p:nvSpPr>
          <p:cNvPr id="17" name="Rounded Rectangle 17">
            <a:extLst>
              <a:ext uri="{FF2B5EF4-FFF2-40B4-BE49-F238E27FC236}">
                <a16:creationId xmlns:a16="http://schemas.microsoft.com/office/drawing/2014/main" id="{AE66D2F2-3BCF-415B-BA73-C0DC7F15EB5B}"/>
              </a:ext>
            </a:extLst>
          </p:cNvPr>
          <p:cNvSpPr/>
          <p:nvPr/>
        </p:nvSpPr>
        <p:spPr bwMode="auto">
          <a:xfrm>
            <a:off x="2298519" y="195651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0" name="Rounded Rectangle 29">
            <a:extLst>
              <a:ext uri="{FF2B5EF4-FFF2-40B4-BE49-F238E27FC236}">
                <a16:creationId xmlns:a16="http://schemas.microsoft.com/office/drawing/2014/main" id="{E16FA462-42B7-4454-8212-ECFCB1D20BC8}"/>
              </a:ext>
            </a:extLst>
          </p:cNvPr>
          <p:cNvSpPr/>
          <p:nvPr/>
        </p:nvSpPr>
        <p:spPr bwMode="auto">
          <a:xfrm>
            <a:off x="595161" y="1956511"/>
            <a:ext cx="1627597"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1" name="Rounded Rectangle 17">
            <a:extLst>
              <a:ext uri="{FF2B5EF4-FFF2-40B4-BE49-F238E27FC236}">
                <a16:creationId xmlns:a16="http://schemas.microsoft.com/office/drawing/2014/main" id="{A76D0572-DFFA-41E3-9C45-2631E746C27E}"/>
              </a:ext>
            </a:extLst>
          </p:cNvPr>
          <p:cNvSpPr/>
          <p:nvPr/>
        </p:nvSpPr>
        <p:spPr bwMode="auto">
          <a:xfrm>
            <a:off x="2298519" y="271898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2" name="Rounded Rectangle 29">
            <a:extLst>
              <a:ext uri="{FF2B5EF4-FFF2-40B4-BE49-F238E27FC236}">
                <a16:creationId xmlns:a16="http://schemas.microsoft.com/office/drawing/2014/main" id="{D577F51C-2637-44D5-9F93-EE44F4D32624}"/>
              </a:ext>
            </a:extLst>
          </p:cNvPr>
          <p:cNvSpPr/>
          <p:nvPr/>
        </p:nvSpPr>
        <p:spPr bwMode="auto">
          <a:xfrm>
            <a:off x="595161" y="271898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3" name="Rounded Rectangle 17">
            <a:extLst>
              <a:ext uri="{FF2B5EF4-FFF2-40B4-BE49-F238E27FC236}">
                <a16:creationId xmlns:a16="http://schemas.microsoft.com/office/drawing/2014/main" id="{F7ECE700-3A8E-474E-8E2A-1001F38D3F06}"/>
              </a:ext>
            </a:extLst>
          </p:cNvPr>
          <p:cNvSpPr/>
          <p:nvPr/>
        </p:nvSpPr>
        <p:spPr bwMode="auto">
          <a:xfrm>
            <a:off x="2298519" y="348145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4" name="Rounded Rectangle 29">
            <a:extLst>
              <a:ext uri="{FF2B5EF4-FFF2-40B4-BE49-F238E27FC236}">
                <a16:creationId xmlns:a16="http://schemas.microsoft.com/office/drawing/2014/main" id="{0CDD1512-CC3B-4A75-8CD3-139B98651A72}"/>
              </a:ext>
            </a:extLst>
          </p:cNvPr>
          <p:cNvSpPr/>
          <p:nvPr/>
        </p:nvSpPr>
        <p:spPr bwMode="auto">
          <a:xfrm>
            <a:off x="595161" y="348145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5" name="Rounded Rectangle 17">
            <a:extLst>
              <a:ext uri="{FF2B5EF4-FFF2-40B4-BE49-F238E27FC236}">
                <a16:creationId xmlns:a16="http://schemas.microsoft.com/office/drawing/2014/main" id="{969B0CF4-E5D8-4489-BBDF-D11FF7DE5488}"/>
              </a:ext>
            </a:extLst>
          </p:cNvPr>
          <p:cNvSpPr/>
          <p:nvPr/>
        </p:nvSpPr>
        <p:spPr bwMode="auto">
          <a:xfrm>
            <a:off x="2298519" y="424392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6" name="Rounded Rectangle 29">
            <a:extLst>
              <a:ext uri="{FF2B5EF4-FFF2-40B4-BE49-F238E27FC236}">
                <a16:creationId xmlns:a16="http://schemas.microsoft.com/office/drawing/2014/main" id="{0CE01FF2-B9BA-48E4-A0CB-5803FE4AAC18}"/>
              </a:ext>
            </a:extLst>
          </p:cNvPr>
          <p:cNvSpPr/>
          <p:nvPr/>
        </p:nvSpPr>
        <p:spPr bwMode="auto">
          <a:xfrm>
            <a:off x="595161" y="424392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7" name="Rounded Rectangle 17">
            <a:extLst>
              <a:ext uri="{FF2B5EF4-FFF2-40B4-BE49-F238E27FC236}">
                <a16:creationId xmlns:a16="http://schemas.microsoft.com/office/drawing/2014/main" id="{F84D0B40-1CE0-4F71-BFAC-CFCB0C14219F}"/>
              </a:ext>
            </a:extLst>
          </p:cNvPr>
          <p:cNvSpPr/>
          <p:nvPr/>
        </p:nvSpPr>
        <p:spPr bwMode="auto">
          <a:xfrm>
            <a:off x="2298519" y="500639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8" name="Rounded Rectangle 29">
            <a:extLst>
              <a:ext uri="{FF2B5EF4-FFF2-40B4-BE49-F238E27FC236}">
                <a16:creationId xmlns:a16="http://schemas.microsoft.com/office/drawing/2014/main" id="{1CF48BFA-0F75-4D21-9654-9526C1A8C680}"/>
              </a:ext>
            </a:extLst>
          </p:cNvPr>
          <p:cNvSpPr/>
          <p:nvPr/>
        </p:nvSpPr>
        <p:spPr bwMode="auto">
          <a:xfrm>
            <a:off x="595161" y="500639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9" name="Rounded Rectangle 17">
            <a:extLst>
              <a:ext uri="{FF2B5EF4-FFF2-40B4-BE49-F238E27FC236}">
                <a16:creationId xmlns:a16="http://schemas.microsoft.com/office/drawing/2014/main" id="{D7C5B2C4-5912-420B-803C-B45EE4EFC83C}"/>
              </a:ext>
            </a:extLst>
          </p:cNvPr>
          <p:cNvSpPr/>
          <p:nvPr/>
        </p:nvSpPr>
        <p:spPr bwMode="auto">
          <a:xfrm>
            <a:off x="2298519" y="576886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30" name="Rounded Rectangle 29">
            <a:extLst>
              <a:ext uri="{FF2B5EF4-FFF2-40B4-BE49-F238E27FC236}">
                <a16:creationId xmlns:a16="http://schemas.microsoft.com/office/drawing/2014/main" id="{5E731592-A4E7-4A29-944A-A8A82E17F246}"/>
              </a:ext>
            </a:extLst>
          </p:cNvPr>
          <p:cNvSpPr/>
          <p:nvPr/>
        </p:nvSpPr>
        <p:spPr bwMode="auto">
          <a:xfrm>
            <a:off x="595161" y="576886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Tree>
    <p:extLst>
      <p:ext uri="{BB962C8B-B14F-4D97-AF65-F5344CB8AC3E}">
        <p14:creationId xmlns:p14="http://schemas.microsoft.com/office/powerpoint/2010/main" val="20645589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Summary of our key stakeholder groups &amp; message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18" name="Rounded Rectangle 23">
            <a:extLst>
              <a:ext uri="{FF2B5EF4-FFF2-40B4-BE49-F238E27FC236}">
                <a16:creationId xmlns:a16="http://schemas.microsoft.com/office/drawing/2014/main" id="{580769FC-1DCE-4C03-A71A-58A703D89CB9}"/>
              </a:ext>
            </a:extLst>
          </p:cNvPr>
          <p:cNvSpPr>
            <a:spLocks noChangeArrowheads="1"/>
          </p:cNvSpPr>
          <p:nvPr>
            <p:custDataLst>
              <p:tags r:id="rId2"/>
            </p:custDataLst>
          </p:nvPr>
        </p:nvSpPr>
        <p:spPr bwMode="auto">
          <a:xfrm>
            <a:off x="2298519" y="1586346"/>
            <a:ext cx="92880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Messages</a:t>
            </a:r>
            <a:endParaRPr lang="en-GB" altLang="ja-JP" sz="1200" b="1" baseline="30000" dirty="0">
              <a:solidFill>
                <a:schemeClr val="bg1"/>
              </a:solidFill>
              <a:ea typeface="ＭＳ Ｐゴシック" pitchFamily="50" charset="-128"/>
            </a:endParaRPr>
          </a:p>
        </p:txBody>
      </p:sp>
      <p:sp>
        <p:nvSpPr>
          <p:cNvPr id="19" name="Rounded Rectangle 28">
            <a:extLst>
              <a:ext uri="{FF2B5EF4-FFF2-40B4-BE49-F238E27FC236}">
                <a16:creationId xmlns:a16="http://schemas.microsoft.com/office/drawing/2014/main" id="{CC3F4F47-18D5-4B9F-B910-BF5962D7EDFF}"/>
              </a:ext>
            </a:extLst>
          </p:cNvPr>
          <p:cNvSpPr>
            <a:spLocks noChangeArrowheads="1"/>
          </p:cNvSpPr>
          <p:nvPr>
            <p:custDataLst>
              <p:tags r:id="rId3"/>
            </p:custDataLst>
          </p:nvPr>
        </p:nvSpPr>
        <p:spPr bwMode="auto">
          <a:xfrm>
            <a:off x="595161" y="1586346"/>
            <a:ext cx="1627200" cy="331709"/>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takeholder Group</a:t>
            </a:r>
            <a:endParaRPr lang="en-GB" altLang="ja-JP" sz="1200" b="1" baseline="30000" dirty="0">
              <a:solidFill>
                <a:schemeClr val="bg1"/>
              </a:solidFill>
              <a:ea typeface="ＭＳ Ｐゴシック" pitchFamily="50" charset="-128"/>
            </a:endParaRPr>
          </a:p>
        </p:txBody>
      </p:sp>
      <p:sp>
        <p:nvSpPr>
          <p:cNvPr id="17" name="Rounded Rectangle 17">
            <a:extLst>
              <a:ext uri="{FF2B5EF4-FFF2-40B4-BE49-F238E27FC236}">
                <a16:creationId xmlns:a16="http://schemas.microsoft.com/office/drawing/2014/main" id="{AE66D2F2-3BCF-415B-BA73-C0DC7F15EB5B}"/>
              </a:ext>
            </a:extLst>
          </p:cNvPr>
          <p:cNvSpPr/>
          <p:nvPr/>
        </p:nvSpPr>
        <p:spPr bwMode="auto">
          <a:xfrm>
            <a:off x="2298519" y="195651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0" name="Rounded Rectangle 29">
            <a:extLst>
              <a:ext uri="{FF2B5EF4-FFF2-40B4-BE49-F238E27FC236}">
                <a16:creationId xmlns:a16="http://schemas.microsoft.com/office/drawing/2014/main" id="{E16FA462-42B7-4454-8212-ECFCB1D20BC8}"/>
              </a:ext>
            </a:extLst>
          </p:cNvPr>
          <p:cNvSpPr/>
          <p:nvPr/>
        </p:nvSpPr>
        <p:spPr bwMode="auto">
          <a:xfrm>
            <a:off x="595161" y="1956511"/>
            <a:ext cx="1627597"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1" name="Rounded Rectangle 17">
            <a:extLst>
              <a:ext uri="{FF2B5EF4-FFF2-40B4-BE49-F238E27FC236}">
                <a16:creationId xmlns:a16="http://schemas.microsoft.com/office/drawing/2014/main" id="{A76D0572-DFFA-41E3-9C45-2631E746C27E}"/>
              </a:ext>
            </a:extLst>
          </p:cNvPr>
          <p:cNvSpPr/>
          <p:nvPr/>
        </p:nvSpPr>
        <p:spPr bwMode="auto">
          <a:xfrm>
            <a:off x="2298519" y="271898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2" name="Rounded Rectangle 29">
            <a:extLst>
              <a:ext uri="{FF2B5EF4-FFF2-40B4-BE49-F238E27FC236}">
                <a16:creationId xmlns:a16="http://schemas.microsoft.com/office/drawing/2014/main" id="{D577F51C-2637-44D5-9F93-EE44F4D32624}"/>
              </a:ext>
            </a:extLst>
          </p:cNvPr>
          <p:cNvSpPr/>
          <p:nvPr/>
        </p:nvSpPr>
        <p:spPr bwMode="auto">
          <a:xfrm>
            <a:off x="595161" y="271898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3" name="Rounded Rectangle 17">
            <a:extLst>
              <a:ext uri="{FF2B5EF4-FFF2-40B4-BE49-F238E27FC236}">
                <a16:creationId xmlns:a16="http://schemas.microsoft.com/office/drawing/2014/main" id="{F7ECE700-3A8E-474E-8E2A-1001F38D3F06}"/>
              </a:ext>
            </a:extLst>
          </p:cNvPr>
          <p:cNvSpPr/>
          <p:nvPr/>
        </p:nvSpPr>
        <p:spPr bwMode="auto">
          <a:xfrm>
            <a:off x="2298519" y="348145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4" name="Rounded Rectangle 29">
            <a:extLst>
              <a:ext uri="{FF2B5EF4-FFF2-40B4-BE49-F238E27FC236}">
                <a16:creationId xmlns:a16="http://schemas.microsoft.com/office/drawing/2014/main" id="{0CDD1512-CC3B-4A75-8CD3-139B98651A72}"/>
              </a:ext>
            </a:extLst>
          </p:cNvPr>
          <p:cNvSpPr/>
          <p:nvPr/>
        </p:nvSpPr>
        <p:spPr bwMode="auto">
          <a:xfrm>
            <a:off x="595161" y="348145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5" name="Rounded Rectangle 17">
            <a:extLst>
              <a:ext uri="{FF2B5EF4-FFF2-40B4-BE49-F238E27FC236}">
                <a16:creationId xmlns:a16="http://schemas.microsoft.com/office/drawing/2014/main" id="{969B0CF4-E5D8-4489-BBDF-D11FF7DE5488}"/>
              </a:ext>
            </a:extLst>
          </p:cNvPr>
          <p:cNvSpPr/>
          <p:nvPr/>
        </p:nvSpPr>
        <p:spPr bwMode="auto">
          <a:xfrm>
            <a:off x="2298519" y="424392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6" name="Rounded Rectangle 29">
            <a:extLst>
              <a:ext uri="{FF2B5EF4-FFF2-40B4-BE49-F238E27FC236}">
                <a16:creationId xmlns:a16="http://schemas.microsoft.com/office/drawing/2014/main" id="{0CE01FF2-B9BA-48E4-A0CB-5803FE4AAC18}"/>
              </a:ext>
            </a:extLst>
          </p:cNvPr>
          <p:cNvSpPr/>
          <p:nvPr/>
        </p:nvSpPr>
        <p:spPr bwMode="auto">
          <a:xfrm>
            <a:off x="595161" y="424392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7" name="Rounded Rectangle 17">
            <a:extLst>
              <a:ext uri="{FF2B5EF4-FFF2-40B4-BE49-F238E27FC236}">
                <a16:creationId xmlns:a16="http://schemas.microsoft.com/office/drawing/2014/main" id="{F84D0B40-1CE0-4F71-BFAC-CFCB0C14219F}"/>
              </a:ext>
            </a:extLst>
          </p:cNvPr>
          <p:cNvSpPr/>
          <p:nvPr/>
        </p:nvSpPr>
        <p:spPr bwMode="auto">
          <a:xfrm>
            <a:off x="2298519" y="500639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28" name="Rounded Rectangle 29">
            <a:extLst>
              <a:ext uri="{FF2B5EF4-FFF2-40B4-BE49-F238E27FC236}">
                <a16:creationId xmlns:a16="http://schemas.microsoft.com/office/drawing/2014/main" id="{1CF48BFA-0F75-4D21-9654-9526C1A8C680}"/>
              </a:ext>
            </a:extLst>
          </p:cNvPr>
          <p:cNvSpPr/>
          <p:nvPr/>
        </p:nvSpPr>
        <p:spPr bwMode="auto">
          <a:xfrm>
            <a:off x="595161" y="500639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29" name="Rounded Rectangle 17">
            <a:extLst>
              <a:ext uri="{FF2B5EF4-FFF2-40B4-BE49-F238E27FC236}">
                <a16:creationId xmlns:a16="http://schemas.microsoft.com/office/drawing/2014/main" id="{D7C5B2C4-5912-420B-803C-B45EE4EFC83C}"/>
              </a:ext>
            </a:extLst>
          </p:cNvPr>
          <p:cNvSpPr/>
          <p:nvPr/>
        </p:nvSpPr>
        <p:spPr bwMode="auto">
          <a:xfrm>
            <a:off x="2298519" y="5768861"/>
            <a:ext cx="9288000" cy="724014"/>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message #3</a:t>
            </a:r>
          </a:p>
        </p:txBody>
      </p:sp>
      <p:sp>
        <p:nvSpPr>
          <p:cNvPr id="30" name="Rounded Rectangle 29">
            <a:extLst>
              <a:ext uri="{FF2B5EF4-FFF2-40B4-BE49-F238E27FC236}">
                <a16:creationId xmlns:a16="http://schemas.microsoft.com/office/drawing/2014/main" id="{5E731592-A4E7-4A29-944A-A8A82E17F246}"/>
              </a:ext>
            </a:extLst>
          </p:cNvPr>
          <p:cNvSpPr/>
          <p:nvPr/>
        </p:nvSpPr>
        <p:spPr bwMode="auto">
          <a:xfrm>
            <a:off x="595161" y="5768861"/>
            <a:ext cx="1627200" cy="724014"/>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Stakeholder Group Name</a:t>
            </a:r>
          </a:p>
        </p:txBody>
      </p:sp>
      <p:sp>
        <p:nvSpPr>
          <p:cNvPr id="31" name="Rounded Rectangular Callout 19">
            <a:extLst>
              <a:ext uri="{FF2B5EF4-FFF2-40B4-BE49-F238E27FC236}">
                <a16:creationId xmlns:a16="http://schemas.microsoft.com/office/drawing/2014/main" id="{C8B18CE9-80D3-42C9-A2D2-12945E77573C}"/>
              </a:ext>
            </a:extLst>
          </p:cNvPr>
          <p:cNvSpPr/>
          <p:nvPr/>
        </p:nvSpPr>
        <p:spPr bwMode="auto">
          <a:xfrm>
            <a:off x="4583726" y="2485589"/>
            <a:ext cx="5309755" cy="3117274"/>
          </a:xfrm>
          <a:prstGeom prst="wedgeRoundRectCallout">
            <a:avLst>
              <a:gd name="adj1" fmla="val -57001"/>
              <a:gd name="adj2" fmla="val -5223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Insert Messages about the business today (e.g. current situation; rationale for change; what might happen if the change does not make)</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Insert Messages about the change (e.g. A vision of the organization after the change takes place; scope of the change; objective of the change; timeframe; alignment between the change and the Business strategy)</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Insert Messages about how the change will impact employees (e.g. The impact of the change on the day-to-day activities of each employee; what’s in it for me from the employees’ perspective; Implications of the change on job security; Specific behaviors and activities expected from the employee; Procedures for getting help and assistance during the change; Ways to provide feedback)</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Insert Messages about updates and progress reports (The schedule for the project overall; When will new information be available; How will information be shared about the project; Major milestones and deliverables; Key decision points; Early success stories)</a:t>
            </a:r>
          </a:p>
        </p:txBody>
      </p:sp>
      <p:sp>
        <p:nvSpPr>
          <p:cNvPr id="2" name="Rectangle: Rounded Corners 1">
            <a:extLst>
              <a:ext uri="{FF2B5EF4-FFF2-40B4-BE49-F238E27FC236}">
                <a16:creationId xmlns:a16="http://schemas.microsoft.com/office/drawing/2014/main" id="{52DE48A4-D142-C733-6C3A-872326B66544}"/>
              </a:ext>
            </a:extLst>
          </p:cNvPr>
          <p:cNvSpPr/>
          <p:nvPr/>
        </p:nvSpPr>
        <p:spPr>
          <a:xfrm>
            <a:off x="10372725" y="326669"/>
            <a:ext cx="1437370"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9424617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Summary of our key stakeholder groups &amp; communication channel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E3627125-C7C8-4F8A-9503-0BFBE3D280F6}"/>
              </a:ext>
            </a:extLst>
          </p:cNvPr>
          <p:cNvSpPr txBox="1"/>
          <p:nvPr/>
        </p:nvSpPr>
        <p:spPr>
          <a:xfrm>
            <a:off x="1788454" y="2355155"/>
            <a:ext cx="1024725" cy="1938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rgbClr val="0072CF"/>
              </a:buClr>
            </a:pPr>
            <a:r>
              <a:rPr lang="en-AU" sz="1400" b="1" dirty="0">
                <a:solidFill>
                  <a:schemeClr val="tx2"/>
                </a:solidFill>
                <a:cs typeface="Arial" pitchFamily="34" charset="0"/>
              </a:rPr>
              <a:t>Stakeholder</a:t>
            </a:r>
          </a:p>
        </p:txBody>
      </p:sp>
      <p:sp>
        <p:nvSpPr>
          <p:cNvPr id="11" name="TextBox 10">
            <a:extLst>
              <a:ext uri="{FF2B5EF4-FFF2-40B4-BE49-F238E27FC236}">
                <a16:creationId xmlns:a16="http://schemas.microsoft.com/office/drawing/2014/main" id="{D350FE79-9604-477C-B647-D16DDB1C3511}"/>
              </a:ext>
            </a:extLst>
          </p:cNvPr>
          <p:cNvSpPr txBox="1"/>
          <p:nvPr/>
        </p:nvSpPr>
        <p:spPr>
          <a:xfrm>
            <a:off x="8913628" y="2240420"/>
            <a:ext cx="1201736" cy="304699"/>
          </a:xfrm>
          <a:prstGeom prst="rect">
            <a:avLst/>
          </a:prstGeom>
          <a:noFill/>
          <a:ln w="6350" cap="flat">
            <a:noFill/>
            <a:miter lim="800000"/>
          </a:ln>
        </p:spPr>
        <p:txBody>
          <a:bodyPr wrap="square" lIns="0" tIns="0" rIns="0" bIns="0" rtlCol="0" anchor="t" anchorCtr="0">
            <a:spAutoFit/>
          </a:bodyPr>
          <a:lstStyle>
            <a:defPPr>
              <a:defRPr lang="en-US"/>
            </a:defPPr>
            <a:lvl1pPr algn="ctr">
              <a:lnSpc>
                <a:spcPct val="90000"/>
              </a:lnSpc>
              <a:spcBef>
                <a:spcPts val="600"/>
              </a:spcBef>
              <a:buClr>
                <a:srgbClr val="0072CF"/>
              </a:buClr>
              <a:defRPr sz="1400" b="1">
                <a:solidFill>
                  <a:schemeClr val="tx2"/>
                </a:solidFill>
                <a:cs typeface="Arial" pitchFamily="34" charset="0"/>
              </a:defRPr>
            </a:lvl1pPr>
          </a:lstStyle>
          <a:p>
            <a:r>
              <a:rPr lang="en-AU" sz="1100" dirty="0"/>
              <a:t>Relationship Owner</a:t>
            </a:r>
          </a:p>
        </p:txBody>
      </p:sp>
      <p:sp>
        <p:nvSpPr>
          <p:cNvPr id="17" name="TextBox 16">
            <a:extLst>
              <a:ext uri="{FF2B5EF4-FFF2-40B4-BE49-F238E27FC236}">
                <a16:creationId xmlns:a16="http://schemas.microsoft.com/office/drawing/2014/main" id="{091DE252-12AF-44B6-BEF3-F6512B125375}"/>
              </a:ext>
            </a:extLst>
          </p:cNvPr>
          <p:cNvSpPr txBox="1"/>
          <p:nvPr/>
        </p:nvSpPr>
        <p:spPr>
          <a:xfrm>
            <a:off x="5021026" y="2309637"/>
            <a:ext cx="560810" cy="12465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rgbClr val="0072CF"/>
              </a:buClr>
            </a:pPr>
            <a:r>
              <a:rPr lang="en-AU" sz="900" b="1" dirty="0">
                <a:cs typeface="Arial" pitchFamily="34" charset="0"/>
              </a:rPr>
              <a:t>Email</a:t>
            </a:r>
          </a:p>
        </p:txBody>
      </p:sp>
      <p:sp>
        <p:nvSpPr>
          <p:cNvPr id="18" name="TextBox 17">
            <a:extLst>
              <a:ext uri="{FF2B5EF4-FFF2-40B4-BE49-F238E27FC236}">
                <a16:creationId xmlns:a16="http://schemas.microsoft.com/office/drawing/2014/main" id="{0CCCFE3A-B7D0-4BFB-BD6E-F9FDFE7815AE}"/>
              </a:ext>
            </a:extLst>
          </p:cNvPr>
          <p:cNvSpPr txBox="1"/>
          <p:nvPr/>
        </p:nvSpPr>
        <p:spPr>
          <a:xfrm>
            <a:off x="5726405" y="2309637"/>
            <a:ext cx="721041" cy="12465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rgbClr val="0072CF"/>
              </a:buClr>
            </a:pPr>
            <a:r>
              <a:rPr lang="en-AU" sz="900" b="1" dirty="0">
                <a:cs typeface="Arial" pitchFamily="34" charset="0"/>
              </a:rPr>
              <a:t>Phone</a:t>
            </a:r>
          </a:p>
        </p:txBody>
      </p:sp>
      <p:sp>
        <p:nvSpPr>
          <p:cNvPr id="19" name="TextBox 18">
            <a:extLst>
              <a:ext uri="{FF2B5EF4-FFF2-40B4-BE49-F238E27FC236}">
                <a16:creationId xmlns:a16="http://schemas.microsoft.com/office/drawing/2014/main" id="{0799F6FB-6F3E-4F0C-A9F0-AB9D0A4A336E}"/>
              </a:ext>
            </a:extLst>
          </p:cNvPr>
          <p:cNvSpPr txBox="1"/>
          <p:nvPr/>
        </p:nvSpPr>
        <p:spPr>
          <a:xfrm>
            <a:off x="6494461" y="2309637"/>
            <a:ext cx="721041" cy="12465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rgbClr val="0072CF"/>
              </a:buClr>
            </a:pPr>
            <a:r>
              <a:rPr lang="en-AU" sz="900" b="1" dirty="0">
                <a:cs typeface="Arial" pitchFamily="34" charset="0"/>
              </a:rPr>
              <a:t>Intranet</a:t>
            </a:r>
          </a:p>
        </p:txBody>
      </p:sp>
      <p:sp>
        <p:nvSpPr>
          <p:cNvPr id="20" name="TextBox 19">
            <a:extLst>
              <a:ext uri="{FF2B5EF4-FFF2-40B4-BE49-F238E27FC236}">
                <a16:creationId xmlns:a16="http://schemas.microsoft.com/office/drawing/2014/main" id="{44839E3E-B430-4761-B271-70915379A0FD}"/>
              </a:ext>
            </a:extLst>
          </p:cNvPr>
          <p:cNvSpPr txBox="1"/>
          <p:nvPr/>
        </p:nvSpPr>
        <p:spPr>
          <a:xfrm>
            <a:off x="4134036" y="2309637"/>
            <a:ext cx="801157" cy="12465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rgbClr val="0072CF"/>
              </a:buClr>
            </a:pPr>
            <a:r>
              <a:rPr lang="en-AU" sz="900" b="1" dirty="0">
                <a:cs typeface="Arial" pitchFamily="34" charset="0"/>
              </a:rPr>
              <a:t>Forum</a:t>
            </a:r>
          </a:p>
        </p:txBody>
      </p:sp>
      <p:sp>
        <p:nvSpPr>
          <p:cNvPr id="23" name="TextBox 22">
            <a:extLst>
              <a:ext uri="{FF2B5EF4-FFF2-40B4-BE49-F238E27FC236}">
                <a16:creationId xmlns:a16="http://schemas.microsoft.com/office/drawing/2014/main" id="{180A41AB-1E9C-4CF7-BEAE-8C52BA868A33}"/>
              </a:ext>
            </a:extLst>
          </p:cNvPr>
          <p:cNvSpPr txBox="1"/>
          <p:nvPr/>
        </p:nvSpPr>
        <p:spPr>
          <a:xfrm>
            <a:off x="3305528" y="2309637"/>
            <a:ext cx="801157" cy="12465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rgbClr val="0072CF"/>
              </a:buClr>
            </a:pPr>
            <a:r>
              <a:rPr lang="en-AU" sz="900" b="1" dirty="0">
                <a:cs typeface="Arial" pitchFamily="34" charset="0"/>
              </a:rPr>
              <a:t>Face to face</a:t>
            </a:r>
          </a:p>
        </p:txBody>
      </p:sp>
      <p:sp>
        <p:nvSpPr>
          <p:cNvPr id="40" name="TextBox 39">
            <a:extLst>
              <a:ext uri="{FF2B5EF4-FFF2-40B4-BE49-F238E27FC236}">
                <a16:creationId xmlns:a16="http://schemas.microsoft.com/office/drawing/2014/main" id="{65592FF1-3C0C-4381-B83A-90FDB176EBD1}"/>
              </a:ext>
            </a:extLst>
          </p:cNvPr>
          <p:cNvSpPr txBox="1"/>
          <p:nvPr/>
        </p:nvSpPr>
        <p:spPr>
          <a:xfrm>
            <a:off x="7246489" y="2309637"/>
            <a:ext cx="801157" cy="12465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rgbClr val="0072CF"/>
              </a:buClr>
            </a:pPr>
            <a:r>
              <a:rPr lang="en-AU" sz="900" b="1" dirty="0">
                <a:cs typeface="Arial" pitchFamily="34" charset="0"/>
              </a:rPr>
              <a:t>Training</a:t>
            </a:r>
          </a:p>
        </p:txBody>
      </p:sp>
      <p:sp>
        <p:nvSpPr>
          <p:cNvPr id="41" name="TextBox 40">
            <a:extLst>
              <a:ext uri="{FF2B5EF4-FFF2-40B4-BE49-F238E27FC236}">
                <a16:creationId xmlns:a16="http://schemas.microsoft.com/office/drawing/2014/main" id="{B74E36B9-6C1D-4EFC-8DE2-53EB1463D3D6}"/>
              </a:ext>
            </a:extLst>
          </p:cNvPr>
          <p:cNvSpPr txBox="1"/>
          <p:nvPr/>
        </p:nvSpPr>
        <p:spPr>
          <a:xfrm>
            <a:off x="8057279" y="2309637"/>
            <a:ext cx="801157" cy="124650"/>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rgbClr val="0072CF"/>
              </a:buClr>
            </a:pPr>
            <a:r>
              <a:rPr lang="en-AU" sz="900" b="1" dirty="0">
                <a:cs typeface="Arial" pitchFamily="34" charset="0"/>
              </a:rPr>
              <a:t>Workshop</a:t>
            </a:r>
          </a:p>
        </p:txBody>
      </p:sp>
      <p:pic>
        <p:nvPicPr>
          <p:cNvPr id="43" name="Graphic 42" descr="Boardroom">
            <a:extLst>
              <a:ext uri="{FF2B5EF4-FFF2-40B4-BE49-F238E27FC236}">
                <a16:creationId xmlns:a16="http://schemas.microsoft.com/office/drawing/2014/main" id="{B0209D04-73DB-4829-8C42-D55A8DBE463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36529" y="1617603"/>
            <a:ext cx="787845" cy="787845"/>
          </a:xfrm>
          <a:prstGeom prst="rect">
            <a:avLst/>
          </a:prstGeom>
        </p:spPr>
      </p:pic>
      <p:pic>
        <p:nvPicPr>
          <p:cNvPr id="44" name="Graphic 43" descr="Email">
            <a:extLst>
              <a:ext uri="{FF2B5EF4-FFF2-40B4-BE49-F238E27FC236}">
                <a16:creationId xmlns:a16="http://schemas.microsoft.com/office/drawing/2014/main" id="{4A36A597-C139-44DB-AB57-2373B1F0242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89760" y="1799022"/>
            <a:ext cx="443874" cy="443874"/>
          </a:xfrm>
          <a:prstGeom prst="rect">
            <a:avLst/>
          </a:prstGeom>
        </p:spPr>
      </p:pic>
      <p:pic>
        <p:nvPicPr>
          <p:cNvPr id="45" name="Graphic 44" descr="Receiver">
            <a:extLst>
              <a:ext uri="{FF2B5EF4-FFF2-40B4-BE49-F238E27FC236}">
                <a16:creationId xmlns:a16="http://schemas.microsoft.com/office/drawing/2014/main" id="{43C1B682-AED6-4ED3-ABA4-6632D762F22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867918" y="1828215"/>
            <a:ext cx="453408" cy="453408"/>
          </a:xfrm>
          <a:prstGeom prst="rect">
            <a:avLst/>
          </a:prstGeom>
        </p:spPr>
      </p:pic>
      <p:pic>
        <p:nvPicPr>
          <p:cNvPr id="46" name="Graphic 45" descr="Classroom">
            <a:extLst>
              <a:ext uri="{FF2B5EF4-FFF2-40B4-BE49-F238E27FC236}">
                <a16:creationId xmlns:a16="http://schemas.microsoft.com/office/drawing/2014/main" id="{9EFA500E-9759-4020-826A-30DA0A28B53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74999" y="1806000"/>
            <a:ext cx="506103" cy="506103"/>
          </a:xfrm>
          <a:prstGeom prst="rect">
            <a:avLst/>
          </a:prstGeom>
        </p:spPr>
      </p:pic>
      <p:pic>
        <p:nvPicPr>
          <p:cNvPr id="47" name="Graphic 46" descr="Browser window">
            <a:extLst>
              <a:ext uri="{FF2B5EF4-FFF2-40B4-BE49-F238E27FC236}">
                <a16:creationId xmlns:a16="http://schemas.microsoft.com/office/drawing/2014/main" id="{B567FD6C-5A2F-4D01-976F-5BEDF212C88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73848" y="1779554"/>
            <a:ext cx="563029" cy="563029"/>
          </a:xfrm>
          <a:prstGeom prst="rect">
            <a:avLst/>
          </a:prstGeom>
        </p:spPr>
      </p:pic>
      <p:pic>
        <p:nvPicPr>
          <p:cNvPr id="48" name="Graphic 47" descr="Lecturer">
            <a:extLst>
              <a:ext uri="{FF2B5EF4-FFF2-40B4-BE49-F238E27FC236}">
                <a16:creationId xmlns:a16="http://schemas.microsoft.com/office/drawing/2014/main" id="{60228584-08D3-4678-BCAC-904E196E4F0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269900" y="1757320"/>
            <a:ext cx="485576" cy="485576"/>
          </a:xfrm>
          <a:prstGeom prst="rect">
            <a:avLst/>
          </a:prstGeom>
        </p:spPr>
      </p:pic>
      <p:pic>
        <p:nvPicPr>
          <p:cNvPr id="49" name="Graphic 48" descr="Tools">
            <a:extLst>
              <a:ext uri="{FF2B5EF4-FFF2-40B4-BE49-F238E27FC236}">
                <a16:creationId xmlns:a16="http://schemas.microsoft.com/office/drawing/2014/main" id="{789E1687-24D3-48AD-802D-2AF19C198512}"/>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215386" y="1835930"/>
            <a:ext cx="445693" cy="445693"/>
          </a:xfrm>
          <a:prstGeom prst="rect">
            <a:avLst/>
          </a:prstGeom>
        </p:spPr>
      </p:pic>
      <p:sp>
        <p:nvSpPr>
          <p:cNvPr id="12" name="Rounded Rectangle 43">
            <a:extLst>
              <a:ext uri="{FF2B5EF4-FFF2-40B4-BE49-F238E27FC236}">
                <a16:creationId xmlns:a16="http://schemas.microsoft.com/office/drawing/2014/main" id="{6D80538A-44F1-4562-A412-6A75B7FD4C5E}"/>
              </a:ext>
            </a:extLst>
          </p:cNvPr>
          <p:cNvSpPr/>
          <p:nvPr/>
        </p:nvSpPr>
        <p:spPr>
          <a:xfrm>
            <a:off x="1265382" y="2643839"/>
            <a:ext cx="1932874" cy="563419"/>
          </a:xfrm>
          <a:prstGeom prst="roundRect">
            <a:avLst>
              <a:gd name="adj" fmla="val 4376"/>
            </a:avLst>
          </a:prstGeom>
          <a:solidFill>
            <a:schemeClr val="tx2"/>
          </a:solidFill>
          <a:ln w="19050" algn="ctr">
            <a:noFill/>
            <a:round/>
            <a:headEnd/>
            <a:tailEnd/>
          </a:ln>
          <a:effectLst/>
        </p:spPr>
        <p:txBody>
          <a:bodyPr lIns="46800" tIns="46800" rIns="46800" bIns="46800" anchor="ctr"/>
          <a:lstStyle/>
          <a:p>
            <a:pPr marL="0" marR="0" lvl="0" indent="0" algn="ctr" defTabSz="914400" eaLnBrk="1" fontAlgn="auto" latinLnBrk="0" hangingPunct="1">
              <a:lnSpc>
                <a:spcPct val="90000"/>
              </a:lnSpc>
              <a:spcBef>
                <a:spcPts val="1400"/>
              </a:spcBef>
              <a:spcAft>
                <a:spcPts val="0"/>
              </a:spcAft>
              <a:buClr>
                <a:srgbClr val="0072CF"/>
              </a:buClr>
              <a:buSzPct val="70000"/>
              <a:buFontTx/>
              <a:buNone/>
              <a:tabLst/>
              <a:defRPr/>
            </a:pPr>
            <a:r>
              <a:rPr kumimoji="0" lang="en-US" sz="1400" b="1" i="0" u="none" strike="noStrike" kern="0" cap="none" spc="0" normalizeH="0" baseline="0" noProof="0" dirty="0">
                <a:ln>
                  <a:noFill/>
                </a:ln>
                <a:solidFill>
                  <a:schemeClr val="bg1"/>
                </a:solidFill>
                <a:effectLst/>
                <a:uLnTx/>
                <a:uFillTx/>
                <a:ea typeface="ＭＳ Ｐゴシック" pitchFamily="-106" charset="-128"/>
                <a:cs typeface="Arial" charset="0"/>
              </a:rPr>
              <a:t>C-suite</a:t>
            </a:r>
            <a:endParaRPr kumimoji="0" lang="en-US" sz="1400" b="1" i="0" u="none" strike="noStrike" kern="0" cap="none" spc="0" normalizeH="0" baseline="0" noProof="0" dirty="0">
              <a:ln>
                <a:noFill/>
              </a:ln>
              <a:solidFill>
                <a:schemeClr val="bg1"/>
              </a:solidFill>
              <a:effectLst/>
              <a:uLnTx/>
              <a:uFillTx/>
              <a:cs typeface="Arial" pitchFamily="34" charset="0"/>
            </a:endParaRPr>
          </a:p>
        </p:txBody>
      </p:sp>
      <p:sp>
        <p:nvSpPr>
          <p:cNvPr id="14" name="Rounded Rectangle 44">
            <a:extLst>
              <a:ext uri="{FF2B5EF4-FFF2-40B4-BE49-F238E27FC236}">
                <a16:creationId xmlns:a16="http://schemas.microsoft.com/office/drawing/2014/main" id="{65E4B976-4769-4BFC-B647-7F3FFDF7B9D6}"/>
              </a:ext>
            </a:extLst>
          </p:cNvPr>
          <p:cNvSpPr/>
          <p:nvPr/>
        </p:nvSpPr>
        <p:spPr>
          <a:xfrm>
            <a:off x="3305528" y="2643839"/>
            <a:ext cx="5582281"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marL="0" marR="0" lvl="0" indent="0" defTabSz="914400" eaLnBrk="1" fontAlgn="auto" latinLnBrk="0" hangingPunct="1">
              <a:lnSpc>
                <a:spcPct val="100000"/>
              </a:lnSpc>
              <a:spcBef>
                <a:spcPts val="600"/>
              </a:spcBef>
              <a:spcAft>
                <a:spcPts val="600"/>
              </a:spcAft>
              <a:buClrTx/>
              <a:buSzTx/>
              <a:buFontTx/>
              <a:buNone/>
              <a:tabLst/>
              <a:defRPr/>
            </a:pPr>
            <a:endParaRPr kumimoji="0" lang="en-AU" sz="1200" b="0" i="0" u="none" strike="noStrike" kern="0" cap="none" spc="0" normalizeH="0" baseline="0" noProof="0" dirty="0">
              <a:ln>
                <a:noFill/>
              </a:ln>
              <a:solidFill>
                <a:srgbClr val="0072CF">
                  <a:lumMod val="75000"/>
                </a:srgbClr>
              </a:solidFill>
              <a:effectLst/>
              <a:uLnTx/>
              <a:uFillTx/>
              <a:ea typeface="ＭＳ Ｐゴシック" pitchFamily="-106" charset="-128"/>
              <a:cs typeface="Arial" charset="0"/>
            </a:endParaRPr>
          </a:p>
        </p:txBody>
      </p:sp>
      <p:sp>
        <p:nvSpPr>
          <p:cNvPr id="15" name="Rounded Rectangle 46">
            <a:extLst>
              <a:ext uri="{FF2B5EF4-FFF2-40B4-BE49-F238E27FC236}">
                <a16:creationId xmlns:a16="http://schemas.microsoft.com/office/drawing/2014/main" id="{AEE01A76-7C0C-411B-A9E6-CB96088E0F8C}"/>
              </a:ext>
            </a:extLst>
          </p:cNvPr>
          <p:cNvSpPr/>
          <p:nvPr/>
        </p:nvSpPr>
        <p:spPr>
          <a:xfrm>
            <a:off x="8993744" y="2643839"/>
            <a:ext cx="1011814"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marL="0" marR="0" lvl="0" indent="0" algn="ctr" defTabSz="914400" eaLnBrk="1" fontAlgn="auto" latinLnBrk="0" hangingPunct="1">
              <a:lnSpc>
                <a:spcPct val="90000"/>
              </a:lnSpc>
              <a:spcBef>
                <a:spcPts val="1400"/>
              </a:spcBef>
              <a:spcAft>
                <a:spcPts val="0"/>
              </a:spcAft>
              <a:buClr>
                <a:srgbClr val="0072CF"/>
              </a:buClr>
              <a:buSzPct val="70000"/>
              <a:buFontTx/>
              <a:buNone/>
              <a:tabLst/>
              <a:defRPr/>
            </a:pPr>
            <a:r>
              <a:rPr kumimoji="0" lang="en-US" sz="1100" b="0" i="0" u="none" strike="noStrike" kern="0" cap="none" spc="0" normalizeH="0" baseline="0" noProof="0" dirty="0">
                <a:ln>
                  <a:noFill/>
                </a:ln>
                <a:solidFill>
                  <a:srgbClr val="0072CF">
                    <a:lumMod val="50000"/>
                  </a:srgbClr>
                </a:solidFill>
                <a:effectLst/>
                <a:uLnTx/>
                <a:uFillTx/>
                <a:ea typeface="ＭＳ Ｐゴシック" pitchFamily="-106" charset="-128"/>
                <a:cs typeface="Arial" charset="0"/>
              </a:rPr>
              <a:t>Insert name</a:t>
            </a:r>
            <a:endParaRPr kumimoji="0" lang="en-US" sz="1100" b="0" i="0" u="none" strike="noStrike" kern="0" cap="none" spc="0" normalizeH="0" baseline="0" noProof="0" dirty="0">
              <a:ln>
                <a:noFill/>
              </a:ln>
              <a:solidFill>
                <a:srgbClr val="0072CF">
                  <a:lumMod val="50000"/>
                </a:srgbClr>
              </a:solidFill>
              <a:effectLst/>
              <a:uLnTx/>
              <a:uFillTx/>
              <a:cs typeface="Arial" pitchFamily="34" charset="0"/>
            </a:endParaRPr>
          </a:p>
        </p:txBody>
      </p:sp>
      <p:cxnSp>
        <p:nvCxnSpPr>
          <p:cNvPr id="25" name="Straight Connector 24">
            <a:extLst>
              <a:ext uri="{FF2B5EF4-FFF2-40B4-BE49-F238E27FC236}">
                <a16:creationId xmlns:a16="http://schemas.microsoft.com/office/drawing/2014/main" id="{E2BF84B6-3B6F-49AA-8B6C-CEB62FF6D891}"/>
              </a:ext>
            </a:extLst>
          </p:cNvPr>
          <p:cNvCxnSpPr/>
          <p:nvPr/>
        </p:nvCxnSpPr>
        <p:spPr>
          <a:xfrm>
            <a:off x="3404574" y="2943848"/>
            <a:ext cx="5407235" cy="0"/>
          </a:xfrm>
          <a:prstGeom prst="line">
            <a:avLst/>
          </a:prstGeom>
          <a:noFill/>
          <a:ln w="19050" cap="flat" cmpd="sng" algn="ctr">
            <a:solidFill>
              <a:srgbClr val="0072CF">
                <a:lumMod val="75000"/>
              </a:srgbClr>
            </a:solidFill>
            <a:prstDash val="solid"/>
            <a:miter lim="800000"/>
            <a:headEnd type="none" w="med" len="med"/>
            <a:tailEnd type="none" w="med" len="med"/>
          </a:ln>
          <a:effectLst/>
        </p:spPr>
      </p:cxnSp>
      <p:sp>
        <p:nvSpPr>
          <p:cNvPr id="26" name="Flowchart: Connector 25">
            <a:extLst>
              <a:ext uri="{FF2B5EF4-FFF2-40B4-BE49-F238E27FC236}">
                <a16:creationId xmlns:a16="http://schemas.microsoft.com/office/drawing/2014/main" id="{A690DEFA-493C-4198-9837-6F2086523405}"/>
              </a:ext>
            </a:extLst>
          </p:cNvPr>
          <p:cNvSpPr/>
          <p:nvPr/>
        </p:nvSpPr>
        <p:spPr bwMode="auto">
          <a:xfrm>
            <a:off x="5229169" y="2844975"/>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7" name="Flowchart: Connector 26">
            <a:extLst>
              <a:ext uri="{FF2B5EF4-FFF2-40B4-BE49-F238E27FC236}">
                <a16:creationId xmlns:a16="http://schemas.microsoft.com/office/drawing/2014/main" id="{79C5C43C-F9C0-44D2-B339-DF9FA57BC08F}"/>
              </a:ext>
            </a:extLst>
          </p:cNvPr>
          <p:cNvSpPr/>
          <p:nvPr/>
        </p:nvSpPr>
        <p:spPr bwMode="auto">
          <a:xfrm>
            <a:off x="6039036" y="2844975"/>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8" name="Rounded Rectangle 50">
            <a:extLst>
              <a:ext uri="{FF2B5EF4-FFF2-40B4-BE49-F238E27FC236}">
                <a16:creationId xmlns:a16="http://schemas.microsoft.com/office/drawing/2014/main" id="{642703DD-23DF-4830-8A49-93EEFEEC3D48}"/>
              </a:ext>
            </a:extLst>
          </p:cNvPr>
          <p:cNvSpPr/>
          <p:nvPr/>
        </p:nvSpPr>
        <p:spPr>
          <a:xfrm>
            <a:off x="1265382" y="3300324"/>
            <a:ext cx="1932874" cy="563419"/>
          </a:xfrm>
          <a:prstGeom prst="roundRect">
            <a:avLst>
              <a:gd name="adj" fmla="val 4376"/>
            </a:avLst>
          </a:prstGeom>
          <a:solidFill>
            <a:schemeClr val="tx2"/>
          </a:solidFill>
          <a:ln w="19050" algn="ctr">
            <a:noFill/>
            <a:round/>
            <a:headEnd/>
            <a:tailEnd/>
          </a:ln>
          <a:effectLst/>
        </p:spPr>
        <p:txBody>
          <a:bodyPr lIns="46800" tIns="46800" rIns="46800" bIns="46800" anchor="ctr"/>
          <a:lstStyle/>
          <a:p>
            <a:pPr marL="0" marR="0" lvl="0" indent="0" algn="ctr" defTabSz="914400" eaLnBrk="1" fontAlgn="auto" latinLnBrk="0" hangingPunct="1">
              <a:lnSpc>
                <a:spcPct val="90000"/>
              </a:lnSpc>
              <a:spcBef>
                <a:spcPts val="1400"/>
              </a:spcBef>
              <a:spcAft>
                <a:spcPts val="0"/>
              </a:spcAft>
              <a:buClr>
                <a:srgbClr val="0072CF"/>
              </a:buClr>
              <a:buSzPct val="70000"/>
              <a:buFontTx/>
              <a:buNone/>
              <a:tabLst/>
              <a:defRPr/>
            </a:pPr>
            <a:r>
              <a:rPr kumimoji="0" lang="en-US" sz="1400" b="1" i="0" u="none" strike="noStrike" kern="0" cap="none" spc="0" normalizeH="0" baseline="0" noProof="0" dirty="0">
                <a:ln>
                  <a:noFill/>
                </a:ln>
                <a:solidFill>
                  <a:schemeClr val="bg1"/>
                </a:solidFill>
                <a:effectLst/>
                <a:uLnTx/>
                <a:uFillTx/>
                <a:ea typeface="ＭＳ Ｐゴシック" pitchFamily="-106" charset="-128"/>
                <a:cs typeface="Arial" charset="0"/>
              </a:rPr>
              <a:t>Senior Managers</a:t>
            </a:r>
            <a:endParaRPr kumimoji="0" lang="en-US" sz="1400" b="1" i="0" u="none" strike="noStrike" kern="0" cap="none" spc="0" normalizeH="0" baseline="0" noProof="0" dirty="0">
              <a:ln>
                <a:noFill/>
              </a:ln>
              <a:solidFill>
                <a:schemeClr val="bg1"/>
              </a:solidFill>
              <a:effectLst/>
              <a:uLnTx/>
              <a:uFillTx/>
              <a:cs typeface="Arial" pitchFamily="34" charset="0"/>
            </a:endParaRPr>
          </a:p>
        </p:txBody>
      </p:sp>
      <p:sp>
        <p:nvSpPr>
          <p:cNvPr id="29" name="Rounded Rectangle 51">
            <a:extLst>
              <a:ext uri="{FF2B5EF4-FFF2-40B4-BE49-F238E27FC236}">
                <a16:creationId xmlns:a16="http://schemas.microsoft.com/office/drawing/2014/main" id="{CB538237-64BD-4BD7-8816-5664599B08CE}"/>
              </a:ext>
            </a:extLst>
          </p:cNvPr>
          <p:cNvSpPr/>
          <p:nvPr/>
        </p:nvSpPr>
        <p:spPr>
          <a:xfrm>
            <a:off x="3305528" y="3300324"/>
            <a:ext cx="5582281"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marL="0" marR="0" lvl="0" indent="0" defTabSz="914400" eaLnBrk="1" fontAlgn="auto" latinLnBrk="0" hangingPunct="1">
              <a:lnSpc>
                <a:spcPct val="100000"/>
              </a:lnSpc>
              <a:spcBef>
                <a:spcPts val="600"/>
              </a:spcBef>
              <a:spcAft>
                <a:spcPts val="600"/>
              </a:spcAft>
              <a:buClrTx/>
              <a:buSzTx/>
              <a:buFontTx/>
              <a:buNone/>
              <a:tabLst/>
              <a:defRPr/>
            </a:pPr>
            <a:endParaRPr kumimoji="0" lang="en-AU" sz="1200" b="0" i="0" u="none" strike="noStrike" kern="0" cap="none" spc="0" normalizeH="0" baseline="0" noProof="0" dirty="0">
              <a:ln>
                <a:noFill/>
              </a:ln>
              <a:solidFill>
                <a:srgbClr val="0072CF">
                  <a:lumMod val="75000"/>
                </a:srgbClr>
              </a:solidFill>
              <a:effectLst/>
              <a:uLnTx/>
              <a:uFillTx/>
              <a:ea typeface="ＭＳ Ｐゴシック" pitchFamily="-106" charset="-128"/>
              <a:cs typeface="Arial" charset="0"/>
            </a:endParaRPr>
          </a:p>
        </p:txBody>
      </p:sp>
      <p:sp>
        <p:nvSpPr>
          <p:cNvPr id="30" name="Rounded Rectangle 52">
            <a:extLst>
              <a:ext uri="{FF2B5EF4-FFF2-40B4-BE49-F238E27FC236}">
                <a16:creationId xmlns:a16="http://schemas.microsoft.com/office/drawing/2014/main" id="{B7F2E048-7E66-48B2-BF14-88F7085E174F}"/>
              </a:ext>
            </a:extLst>
          </p:cNvPr>
          <p:cNvSpPr/>
          <p:nvPr/>
        </p:nvSpPr>
        <p:spPr>
          <a:xfrm>
            <a:off x="8993744" y="3300324"/>
            <a:ext cx="1011814"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lvl="0" algn="ctr">
              <a:lnSpc>
                <a:spcPct val="90000"/>
              </a:lnSpc>
              <a:spcBef>
                <a:spcPts val="1400"/>
              </a:spcBef>
              <a:buClr>
                <a:srgbClr val="0072CF"/>
              </a:buClr>
              <a:buSzPct val="70000"/>
              <a:defRPr/>
            </a:pPr>
            <a:r>
              <a:rPr lang="en-US" sz="1100" kern="0" dirty="0">
                <a:solidFill>
                  <a:srgbClr val="0072CF">
                    <a:lumMod val="50000"/>
                  </a:srgbClr>
                </a:solidFill>
                <a:ea typeface="ＭＳ Ｐゴシック" pitchFamily="-106" charset="-128"/>
                <a:cs typeface="Arial" charset="0"/>
              </a:rPr>
              <a:t>Insert name</a:t>
            </a:r>
            <a:endParaRPr lang="en-US" sz="1100" kern="0" dirty="0">
              <a:solidFill>
                <a:srgbClr val="0072CF">
                  <a:lumMod val="50000"/>
                </a:srgbClr>
              </a:solidFill>
              <a:cs typeface="Arial" pitchFamily="34" charset="0"/>
            </a:endParaRPr>
          </a:p>
        </p:txBody>
      </p:sp>
      <p:cxnSp>
        <p:nvCxnSpPr>
          <p:cNvPr id="31" name="Straight Connector 30">
            <a:extLst>
              <a:ext uri="{FF2B5EF4-FFF2-40B4-BE49-F238E27FC236}">
                <a16:creationId xmlns:a16="http://schemas.microsoft.com/office/drawing/2014/main" id="{388C1653-B78C-4175-A917-ABDE1FE4C0D5}"/>
              </a:ext>
            </a:extLst>
          </p:cNvPr>
          <p:cNvCxnSpPr/>
          <p:nvPr/>
        </p:nvCxnSpPr>
        <p:spPr>
          <a:xfrm>
            <a:off x="3404574" y="3600333"/>
            <a:ext cx="5407235" cy="0"/>
          </a:xfrm>
          <a:prstGeom prst="line">
            <a:avLst/>
          </a:prstGeom>
          <a:noFill/>
          <a:ln w="19050" cap="flat" cmpd="sng" algn="ctr">
            <a:solidFill>
              <a:srgbClr val="0072CF">
                <a:lumMod val="75000"/>
              </a:srgbClr>
            </a:solidFill>
            <a:prstDash val="solid"/>
            <a:miter lim="800000"/>
            <a:headEnd type="none" w="med" len="med"/>
            <a:tailEnd type="none" w="med" len="med"/>
          </a:ln>
          <a:effectLst/>
        </p:spPr>
      </p:cxnSp>
      <p:sp>
        <p:nvSpPr>
          <p:cNvPr id="32" name="Rounded Rectangle 58">
            <a:extLst>
              <a:ext uri="{FF2B5EF4-FFF2-40B4-BE49-F238E27FC236}">
                <a16:creationId xmlns:a16="http://schemas.microsoft.com/office/drawing/2014/main" id="{BC8A3801-6BB6-42B0-987F-B579DA7508C8}"/>
              </a:ext>
            </a:extLst>
          </p:cNvPr>
          <p:cNvSpPr/>
          <p:nvPr/>
        </p:nvSpPr>
        <p:spPr>
          <a:xfrm>
            <a:off x="1265382" y="3968498"/>
            <a:ext cx="1932874" cy="563419"/>
          </a:xfrm>
          <a:prstGeom prst="roundRect">
            <a:avLst>
              <a:gd name="adj" fmla="val 4376"/>
            </a:avLst>
          </a:prstGeom>
          <a:solidFill>
            <a:schemeClr val="tx2"/>
          </a:solidFill>
          <a:ln w="19050" algn="ctr">
            <a:noFill/>
            <a:round/>
            <a:headEnd/>
            <a:tailEnd/>
          </a:ln>
          <a:effectLst/>
        </p:spPr>
        <p:txBody>
          <a:bodyPr lIns="46800" tIns="46800" rIns="46800" bIns="46800" anchor="ctr"/>
          <a:lstStyle/>
          <a:p>
            <a:pPr marL="0" marR="0" lvl="0" indent="0" algn="ctr" defTabSz="914400" eaLnBrk="1" fontAlgn="auto" latinLnBrk="0" hangingPunct="1">
              <a:lnSpc>
                <a:spcPct val="90000"/>
              </a:lnSpc>
              <a:spcBef>
                <a:spcPts val="1400"/>
              </a:spcBef>
              <a:spcAft>
                <a:spcPts val="0"/>
              </a:spcAft>
              <a:buClr>
                <a:srgbClr val="0072CF"/>
              </a:buClr>
              <a:buSzPct val="70000"/>
              <a:buFontTx/>
              <a:buNone/>
              <a:tabLst/>
              <a:defRPr/>
            </a:pPr>
            <a:r>
              <a:rPr kumimoji="0" lang="en-US" sz="1400" b="1" i="0" u="none" strike="noStrike" kern="0" cap="none" spc="0" normalizeH="0" baseline="0" noProof="0" dirty="0">
                <a:ln>
                  <a:noFill/>
                </a:ln>
                <a:solidFill>
                  <a:schemeClr val="bg1"/>
                </a:solidFill>
                <a:effectLst/>
                <a:uLnTx/>
                <a:uFillTx/>
                <a:ea typeface="ＭＳ Ｐゴシック" pitchFamily="-106" charset="-128"/>
                <a:cs typeface="Arial" charset="0"/>
              </a:rPr>
              <a:t>Managers</a:t>
            </a:r>
            <a:endParaRPr kumimoji="0" lang="en-US" sz="1400" b="1" i="0" u="none" strike="noStrike" kern="0" cap="none" spc="0" normalizeH="0" baseline="0" noProof="0" dirty="0">
              <a:ln>
                <a:noFill/>
              </a:ln>
              <a:solidFill>
                <a:schemeClr val="bg1"/>
              </a:solidFill>
              <a:effectLst/>
              <a:uLnTx/>
              <a:uFillTx/>
              <a:cs typeface="Arial" pitchFamily="34" charset="0"/>
            </a:endParaRPr>
          </a:p>
        </p:txBody>
      </p:sp>
      <p:sp>
        <p:nvSpPr>
          <p:cNvPr id="33" name="Rounded Rectangle 59">
            <a:extLst>
              <a:ext uri="{FF2B5EF4-FFF2-40B4-BE49-F238E27FC236}">
                <a16:creationId xmlns:a16="http://schemas.microsoft.com/office/drawing/2014/main" id="{5B0ABA13-F958-48BD-A40F-0E5286883C9C}"/>
              </a:ext>
            </a:extLst>
          </p:cNvPr>
          <p:cNvSpPr/>
          <p:nvPr/>
        </p:nvSpPr>
        <p:spPr>
          <a:xfrm>
            <a:off x="3305528" y="3968498"/>
            <a:ext cx="5582281"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marL="0" marR="0" lvl="0" indent="0" defTabSz="914400" eaLnBrk="1" fontAlgn="auto" latinLnBrk="0" hangingPunct="1">
              <a:lnSpc>
                <a:spcPct val="100000"/>
              </a:lnSpc>
              <a:spcBef>
                <a:spcPts val="600"/>
              </a:spcBef>
              <a:spcAft>
                <a:spcPts val="600"/>
              </a:spcAft>
              <a:buClrTx/>
              <a:buSzTx/>
              <a:buFontTx/>
              <a:buNone/>
              <a:tabLst/>
              <a:defRPr/>
            </a:pPr>
            <a:endParaRPr kumimoji="0" lang="en-AU" sz="1200" b="0" i="0" u="none" strike="noStrike" kern="0" cap="none" spc="0" normalizeH="0" baseline="0" noProof="0" dirty="0">
              <a:ln>
                <a:noFill/>
              </a:ln>
              <a:solidFill>
                <a:srgbClr val="0072CF">
                  <a:lumMod val="75000"/>
                </a:srgbClr>
              </a:solidFill>
              <a:effectLst/>
              <a:uLnTx/>
              <a:uFillTx/>
              <a:ea typeface="ＭＳ Ｐゴシック" pitchFamily="-106" charset="-128"/>
              <a:cs typeface="Arial" charset="0"/>
            </a:endParaRPr>
          </a:p>
        </p:txBody>
      </p:sp>
      <p:sp>
        <p:nvSpPr>
          <p:cNvPr id="34" name="Rounded Rectangle 60">
            <a:extLst>
              <a:ext uri="{FF2B5EF4-FFF2-40B4-BE49-F238E27FC236}">
                <a16:creationId xmlns:a16="http://schemas.microsoft.com/office/drawing/2014/main" id="{3F6A88FB-6A1B-4D0C-8E98-E8C5F7ECB7F9}"/>
              </a:ext>
            </a:extLst>
          </p:cNvPr>
          <p:cNvSpPr/>
          <p:nvPr/>
        </p:nvSpPr>
        <p:spPr>
          <a:xfrm>
            <a:off x="8993744" y="3968498"/>
            <a:ext cx="1011814"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lvl="0" algn="ctr">
              <a:lnSpc>
                <a:spcPct val="90000"/>
              </a:lnSpc>
              <a:spcBef>
                <a:spcPts val="1400"/>
              </a:spcBef>
              <a:buClr>
                <a:srgbClr val="0072CF"/>
              </a:buClr>
              <a:buSzPct val="70000"/>
              <a:defRPr/>
            </a:pPr>
            <a:r>
              <a:rPr lang="en-US" sz="1100" kern="0" dirty="0">
                <a:solidFill>
                  <a:srgbClr val="0072CF">
                    <a:lumMod val="50000"/>
                  </a:srgbClr>
                </a:solidFill>
                <a:ea typeface="ＭＳ Ｐゴシック" pitchFamily="-106" charset="-128"/>
                <a:cs typeface="Arial" charset="0"/>
              </a:rPr>
              <a:t>Insert name</a:t>
            </a:r>
            <a:endParaRPr lang="en-US" sz="1100" kern="0" dirty="0">
              <a:solidFill>
                <a:srgbClr val="0072CF">
                  <a:lumMod val="50000"/>
                </a:srgbClr>
              </a:solidFill>
              <a:cs typeface="Arial" pitchFamily="34" charset="0"/>
            </a:endParaRPr>
          </a:p>
        </p:txBody>
      </p:sp>
      <p:cxnSp>
        <p:nvCxnSpPr>
          <p:cNvPr id="35" name="Straight Connector 34">
            <a:extLst>
              <a:ext uri="{FF2B5EF4-FFF2-40B4-BE49-F238E27FC236}">
                <a16:creationId xmlns:a16="http://schemas.microsoft.com/office/drawing/2014/main" id="{CE520C7C-6D9C-467E-B8AF-522F5AA951EE}"/>
              </a:ext>
            </a:extLst>
          </p:cNvPr>
          <p:cNvCxnSpPr/>
          <p:nvPr/>
        </p:nvCxnSpPr>
        <p:spPr>
          <a:xfrm>
            <a:off x="3404574" y="4268506"/>
            <a:ext cx="5407235" cy="0"/>
          </a:xfrm>
          <a:prstGeom prst="line">
            <a:avLst/>
          </a:prstGeom>
          <a:noFill/>
          <a:ln w="19050" cap="flat" cmpd="sng" algn="ctr">
            <a:solidFill>
              <a:srgbClr val="0072CF">
                <a:lumMod val="75000"/>
              </a:srgbClr>
            </a:solidFill>
            <a:prstDash val="solid"/>
            <a:miter lim="800000"/>
            <a:headEnd type="none" w="med" len="med"/>
            <a:tailEnd type="none" w="med" len="med"/>
          </a:ln>
          <a:effectLst/>
        </p:spPr>
      </p:cxnSp>
      <p:sp>
        <p:nvSpPr>
          <p:cNvPr id="36" name="Rounded Rectangle 66">
            <a:extLst>
              <a:ext uri="{FF2B5EF4-FFF2-40B4-BE49-F238E27FC236}">
                <a16:creationId xmlns:a16="http://schemas.microsoft.com/office/drawing/2014/main" id="{AF69EC5C-2EDE-47F3-83E3-E7CE02608E8D}"/>
              </a:ext>
            </a:extLst>
          </p:cNvPr>
          <p:cNvSpPr/>
          <p:nvPr/>
        </p:nvSpPr>
        <p:spPr>
          <a:xfrm>
            <a:off x="1265382" y="4636659"/>
            <a:ext cx="1932874" cy="563419"/>
          </a:xfrm>
          <a:prstGeom prst="roundRect">
            <a:avLst>
              <a:gd name="adj" fmla="val 4376"/>
            </a:avLst>
          </a:prstGeom>
          <a:solidFill>
            <a:schemeClr val="tx2"/>
          </a:solidFill>
          <a:ln w="19050" algn="ctr">
            <a:noFill/>
            <a:round/>
            <a:headEnd/>
            <a:tailEnd/>
          </a:ln>
          <a:effectLst/>
        </p:spPr>
        <p:txBody>
          <a:bodyPr lIns="46800" tIns="46800" rIns="46800" bIns="46800" anchor="ctr"/>
          <a:lstStyle/>
          <a:p>
            <a:pPr marL="0" marR="0" lvl="0" indent="0" algn="ctr" defTabSz="914400" eaLnBrk="1" fontAlgn="auto" latinLnBrk="0" hangingPunct="1">
              <a:lnSpc>
                <a:spcPct val="90000"/>
              </a:lnSpc>
              <a:spcBef>
                <a:spcPts val="1400"/>
              </a:spcBef>
              <a:spcAft>
                <a:spcPts val="0"/>
              </a:spcAft>
              <a:buClr>
                <a:srgbClr val="0072CF"/>
              </a:buClr>
              <a:buSzPct val="70000"/>
              <a:buFontTx/>
              <a:buNone/>
              <a:tabLst/>
              <a:defRPr/>
            </a:pPr>
            <a:r>
              <a:rPr kumimoji="0" lang="en-US" sz="1400" b="1" i="0" u="none" strike="noStrike" kern="0" cap="none" spc="0" normalizeH="0" baseline="0" noProof="0" dirty="0">
                <a:ln>
                  <a:noFill/>
                </a:ln>
                <a:solidFill>
                  <a:schemeClr val="bg1"/>
                </a:solidFill>
                <a:effectLst/>
                <a:uLnTx/>
                <a:uFillTx/>
                <a:ea typeface="ＭＳ Ｐゴシック" pitchFamily="-106" charset="-128"/>
                <a:cs typeface="Arial" charset="0"/>
              </a:rPr>
              <a:t>Front line</a:t>
            </a:r>
            <a:endParaRPr kumimoji="0" lang="en-US" sz="1400" b="1" i="0" u="none" strike="noStrike" kern="0" cap="none" spc="0" normalizeH="0" baseline="0" noProof="0" dirty="0">
              <a:ln>
                <a:noFill/>
              </a:ln>
              <a:solidFill>
                <a:schemeClr val="bg1"/>
              </a:solidFill>
              <a:effectLst/>
              <a:uLnTx/>
              <a:uFillTx/>
              <a:cs typeface="Arial" pitchFamily="34" charset="0"/>
            </a:endParaRPr>
          </a:p>
        </p:txBody>
      </p:sp>
      <p:sp>
        <p:nvSpPr>
          <p:cNvPr id="37" name="Rounded Rectangle 67">
            <a:extLst>
              <a:ext uri="{FF2B5EF4-FFF2-40B4-BE49-F238E27FC236}">
                <a16:creationId xmlns:a16="http://schemas.microsoft.com/office/drawing/2014/main" id="{B2039F78-C2A8-4716-863A-F4EC0C231DB0}"/>
              </a:ext>
            </a:extLst>
          </p:cNvPr>
          <p:cNvSpPr/>
          <p:nvPr/>
        </p:nvSpPr>
        <p:spPr>
          <a:xfrm>
            <a:off x="3305528" y="4636659"/>
            <a:ext cx="5582281"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marL="0" marR="0" lvl="0" indent="0" defTabSz="914400" eaLnBrk="1" fontAlgn="auto" latinLnBrk="0" hangingPunct="1">
              <a:lnSpc>
                <a:spcPct val="100000"/>
              </a:lnSpc>
              <a:spcBef>
                <a:spcPts val="600"/>
              </a:spcBef>
              <a:spcAft>
                <a:spcPts val="600"/>
              </a:spcAft>
              <a:buClrTx/>
              <a:buSzTx/>
              <a:buFontTx/>
              <a:buNone/>
              <a:tabLst/>
              <a:defRPr/>
            </a:pPr>
            <a:endParaRPr kumimoji="0" lang="en-AU" sz="1200" b="0" i="0" u="none" strike="noStrike" kern="0" cap="none" spc="0" normalizeH="0" baseline="0" noProof="0" dirty="0">
              <a:ln>
                <a:noFill/>
              </a:ln>
              <a:solidFill>
                <a:srgbClr val="0072CF">
                  <a:lumMod val="75000"/>
                </a:srgbClr>
              </a:solidFill>
              <a:effectLst/>
              <a:uLnTx/>
              <a:uFillTx/>
              <a:ea typeface="ＭＳ Ｐゴシック" pitchFamily="-106" charset="-128"/>
              <a:cs typeface="Arial" charset="0"/>
            </a:endParaRPr>
          </a:p>
        </p:txBody>
      </p:sp>
      <p:sp>
        <p:nvSpPr>
          <p:cNvPr id="38" name="Rounded Rectangle 68">
            <a:extLst>
              <a:ext uri="{FF2B5EF4-FFF2-40B4-BE49-F238E27FC236}">
                <a16:creationId xmlns:a16="http://schemas.microsoft.com/office/drawing/2014/main" id="{14FB6F73-91B4-4CA1-9F3B-49E4CDAB48C3}"/>
              </a:ext>
            </a:extLst>
          </p:cNvPr>
          <p:cNvSpPr/>
          <p:nvPr/>
        </p:nvSpPr>
        <p:spPr>
          <a:xfrm>
            <a:off x="8993744" y="4636659"/>
            <a:ext cx="1011814"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lvl="0" algn="ctr">
              <a:lnSpc>
                <a:spcPct val="90000"/>
              </a:lnSpc>
              <a:spcBef>
                <a:spcPts val="1400"/>
              </a:spcBef>
              <a:buClr>
                <a:srgbClr val="0072CF"/>
              </a:buClr>
              <a:buSzPct val="70000"/>
              <a:defRPr/>
            </a:pPr>
            <a:r>
              <a:rPr lang="en-US" sz="1100" kern="0" dirty="0">
                <a:solidFill>
                  <a:srgbClr val="0072CF">
                    <a:lumMod val="50000"/>
                  </a:srgbClr>
                </a:solidFill>
                <a:ea typeface="ＭＳ Ｐゴシック" pitchFamily="-106" charset="-128"/>
                <a:cs typeface="Arial" charset="0"/>
              </a:rPr>
              <a:t>Insert name</a:t>
            </a:r>
            <a:endParaRPr lang="en-US" sz="1100" kern="0" dirty="0">
              <a:solidFill>
                <a:srgbClr val="0072CF">
                  <a:lumMod val="50000"/>
                </a:srgbClr>
              </a:solidFill>
              <a:cs typeface="Arial" pitchFamily="34" charset="0"/>
            </a:endParaRPr>
          </a:p>
        </p:txBody>
      </p:sp>
      <p:cxnSp>
        <p:nvCxnSpPr>
          <p:cNvPr id="39" name="Straight Connector 38">
            <a:extLst>
              <a:ext uri="{FF2B5EF4-FFF2-40B4-BE49-F238E27FC236}">
                <a16:creationId xmlns:a16="http://schemas.microsoft.com/office/drawing/2014/main" id="{CC93EEEA-74F5-478E-A044-F42B75989445}"/>
              </a:ext>
            </a:extLst>
          </p:cNvPr>
          <p:cNvCxnSpPr/>
          <p:nvPr/>
        </p:nvCxnSpPr>
        <p:spPr>
          <a:xfrm>
            <a:off x="3404574" y="4936667"/>
            <a:ext cx="5407235" cy="0"/>
          </a:xfrm>
          <a:prstGeom prst="line">
            <a:avLst/>
          </a:prstGeom>
          <a:noFill/>
          <a:ln w="19050" cap="flat" cmpd="sng" algn="ctr">
            <a:solidFill>
              <a:srgbClr val="0072CF">
                <a:lumMod val="75000"/>
              </a:srgbClr>
            </a:solidFill>
            <a:prstDash val="solid"/>
            <a:miter lim="800000"/>
            <a:headEnd type="none" w="med" len="med"/>
            <a:tailEnd type="none" w="med" len="med"/>
          </a:ln>
          <a:effectLst/>
        </p:spPr>
      </p:cxnSp>
      <p:sp>
        <p:nvSpPr>
          <p:cNvPr id="42" name="Flowchart: Connector 41">
            <a:extLst>
              <a:ext uri="{FF2B5EF4-FFF2-40B4-BE49-F238E27FC236}">
                <a16:creationId xmlns:a16="http://schemas.microsoft.com/office/drawing/2014/main" id="{EF6815D8-D7EC-4BDC-AC50-AE848B80D593}"/>
              </a:ext>
            </a:extLst>
          </p:cNvPr>
          <p:cNvSpPr/>
          <p:nvPr/>
        </p:nvSpPr>
        <p:spPr bwMode="auto">
          <a:xfrm>
            <a:off x="7591369" y="2844975"/>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0" name="Flowchart: Connector 49">
            <a:extLst>
              <a:ext uri="{FF2B5EF4-FFF2-40B4-BE49-F238E27FC236}">
                <a16:creationId xmlns:a16="http://schemas.microsoft.com/office/drawing/2014/main" id="{B78918B0-A2A8-4C81-9BBB-76E443791CB6}"/>
              </a:ext>
            </a:extLst>
          </p:cNvPr>
          <p:cNvSpPr/>
          <p:nvPr/>
        </p:nvSpPr>
        <p:spPr bwMode="auto">
          <a:xfrm>
            <a:off x="5229169" y="3502623"/>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Flowchart: Connector 50">
            <a:extLst>
              <a:ext uri="{FF2B5EF4-FFF2-40B4-BE49-F238E27FC236}">
                <a16:creationId xmlns:a16="http://schemas.microsoft.com/office/drawing/2014/main" id="{86C057BA-CD2F-4BCC-8443-02A3DD6CB070}"/>
              </a:ext>
            </a:extLst>
          </p:cNvPr>
          <p:cNvSpPr/>
          <p:nvPr/>
        </p:nvSpPr>
        <p:spPr bwMode="auto">
          <a:xfrm>
            <a:off x="5229169" y="4168472"/>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2" name="Flowchart: Connector 51">
            <a:extLst>
              <a:ext uri="{FF2B5EF4-FFF2-40B4-BE49-F238E27FC236}">
                <a16:creationId xmlns:a16="http://schemas.microsoft.com/office/drawing/2014/main" id="{80244921-0F35-4D7B-8710-909605E50768}"/>
              </a:ext>
            </a:extLst>
          </p:cNvPr>
          <p:cNvSpPr/>
          <p:nvPr/>
        </p:nvSpPr>
        <p:spPr bwMode="auto">
          <a:xfrm>
            <a:off x="5229169" y="4836633"/>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3" name="Flowchart: Connector 52">
            <a:extLst>
              <a:ext uri="{FF2B5EF4-FFF2-40B4-BE49-F238E27FC236}">
                <a16:creationId xmlns:a16="http://schemas.microsoft.com/office/drawing/2014/main" id="{5CFC5AF9-4BD1-44A2-9374-65F856F004B2}"/>
              </a:ext>
            </a:extLst>
          </p:cNvPr>
          <p:cNvSpPr/>
          <p:nvPr/>
        </p:nvSpPr>
        <p:spPr bwMode="auto">
          <a:xfrm>
            <a:off x="3630317" y="4168472"/>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4" name="Flowchart: Connector 53">
            <a:extLst>
              <a:ext uri="{FF2B5EF4-FFF2-40B4-BE49-F238E27FC236}">
                <a16:creationId xmlns:a16="http://schemas.microsoft.com/office/drawing/2014/main" id="{6027574D-7FF0-4239-AEF4-EF314281757E}"/>
              </a:ext>
            </a:extLst>
          </p:cNvPr>
          <p:cNvSpPr/>
          <p:nvPr/>
        </p:nvSpPr>
        <p:spPr bwMode="auto">
          <a:xfrm>
            <a:off x="6822413" y="3502623"/>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5" name="Rounded Rectangle 58">
            <a:extLst>
              <a:ext uri="{FF2B5EF4-FFF2-40B4-BE49-F238E27FC236}">
                <a16:creationId xmlns:a16="http://schemas.microsoft.com/office/drawing/2014/main" id="{6A746763-A19D-474D-ADBF-28C5B7C6CFD2}"/>
              </a:ext>
            </a:extLst>
          </p:cNvPr>
          <p:cNvSpPr/>
          <p:nvPr/>
        </p:nvSpPr>
        <p:spPr>
          <a:xfrm>
            <a:off x="1265382" y="5304820"/>
            <a:ext cx="1932874" cy="563419"/>
          </a:xfrm>
          <a:prstGeom prst="roundRect">
            <a:avLst>
              <a:gd name="adj" fmla="val 4376"/>
            </a:avLst>
          </a:prstGeom>
          <a:solidFill>
            <a:schemeClr val="tx2"/>
          </a:solidFill>
          <a:ln w="19050" algn="ctr">
            <a:noFill/>
            <a:round/>
            <a:headEnd/>
            <a:tailEnd/>
          </a:ln>
          <a:effectLst/>
        </p:spPr>
        <p:txBody>
          <a:bodyPr lIns="46800" tIns="46800" rIns="46800" bIns="46800" anchor="ctr"/>
          <a:lstStyle/>
          <a:p>
            <a:pPr marL="0" marR="0" lvl="0" indent="0" algn="ctr" defTabSz="914400" eaLnBrk="1" fontAlgn="auto" latinLnBrk="0" hangingPunct="1">
              <a:lnSpc>
                <a:spcPct val="90000"/>
              </a:lnSpc>
              <a:spcBef>
                <a:spcPts val="1400"/>
              </a:spcBef>
              <a:spcAft>
                <a:spcPts val="0"/>
              </a:spcAft>
              <a:buClr>
                <a:srgbClr val="0072CF"/>
              </a:buClr>
              <a:buSzPct val="70000"/>
              <a:buFontTx/>
              <a:buNone/>
              <a:tabLst/>
              <a:defRPr/>
            </a:pPr>
            <a:r>
              <a:rPr kumimoji="0" lang="en-US" sz="1400" b="1" i="0" u="none" strike="noStrike" kern="0" cap="none" spc="0" normalizeH="0" baseline="0" noProof="0" dirty="0">
                <a:ln>
                  <a:noFill/>
                </a:ln>
                <a:solidFill>
                  <a:schemeClr val="bg1"/>
                </a:solidFill>
                <a:effectLst/>
                <a:uLnTx/>
                <a:uFillTx/>
                <a:ea typeface="ＭＳ Ｐゴシック" pitchFamily="-106" charset="-128"/>
                <a:cs typeface="Arial" charset="0"/>
              </a:rPr>
              <a:t>Managers</a:t>
            </a:r>
            <a:endParaRPr kumimoji="0" lang="en-US" sz="1400" b="1" i="0" u="none" strike="noStrike" kern="0" cap="none" spc="0" normalizeH="0" baseline="0" noProof="0" dirty="0">
              <a:ln>
                <a:noFill/>
              </a:ln>
              <a:solidFill>
                <a:schemeClr val="bg1"/>
              </a:solidFill>
              <a:effectLst/>
              <a:uLnTx/>
              <a:uFillTx/>
              <a:cs typeface="Arial" pitchFamily="34" charset="0"/>
            </a:endParaRPr>
          </a:p>
        </p:txBody>
      </p:sp>
      <p:sp>
        <p:nvSpPr>
          <p:cNvPr id="56" name="Rounded Rectangle 59">
            <a:extLst>
              <a:ext uri="{FF2B5EF4-FFF2-40B4-BE49-F238E27FC236}">
                <a16:creationId xmlns:a16="http://schemas.microsoft.com/office/drawing/2014/main" id="{5BB911B3-E6DC-4C01-A7E1-582ABCC05EA7}"/>
              </a:ext>
            </a:extLst>
          </p:cNvPr>
          <p:cNvSpPr/>
          <p:nvPr/>
        </p:nvSpPr>
        <p:spPr>
          <a:xfrm>
            <a:off x="3305528" y="5304820"/>
            <a:ext cx="5582281"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marL="0" marR="0" lvl="0" indent="0" defTabSz="914400" eaLnBrk="1" fontAlgn="auto" latinLnBrk="0" hangingPunct="1">
              <a:lnSpc>
                <a:spcPct val="100000"/>
              </a:lnSpc>
              <a:spcBef>
                <a:spcPts val="600"/>
              </a:spcBef>
              <a:spcAft>
                <a:spcPts val="600"/>
              </a:spcAft>
              <a:buClrTx/>
              <a:buSzTx/>
              <a:buFontTx/>
              <a:buNone/>
              <a:tabLst/>
              <a:defRPr/>
            </a:pPr>
            <a:endParaRPr kumimoji="0" lang="en-AU" sz="1200" b="0" i="0" u="none" strike="noStrike" kern="0" cap="none" spc="0" normalizeH="0" baseline="0" noProof="0" dirty="0">
              <a:ln>
                <a:noFill/>
              </a:ln>
              <a:solidFill>
                <a:srgbClr val="0072CF">
                  <a:lumMod val="75000"/>
                </a:srgbClr>
              </a:solidFill>
              <a:effectLst/>
              <a:uLnTx/>
              <a:uFillTx/>
              <a:ea typeface="ＭＳ Ｐゴシック" pitchFamily="-106" charset="-128"/>
              <a:cs typeface="Arial" charset="0"/>
            </a:endParaRPr>
          </a:p>
        </p:txBody>
      </p:sp>
      <p:sp>
        <p:nvSpPr>
          <p:cNvPr id="57" name="Rounded Rectangle 60">
            <a:extLst>
              <a:ext uri="{FF2B5EF4-FFF2-40B4-BE49-F238E27FC236}">
                <a16:creationId xmlns:a16="http://schemas.microsoft.com/office/drawing/2014/main" id="{FB9ABD10-A1ED-4886-80CD-05CF588E0450}"/>
              </a:ext>
            </a:extLst>
          </p:cNvPr>
          <p:cNvSpPr/>
          <p:nvPr/>
        </p:nvSpPr>
        <p:spPr>
          <a:xfrm>
            <a:off x="8993744" y="5304820"/>
            <a:ext cx="1011814"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lvl="0" algn="ctr">
              <a:lnSpc>
                <a:spcPct val="90000"/>
              </a:lnSpc>
              <a:spcBef>
                <a:spcPts val="1400"/>
              </a:spcBef>
              <a:buClr>
                <a:srgbClr val="0072CF"/>
              </a:buClr>
              <a:buSzPct val="70000"/>
              <a:defRPr/>
            </a:pPr>
            <a:r>
              <a:rPr lang="en-US" sz="1100" kern="0" dirty="0">
                <a:solidFill>
                  <a:srgbClr val="0072CF">
                    <a:lumMod val="50000"/>
                  </a:srgbClr>
                </a:solidFill>
                <a:ea typeface="ＭＳ Ｐゴシック" pitchFamily="-106" charset="-128"/>
                <a:cs typeface="Arial" charset="0"/>
              </a:rPr>
              <a:t>Insert name</a:t>
            </a:r>
            <a:endParaRPr lang="en-US" sz="1100" kern="0" dirty="0">
              <a:solidFill>
                <a:srgbClr val="0072CF">
                  <a:lumMod val="50000"/>
                </a:srgbClr>
              </a:solidFill>
              <a:cs typeface="Arial" pitchFamily="34" charset="0"/>
            </a:endParaRPr>
          </a:p>
        </p:txBody>
      </p:sp>
      <p:cxnSp>
        <p:nvCxnSpPr>
          <p:cNvPr id="58" name="Straight Connector 57">
            <a:extLst>
              <a:ext uri="{FF2B5EF4-FFF2-40B4-BE49-F238E27FC236}">
                <a16:creationId xmlns:a16="http://schemas.microsoft.com/office/drawing/2014/main" id="{A0B42CE6-CF3F-4C70-8642-89B4FA43FB6F}"/>
              </a:ext>
            </a:extLst>
          </p:cNvPr>
          <p:cNvCxnSpPr/>
          <p:nvPr/>
        </p:nvCxnSpPr>
        <p:spPr>
          <a:xfrm>
            <a:off x="3404574" y="5604828"/>
            <a:ext cx="5407235" cy="0"/>
          </a:xfrm>
          <a:prstGeom prst="line">
            <a:avLst/>
          </a:prstGeom>
          <a:noFill/>
          <a:ln w="19050" cap="flat" cmpd="sng" algn="ctr">
            <a:solidFill>
              <a:srgbClr val="0072CF">
                <a:lumMod val="75000"/>
              </a:srgbClr>
            </a:solidFill>
            <a:prstDash val="solid"/>
            <a:miter lim="800000"/>
            <a:headEnd type="none" w="med" len="med"/>
            <a:tailEnd type="none" w="med" len="med"/>
          </a:ln>
          <a:effectLst/>
        </p:spPr>
      </p:cxnSp>
      <p:sp>
        <p:nvSpPr>
          <p:cNvPr id="59" name="Rounded Rectangle 66">
            <a:extLst>
              <a:ext uri="{FF2B5EF4-FFF2-40B4-BE49-F238E27FC236}">
                <a16:creationId xmlns:a16="http://schemas.microsoft.com/office/drawing/2014/main" id="{ECC4FC42-0FEE-40CC-A1DE-A6DB37E00DA2}"/>
              </a:ext>
            </a:extLst>
          </p:cNvPr>
          <p:cNvSpPr/>
          <p:nvPr/>
        </p:nvSpPr>
        <p:spPr>
          <a:xfrm>
            <a:off x="1265382" y="5972981"/>
            <a:ext cx="1932874" cy="563419"/>
          </a:xfrm>
          <a:prstGeom prst="roundRect">
            <a:avLst>
              <a:gd name="adj" fmla="val 4376"/>
            </a:avLst>
          </a:prstGeom>
          <a:solidFill>
            <a:schemeClr val="tx2"/>
          </a:solidFill>
          <a:ln w="19050" algn="ctr">
            <a:noFill/>
            <a:round/>
            <a:headEnd/>
            <a:tailEnd/>
          </a:ln>
          <a:effectLst/>
        </p:spPr>
        <p:txBody>
          <a:bodyPr lIns="46800" tIns="46800" rIns="46800" bIns="46800" anchor="ctr"/>
          <a:lstStyle/>
          <a:p>
            <a:pPr marL="0" marR="0" lvl="0" indent="0" algn="ctr" defTabSz="914400" eaLnBrk="1" fontAlgn="auto" latinLnBrk="0" hangingPunct="1">
              <a:lnSpc>
                <a:spcPct val="90000"/>
              </a:lnSpc>
              <a:spcBef>
                <a:spcPts val="1400"/>
              </a:spcBef>
              <a:spcAft>
                <a:spcPts val="0"/>
              </a:spcAft>
              <a:buClr>
                <a:srgbClr val="0072CF"/>
              </a:buClr>
              <a:buSzPct val="70000"/>
              <a:buFontTx/>
              <a:buNone/>
              <a:tabLst/>
              <a:defRPr/>
            </a:pPr>
            <a:r>
              <a:rPr kumimoji="0" lang="en-US" sz="1400" b="1" i="0" u="none" strike="noStrike" kern="0" cap="none" spc="0" normalizeH="0" baseline="0" noProof="0" dirty="0">
                <a:ln>
                  <a:noFill/>
                </a:ln>
                <a:solidFill>
                  <a:schemeClr val="bg1"/>
                </a:solidFill>
                <a:effectLst/>
                <a:uLnTx/>
                <a:uFillTx/>
                <a:ea typeface="ＭＳ Ｐゴシック" pitchFamily="-106" charset="-128"/>
                <a:cs typeface="Arial" charset="0"/>
              </a:rPr>
              <a:t>Front line</a:t>
            </a:r>
            <a:endParaRPr kumimoji="0" lang="en-US" sz="1400" b="1" i="0" u="none" strike="noStrike" kern="0" cap="none" spc="0" normalizeH="0" baseline="0" noProof="0" dirty="0">
              <a:ln>
                <a:noFill/>
              </a:ln>
              <a:solidFill>
                <a:schemeClr val="bg1"/>
              </a:solidFill>
              <a:effectLst/>
              <a:uLnTx/>
              <a:uFillTx/>
              <a:cs typeface="Arial" pitchFamily="34" charset="0"/>
            </a:endParaRPr>
          </a:p>
        </p:txBody>
      </p:sp>
      <p:sp>
        <p:nvSpPr>
          <p:cNvPr id="60" name="Rounded Rectangle 67">
            <a:extLst>
              <a:ext uri="{FF2B5EF4-FFF2-40B4-BE49-F238E27FC236}">
                <a16:creationId xmlns:a16="http://schemas.microsoft.com/office/drawing/2014/main" id="{A094BC97-2BD9-4A00-92F7-068BD819F46C}"/>
              </a:ext>
            </a:extLst>
          </p:cNvPr>
          <p:cNvSpPr/>
          <p:nvPr/>
        </p:nvSpPr>
        <p:spPr>
          <a:xfrm>
            <a:off x="3305528" y="5972981"/>
            <a:ext cx="5582281"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marL="0" marR="0" lvl="0" indent="0" defTabSz="914400" eaLnBrk="1" fontAlgn="auto" latinLnBrk="0" hangingPunct="1">
              <a:lnSpc>
                <a:spcPct val="100000"/>
              </a:lnSpc>
              <a:spcBef>
                <a:spcPts val="600"/>
              </a:spcBef>
              <a:spcAft>
                <a:spcPts val="600"/>
              </a:spcAft>
              <a:buClrTx/>
              <a:buSzTx/>
              <a:buFontTx/>
              <a:buNone/>
              <a:tabLst/>
              <a:defRPr/>
            </a:pPr>
            <a:endParaRPr kumimoji="0" lang="en-AU" sz="1200" b="0" i="0" u="none" strike="noStrike" kern="0" cap="none" spc="0" normalizeH="0" baseline="0" noProof="0" dirty="0">
              <a:ln>
                <a:noFill/>
              </a:ln>
              <a:solidFill>
                <a:srgbClr val="0072CF">
                  <a:lumMod val="75000"/>
                </a:srgbClr>
              </a:solidFill>
              <a:effectLst/>
              <a:uLnTx/>
              <a:uFillTx/>
              <a:ea typeface="ＭＳ Ｐゴシック" pitchFamily="-106" charset="-128"/>
              <a:cs typeface="Arial" charset="0"/>
            </a:endParaRPr>
          </a:p>
        </p:txBody>
      </p:sp>
      <p:sp>
        <p:nvSpPr>
          <p:cNvPr id="61" name="Rounded Rectangle 68">
            <a:extLst>
              <a:ext uri="{FF2B5EF4-FFF2-40B4-BE49-F238E27FC236}">
                <a16:creationId xmlns:a16="http://schemas.microsoft.com/office/drawing/2014/main" id="{9CC24C77-DB8B-4F75-8E67-8E14F8E87A06}"/>
              </a:ext>
            </a:extLst>
          </p:cNvPr>
          <p:cNvSpPr/>
          <p:nvPr/>
        </p:nvSpPr>
        <p:spPr>
          <a:xfrm>
            <a:off x="8993744" y="5972981"/>
            <a:ext cx="1011814" cy="563419"/>
          </a:xfrm>
          <a:prstGeom prst="roundRect">
            <a:avLst>
              <a:gd name="adj" fmla="val 4376"/>
            </a:avLst>
          </a:prstGeom>
          <a:solidFill>
            <a:schemeClr val="bg1"/>
          </a:solidFill>
          <a:ln w="19050" algn="ctr">
            <a:noFill/>
            <a:round/>
            <a:headEnd/>
            <a:tailEnd/>
          </a:ln>
          <a:effectLst/>
        </p:spPr>
        <p:txBody>
          <a:bodyPr lIns="46800" tIns="46800" rIns="46800" bIns="46800" anchor="ctr"/>
          <a:lstStyle/>
          <a:p>
            <a:pPr lvl="0" algn="ctr">
              <a:lnSpc>
                <a:spcPct val="90000"/>
              </a:lnSpc>
              <a:spcBef>
                <a:spcPts val="1400"/>
              </a:spcBef>
              <a:buClr>
                <a:srgbClr val="0072CF"/>
              </a:buClr>
              <a:buSzPct val="70000"/>
              <a:defRPr/>
            </a:pPr>
            <a:r>
              <a:rPr lang="en-US" sz="1100" kern="0" dirty="0">
                <a:solidFill>
                  <a:srgbClr val="0072CF">
                    <a:lumMod val="50000"/>
                  </a:srgbClr>
                </a:solidFill>
                <a:ea typeface="ＭＳ Ｐゴシック" pitchFamily="-106" charset="-128"/>
                <a:cs typeface="Arial" charset="0"/>
              </a:rPr>
              <a:t>Insert name</a:t>
            </a:r>
            <a:endParaRPr lang="en-US" sz="1100" kern="0" dirty="0">
              <a:solidFill>
                <a:srgbClr val="0072CF">
                  <a:lumMod val="50000"/>
                </a:srgbClr>
              </a:solidFill>
              <a:cs typeface="Arial" pitchFamily="34" charset="0"/>
            </a:endParaRPr>
          </a:p>
        </p:txBody>
      </p:sp>
      <p:cxnSp>
        <p:nvCxnSpPr>
          <p:cNvPr id="62" name="Straight Connector 61">
            <a:extLst>
              <a:ext uri="{FF2B5EF4-FFF2-40B4-BE49-F238E27FC236}">
                <a16:creationId xmlns:a16="http://schemas.microsoft.com/office/drawing/2014/main" id="{4F887953-04DF-4F62-8426-A0C0BC50F1AB}"/>
              </a:ext>
            </a:extLst>
          </p:cNvPr>
          <p:cNvCxnSpPr/>
          <p:nvPr/>
        </p:nvCxnSpPr>
        <p:spPr>
          <a:xfrm>
            <a:off x="3404574" y="6272989"/>
            <a:ext cx="5407235" cy="0"/>
          </a:xfrm>
          <a:prstGeom prst="line">
            <a:avLst/>
          </a:prstGeom>
          <a:noFill/>
          <a:ln w="19050" cap="flat" cmpd="sng" algn="ctr">
            <a:solidFill>
              <a:srgbClr val="0072CF">
                <a:lumMod val="75000"/>
              </a:srgbClr>
            </a:solidFill>
            <a:prstDash val="solid"/>
            <a:miter lim="800000"/>
            <a:headEnd type="none" w="med" len="med"/>
            <a:tailEnd type="none" w="med" len="med"/>
          </a:ln>
          <a:effectLst/>
        </p:spPr>
      </p:cxnSp>
      <p:sp>
        <p:nvSpPr>
          <p:cNvPr id="63" name="Flowchart: Connector 62">
            <a:extLst>
              <a:ext uri="{FF2B5EF4-FFF2-40B4-BE49-F238E27FC236}">
                <a16:creationId xmlns:a16="http://schemas.microsoft.com/office/drawing/2014/main" id="{E69D6547-5528-4159-A9A7-37D93723FE2D}"/>
              </a:ext>
            </a:extLst>
          </p:cNvPr>
          <p:cNvSpPr/>
          <p:nvPr/>
        </p:nvSpPr>
        <p:spPr bwMode="auto">
          <a:xfrm>
            <a:off x="5229169" y="5504794"/>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4" name="Flowchart: Connector 63">
            <a:extLst>
              <a:ext uri="{FF2B5EF4-FFF2-40B4-BE49-F238E27FC236}">
                <a16:creationId xmlns:a16="http://schemas.microsoft.com/office/drawing/2014/main" id="{6901CF6E-D140-473E-8DB1-3C59592C6FD6}"/>
              </a:ext>
            </a:extLst>
          </p:cNvPr>
          <p:cNvSpPr/>
          <p:nvPr/>
        </p:nvSpPr>
        <p:spPr bwMode="auto">
          <a:xfrm>
            <a:off x="5229169" y="6172955"/>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5" name="Flowchart: Connector 64">
            <a:extLst>
              <a:ext uri="{FF2B5EF4-FFF2-40B4-BE49-F238E27FC236}">
                <a16:creationId xmlns:a16="http://schemas.microsoft.com/office/drawing/2014/main" id="{F1A5F777-3618-4B26-8A53-B8D3131A52A2}"/>
              </a:ext>
            </a:extLst>
          </p:cNvPr>
          <p:cNvSpPr/>
          <p:nvPr/>
        </p:nvSpPr>
        <p:spPr bwMode="auto">
          <a:xfrm>
            <a:off x="3630317" y="5504794"/>
            <a:ext cx="200267" cy="197745"/>
          </a:xfrm>
          <a:prstGeom prst="flowChartConnector">
            <a:avLst/>
          </a:prstGeom>
          <a:solidFill>
            <a:srgbClr val="00B050"/>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408537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mmunication Plan</a:t>
            </a:r>
            <a:br>
              <a:rPr lang="en-US" sz="2400" kern="0" dirty="0"/>
            </a:br>
            <a:r>
              <a:rPr lang="en-US" b="0" kern="0" dirty="0"/>
              <a:t>Open the Excel document “Communication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584775"/>
          </a:xfrm>
          <a:prstGeom prst="rect">
            <a:avLst/>
          </a:prstGeom>
          <a:noFill/>
        </p:spPr>
        <p:txBody>
          <a:bodyPr wrap="square" rtlCol="0">
            <a:spAutoFit/>
          </a:bodyPr>
          <a:lstStyle/>
          <a:p>
            <a:r>
              <a:rPr lang="en-GB" sz="1600" b="0" kern="0" dirty="0"/>
              <a:t>This structured communication plan will help us present the right messages, at the right time, in the right format, and from the right sender.</a:t>
            </a:r>
            <a:endParaRPr lang="en-US" sz="1600" dirty="0"/>
          </a:p>
        </p:txBody>
      </p:sp>
      <p:pic>
        <p:nvPicPr>
          <p:cNvPr id="4" name="Picture 3" descr="A screenshot of a computer&#10;&#10;Description automatically generated with medium confidence">
            <a:extLst>
              <a:ext uri="{FF2B5EF4-FFF2-40B4-BE49-F238E27FC236}">
                <a16:creationId xmlns:a16="http://schemas.microsoft.com/office/drawing/2014/main" id="{10672D1D-794A-4DC2-9FD7-0445C100CABD}"/>
              </a:ext>
            </a:extLst>
          </p:cNvPr>
          <p:cNvPicPr>
            <a:picLocks noChangeAspect="1"/>
          </p:cNvPicPr>
          <p:nvPr/>
        </p:nvPicPr>
        <p:blipFill>
          <a:blip r:embed="rId5"/>
          <a:stretch>
            <a:fillRect/>
          </a:stretch>
        </p:blipFill>
        <p:spPr>
          <a:xfrm>
            <a:off x="563419" y="2662839"/>
            <a:ext cx="10659099" cy="15323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265942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302F4AE-CE77-436B-A364-9D9FC8BC6C5A}"/>
              </a:ext>
            </a:extLst>
          </p:cNvPr>
          <p:cNvSpPr/>
          <p:nvPr/>
        </p:nvSpPr>
        <p:spPr bwMode="auto">
          <a:xfrm>
            <a:off x="4271506" y="2933840"/>
            <a:ext cx="2952000" cy="25200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2" name="Chevron 17">
            <a:extLst>
              <a:ext uri="{FF2B5EF4-FFF2-40B4-BE49-F238E27FC236}">
                <a16:creationId xmlns:a16="http://schemas.microsoft.com/office/drawing/2014/main" id="{5D0013F7-EF7F-04FE-EC80-11B72ECC0D7A}"/>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451A0F3C-FD72-DB0C-A9BB-2B5ECF9DEDB6}"/>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4E3A6C91-55A7-ADC5-A381-0CE4C0866FB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6A6E9FAF-E8B5-D9DF-92AD-59BCB44D41EA}"/>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8" name="Rectangle 17">
            <a:extLst>
              <a:ext uri="{FF2B5EF4-FFF2-40B4-BE49-F238E27FC236}">
                <a16:creationId xmlns:a16="http://schemas.microsoft.com/office/drawing/2014/main" id="{487E4BAB-4E8A-7470-0753-9FD77FAAB3B5}"/>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9" name="Straight Connector 18">
            <a:extLst>
              <a:ext uri="{FF2B5EF4-FFF2-40B4-BE49-F238E27FC236}">
                <a16:creationId xmlns:a16="http://schemas.microsoft.com/office/drawing/2014/main" id="{859962B3-B67D-00CE-64E4-0D10DC7EB883}"/>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Chevron 17">
            <a:extLst>
              <a:ext uri="{FF2B5EF4-FFF2-40B4-BE49-F238E27FC236}">
                <a16:creationId xmlns:a16="http://schemas.microsoft.com/office/drawing/2014/main" id="{0C607D86-F533-3BD0-D6E4-9E0271907242}"/>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1" name="Straight Connector 20">
            <a:extLst>
              <a:ext uri="{FF2B5EF4-FFF2-40B4-BE49-F238E27FC236}">
                <a16:creationId xmlns:a16="http://schemas.microsoft.com/office/drawing/2014/main" id="{9B523359-B2FF-4E79-2A75-0E47351DE678}"/>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BF5BD295-0ACD-B0AE-AA66-73ED7B379754}"/>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3" name="Rectangle: Rounded Corners 22">
            <a:extLst>
              <a:ext uri="{FF2B5EF4-FFF2-40B4-BE49-F238E27FC236}">
                <a16:creationId xmlns:a16="http://schemas.microsoft.com/office/drawing/2014/main" id="{E9D1F1D5-A6E2-2B82-45F4-23EF4D814ABF}"/>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4" name="Rectangle: Rounded Corners 23">
            <a:extLst>
              <a:ext uri="{FF2B5EF4-FFF2-40B4-BE49-F238E27FC236}">
                <a16:creationId xmlns:a16="http://schemas.microsoft.com/office/drawing/2014/main" id="{3571F289-1E89-F16E-1AED-8C437E12AB0D}"/>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5" name="Rectangle: Rounded Corners 24">
            <a:extLst>
              <a:ext uri="{FF2B5EF4-FFF2-40B4-BE49-F238E27FC236}">
                <a16:creationId xmlns:a16="http://schemas.microsoft.com/office/drawing/2014/main" id="{1A88289D-32D2-4595-B10B-8DAF8922D4CE}"/>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30B6D0A9-E6A3-B367-5DD4-93B94FB333BD}"/>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637CCC2E-9FAF-1401-1B62-3B8B063DF58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602E80CB-A469-9FAA-2DB8-FCB6358DDAE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89E8783D-0CEC-AE53-92A1-4CBBBC380FD6}"/>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0" name="Rectangle: Rounded Corners 29">
            <a:extLst>
              <a:ext uri="{FF2B5EF4-FFF2-40B4-BE49-F238E27FC236}">
                <a16:creationId xmlns:a16="http://schemas.microsoft.com/office/drawing/2014/main" id="{08FB663E-FD9B-09CD-0DF4-1C88D599311D}"/>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1" name="Rectangle: Rounded Corners 30">
            <a:extLst>
              <a:ext uri="{FF2B5EF4-FFF2-40B4-BE49-F238E27FC236}">
                <a16:creationId xmlns:a16="http://schemas.microsoft.com/office/drawing/2014/main" id="{74F9C3F2-96CD-E0E2-5283-47282F446ED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EE739D0C-1D8A-0C54-74CA-E7F671882C55}"/>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3" name="Rectangle: Rounded Corners 32">
            <a:extLst>
              <a:ext uri="{FF2B5EF4-FFF2-40B4-BE49-F238E27FC236}">
                <a16:creationId xmlns:a16="http://schemas.microsoft.com/office/drawing/2014/main" id="{C5E721A6-5F25-17DB-9417-9B7E6C948B56}"/>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4" name="Rectangle: Rounded Corners 33">
            <a:extLst>
              <a:ext uri="{FF2B5EF4-FFF2-40B4-BE49-F238E27FC236}">
                <a16:creationId xmlns:a16="http://schemas.microsoft.com/office/drawing/2014/main" id="{2450E9E3-28CA-FC75-CF68-FCA97D19BD48}"/>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35" name="Graphic 34" descr="Blueprint outline">
            <a:extLst>
              <a:ext uri="{FF2B5EF4-FFF2-40B4-BE49-F238E27FC236}">
                <a16:creationId xmlns:a16="http://schemas.microsoft.com/office/drawing/2014/main" id="{366E577C-7704-1273-DFEF-3B75D78032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36" name="Graphic 35" descr="Target outline">
            <a:extLst>
              <a:ext uri="{FF2B5EF4-FFF2-40B4-BE49-F238E27FC236}">
                <a16:creationId xmlns:a16="http://schemas.microsoft.com/office/drawing/2014/main" id="{6A9B682C-1741-2AA6-B98F-1F808FE925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37" name="Graphic 36" descr="Clipboard Partially Checked outline">
            <a:extLst>
              <a:ext uri="{FF2B5EF4-FFF2-40B4-BE49-F238E27FC236}">
                <a16:creationId xmlns:a16="http://schemas.microsoft.com/office/drawing/2014/main" id="{67445EE8-2DCA-3260-D0AA-CEFBDCD3D8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2261253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his deliverable will focus on the phase II of our change management 3-phase approach</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2" name="Chevron 17">
            <a:extLst>
              <a:ext uri="{FF2B5EF4-FFF2-40B4-BE49-F238E27FC236}">
                <a16:creationId xmlns:a16="http://schemas.microsoft.com/office/drawing/2014/main" id="{704CB158-0BF3-F378-6128-FE0FDBD9962E}"/>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92EEA3EC-A98F-7027-8AAF-CBD2AE74F51B}"/>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19FADD39-3BD6-2D3B-5D23-636B8BF3AE38}"/>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6" name="Rectangle 5">
            <a:extLst>
              <a:ext uri="{FF2B5EF4-FFF2-40B4-BE49-F238E27FC236}">
                <a16:creationId xmlns:a16="http://schemas.microsoft.com/office/drawing/2014/main" id="{6D89186E-9DF5-15C4-E5B5-8EAB47C3E5D6}"/>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7" name="Rectangle 6">
            <a:extLst>
              <a:ext uri="{FF2B5EF4-FFF2-40B4-BE49-F238E27FC236}">
                <a16:creationId xmlns:a16="http://schemas.microsoft.com/office/drawing/2014/main" id="{BD347ECB-D097-52D4-441B-1FB7D1583D06}"/>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8" name="Straight Connector 7">
            <a:extLst>
              <a:ext uri="{FF2B5EF4-FFF2-40B4-BE49-F238E27FC236}">
                <a16:creationId xmlns:a16="http://schemas.microsoft.com/office/drawing/2014/main" id="{739CC92B-7A12-732B-C306-592FC4B4B9FD}"/>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 name="Chevron 17">
            <a:extLst>
              <a:ext uri="{FF2B5EF4-FFF2-40B4-BE49-F238E27FC236}">
                <a16:creationId xmlns:a16="http://schemas.microsoft.com/office/drawing/2014/main" id="{86BC0E78-83DF-0D4E-0590-1198B4913DB6}"/>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10" name="Straight Connector 9">
            <a:extLst>
              <a:ext uri="{FF2B5EF4-FFF2-40B4-BE49-F238E27FC236}">
                <a16:creationId xmlns:a16="http://schemas.microsoft.com/office/drawing/2014/main" id="{61D392EF-F191-E92E-84D6-ADC88047171D}"/>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F5713260-F375-D403-73A5-F2F6DDC69E52}"/>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12" name="Rectangle: Rounded Corners 11">
            <a:extLst>
              <a:ext uri="{FF2B5EF4-FFF2-40B4-BE49-F238E27FC236}">
                <a16:creationId xmlns:a16="http://schemas.microsoft.com/office/drawing/2014/main" id="{0CFA528C-A247-BABB-C08B-9BBCA98C9E9F}"/>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14" name="Rectangle: Rounded Corners 13">
            <a:extLst>
              <a:ext uri="{FF2B5EF4-FFF2-40B4-BE49-F238E27FC236}">
                <a16:creationId xmlns:a16="http://schemas.microsoft.com/office/drawing/2014/main" id="{8A1725E1-8DCB-53E9-0D15-946BE70352BB}"/>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15" name="Rectangle: Rounded Corners 14">
            <a:extLst>
              <a:ext uri="{FF2B5EF4-FFF2-40B4-BE49-F238E27FC236}">
                <a16:creationId xmlns:a16="http://schemas.microsoft.com/office/drawing/2014/main" id="{7E0D5376-0F70-88DE-3212-DBC2B1D1397B}"/>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17" name="Rectangle: Rounded Corners 16">
            <a:extLst>
              <a:ext uri="{FF2B5EF4-FFF2-40B4-BE49-F238E27FC236}">
                <a16:creationId xmlns:a16="http://schemas.microsoft.com/office/drawing/2014/main" id="{66262E13-3BCC-39A3-657C-8238EAFF7C74}"/>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18" name="Rectangle: Rounded Corners 17">
            <a:extLst>
              <a:ext uri="{FF2B5EF4-FFF2-40B4-BE49-F238E27FC236}">
                <a16:creationId xmlns:a16="http://schemas.microsoft.com/office/drawing/2014/main" id="{C3511ABB-080D-0787-0558-BC7AD984502A}"/>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19" name="Rectangle: Rounded Corners 18">
            <a:extLst>
              <a:ext uri="{FF2B5EF4-FFF2-40B4-BE49-F238E27FC236}">
                <a16:creationId xmlns:a16="http://schemas.microsoft.com/office/drawing/2014/main" id="{6EB73EC8-1836-4B1D-3AF6-489339ED70E4}"/>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0" name="Rectangle: Rounded Corners 19">
            <a:extLst>
              <a:ext uri="{FF2B5EF4-FFF2-40B4-BE49-F238E27FC236}">
                <a16:creationId xmlns:a16="http://schemas.microsoft.com/office/drawing/2014/main" id="{3410B46E-FEA7-F86B-0612-B7F369C8CD3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21" name="Rectangle: Rounded Corners 20">
            <a:extLst>
              <a:ext uri="{FF2B5EF4-FFF2-40B4-BE49-F238E27FC236}">
                <a16:creationId xmlns:a16="http://schemas.microsoft.com/office/drawing/2014/main" id="{83E5DE4F-D818-62BE-3541-F162042B09BC}"/>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22" name="Rectangle: Rounded Corners 21">
            <a:extLst>
              <a:ext uri="{FF2B5EF4-FFF2-40B4-BE49-F238E27FC236}">
                <a16:creationId xmlns:a16="http://schemas.microsoft.com/office/drawing/2014/main" id="{CA01DC20-6D09-62CE-83C1-EA5357295DE8}"/>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23" name="Rectangle: Rounded Corners 22">
            <a:extLst>
              <a:ext uri="{FF2B5EF4-FFF2-40B4-BE49-F238E27FC236}">
                <a16:creationId xmlns:a16="http://schemas.microsoft.com/office/drawing/2014/main" id="{672A2FA1-87E3-69D4-D175-05474B01B028}"/>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24" name="Rectangle: Rounded Corners 23">
            <a:extLst>
              <a:ext uri="{FF2B5EF4-FFF2-40B4-BE49-F238E27FC236}">
                <a16:creationId xmlns:a16="http://schemas.microsoft.com/office/drawing/2014/main" id="{5C836DF5-0DA4-8EAA-5E8F-489A487097F6}"/>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25" name="Rectangle: Rounded Corners 24">
            <a:extLst>
              <a:ext uri="{FF2B5EF4-FFF2-40B4-BE49-F238E27FC236}">
                <a16:creationId xmlns:a16="http://schemas.microsoft.com/office/drawing/2014/main" id="{2169AEF6-0D67-F465-2F93-D6632B101B2B}"/>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26" name="Graphic 25" descr="Blueprint outline">
            <a:extLst>
              <a:ext uri="{FF2B5EF4-FFF2-40B4-BE49-F238E27FC236}">
                <a16:creationId xmlns:a16="http://schemas.microsoft.com/office/drawing/2014/main" id="{9F00BD2E-A6EF-09BB-0569-98D01BD313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27" name="Graphic 26" descr="Target outline">
            <a:extLst>
              <a:ext uri="{FF2B5EF4-FFF2-40B4-BE49-F238E27FC236}">
                <a16:creationId xmlns:a16="http://schemas.microsoft.com/office/drawing/2014/main" id="{70CA1E40-1D8B-37B9-68E1-2F2867F81D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28" name="Graphic 27" descr="Clipboard Partially Checked outline">
            <a:extLst>
              <a:ext uri="{FF2B5EF4-FFF2-40B4-BE49-F238E27FC236}">
                <a16:creationId xmlns:a16="http://schemas.microsoft.com/office/drawing/2014/main" id="{0C976867-A551-1F25-98CA-D209160D3AC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3387366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ummary of our key Sponsors and their Key Activitie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32" name="Rounded Rectangle 23">
            <a:extLst>
              <a:ext uri="{FF2B5EF4-FFF2-40B4-BE49-F238E27FC236}">
                <a16:creationId xmlns:a16="http://schemas.microsoft.com/office/drawing/2014/main" id="{0D7F4757-CBD1-4EB8-B317-B2C3B181A9D3}"/>
              </a:ext>
            </a:extLst>
          </p:cNvPr>
          <p:cNvSpPr>
            <a:spLocks noChangeArrowheads="1"/>
          </p:cNvSpPr>
          <p:nvPr>
            <p:custDataLst>
              <p:tags r:id="rId2"/>
            </p:custDataLst>
          </p:nvPr>
        </p:nvSpPr>
        <p:spPr bwMode="auto">
          <a:xfrm>
            <a:off x="4162860" y="1586346"/>
            <a:ext cx="7423659"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Activities</a:t>
            </a:r>
            <a:endParaRPr lang="en-GB" altLang="ja-JP" sz="1200" b="1" baseline="30000" dirty="0">
              <a:solidFill>
                <a:schemeClr val="bg1"/>
              </a:solidFill>
              <a:ea typeface="ＭＳ Ｐゴシック" pitchFamily="50" charset="-128"/>
            </a:endParaRPr>
          </a:p>
        </p:txBody>
      </p:sp>
      <p:sp>
        <p:nvSpPr>
          <p:cNvPr id="33" name="Rounded Rectangle 28">
            <a:extLst>
              <a:ext uri="{FF2B5EF4-FFF2-40B4-BE49-F238E27FC236}">
                <a16:creationId xmlns:a16="http://schemas.microsoft.com/office/drawing/2014/main" id="{9CD24663-C600-431B-8796-78890D974D61}"/>
              </a:ext>
            </a:extLst>
          </p:cNvPr>
          <p:cNvSpPr>
            <a:spLocks noChangeArrowheads="1"/>
          </p:cNvSpPr>
          <p:nvPr>
            <p:custDataLst>
              <p:tags r:id="rId3"/>
            </p:custDataLst>
          </p:nvPr>
        </p:nvSpPr>
        <p:spPr bwMode="auto">
          <a:xfrm>
            <a:off x="595160" y="1586346"/>
            <a:ext cx="1627200"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Sponsors</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A5F63A6D-C981-49E7-A4BC-4E485FF2CDD8}"/>
              </a:ext>
            </a:extLst>
          </p:cNvPr>
          <p:cNvSpPr>
            <a:spLocks noChangeArrowheads="1"/>
          </p:cNvSpPr>
          <p:nvPr>
            <p:custDataLst>
              <p:tags r:id="rId4"/>
            </p:custDataLst>
          </p:nvPr>
        </p:nvSpPr>
        <p:spPr bwMode="auto">
          <a:xfrm>
            <a:off x="2298010" y="1586346"/>
            <a:ext cx="1787786"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Name of the change</a:t>
            </a:r>
            <a:endParaRPr lang="en-GB" altLang="ja-JP" sz="1200" b="1" baseline="30000" dirty="0">
              <a:solidFill>
                <a:schemeClr val="bg1"/>
              </a:solidFill>
              <a:ea typeface="ＭＳ Ｐゴシック" pitchFamily="50" charset="-128"/>
            </a:endParaRPr>
          </a:p>
        </p:txBody>
      </p:sp>
      <p:sp>
        <p:nvSpPr>
          <p:cNvPr id="31" name="Rounded Rectangle 17">
            <a:extLst>
              <a:ext uri="{FF2B5EF4-FFF2-40B4-BE49-F238E27FC236}">
                <a16:creationId xmlns:a16="http://schemas.microsoft.com/office/drawing/2014/main" id="{DF74D316-5127-4A6C-A987-373FC49F9E35}"/>
              </a:ext>
            </a:extLst>
          </p:cNvPr>
          <p:cNvSpPr/>
          <p:nvPr/>
        </p:nvSpPr>
        <p:spPr bwMode="auto">
          <a:xfrm>
            <a:off x="4162860" y="1956432"/>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4" name="Rounded Rectangle 29">
            <a:extLst>
              <a:ext uri="{FF2B5EF4-FFF2-40B4-BE49-F238E27FC236}">
                <a16:creationId xmlns:a16="http://schemas.microsoft.com/office/drawing/2014/main" id="{A1DA4689-BC95-4035-B651-F1DF6559D2F4}"/>
              </a:ext>
            </a:extLst>
          </p:cNvPr>
          <p:cNvSpPr/>
          <p:nvPr/>
        </p:nvSpPr>
        <p:spPr bwMode="auto">
          <a:xfrm>
            <a:off x="595160" y="1956432"/>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6" name="Rounded Rectangle 29">
            <a:extLst>
              <a:ext uri="{FF2B5EF4-FFF2-40B4-BE49-F238E27FC236}">
                <a16:creationId xmlns:a16="http://schemas.microsoft.com/office/drawing/2014/main" id="{5ECDA966-9362-4D5F-9D63-4CC2EA276BE7}"/>
              </a:ext>
            </a:extLst>
          </p:cNvPr>
          <p:cNvSpPr/>
          <p:nvPr/>
        </p:nvSpPr>
        <p:spPr bwMode="auto">
          <a:xfrm>
            <a:off x="2298010" y="1956432"/>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5" name="Rounded Rectangle 17">
            <a:extLst>
              <a:ext uri="{FF2B5EF4-FFF2-40B4-BE49-F238E27FC236}">
                <a16:creationId xmlns:a16="http://schemas.microsoft.com/office/drawing/2014/main" id="{67789333-AC7E-4ACC-AFC6-D8E5694C1523}"/>
              </a:ext>
            </a:extLst>
          </p:cNvPr>
          <p:cNvSpPr/>
          <p:nvPr/>
        </p:nvSpPr>
        <p:spPr bwMode="auto">
          <a:xfrm>
            <a:off x="4162860" y="2718918"/>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6" name="Rounded Rectangle 29">
            <a:extLst>
              <a:ext uri="{FF2B5EF4-FFF2-40B4-BE49-F238E27FC236}">
                <a16:creationId xmlns:a16="http://schemas.microsoft.com/office/drawing/2014/main" id="{0B81B725-8B34-4D92-BF79-CD92B9EAB501}"/>
              </a:ext>
            </a:extLst>
          </p:cNvPr>
          <p:cNvSpPr/>
          <p:nvPr/>
        </p:nvSpPr>
        <p:spPr bwMode="auto">
          <a:xfrm>
            <a:off x="595160" y="2718918"/>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7" name="Rounded Rectangle 29">
            <a:extLst>
              <a:ext uri="{FF2B5EF4-FFF2-40B4-BE49-F238E27FC236}">
                <a16:creationId xmlns:a16="http://schemas.microsoft.com/office/drawing/2014/main" id="{743A19D9-25D7-4BD7-84C4-9A3E1284B8F9}"/>
              </a:ext>
            </a:extLst>
          </p:cNvPr>
          <p:cNvSpPr/>
          <p:nvPr/>
        </p:nvSpPr>
        <p:spPr bwMode="auto">
          <a:xfrm>
            <a:off x="2298010" y="2718918"/>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7" name="Rounded Rectangle 17">
            <a:extLst>
              <a:ext uri="{FF2B5EF4-FFF2-40B4-BE49-F238E27FC236}">
                <a16:creationId xmlns:a16="http://schemas.microsoft.com/office/drawing/2014/main" id="{C22ADBC9-29C0-40BE-8EBC-C552C5E783CF}"/>
              </a:ext>
            </a:extLst>
          </p:cNvPr>
          <p:cNvSpPr/>
          <p:nvPr/>
        </p:nvSpPr>
        <p:spPr bwMode="auto">
          <a:xfrm>
            <a:off x="4162860" y="3481404"/>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8" name="Rounded Rectangle 29">
            <a:extLst>
              <a:ext uri="{FF2B5EF4-FFF2-40B4-BE49-F238E27FC236}">
                <a16:creationId xmlns:a16="http://schemas.microsoft.com/office/drawing/2014/main" id="{40E2F226-A7DD-44A1-B823-73FA7A0D9C4D}"/>
              </a:ext>
            </a:extLst>
          </p:cNvPr>
          <p:cNvSpPr/>
          <p:nvPr/>
        </p:nvSpPr>
        <p:spPr bwMode="auto">
          <a:xfrm>
            <a:off x="595160" y="3481404"/>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8" name="Rounded Rectangle 29">
            <a:extLst>
              <a:ext uri="{FF2B5EF4-FFF2-40B4-BE49-F238E27FC236}">
                <a16:creationId xmlns:a16="http://schemas.microsoft.com/office/drawing/2014/main" id="{CAA10C12-9242-4609-A2C2-92E2FD0C2B05}"/>
              </a:ext>
            </a:extLst>
          </p:cNvPr>
          <p:cNvSpPr/>
          <p:nvPr/>
        </p:nvSpPr>
        <p:spPr bwMode="auto">
          <a:xfrm>
            <a:off x="2298010" y="3481404"/>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9" name="Rounded Rectangle 17">
            <a:extLst>
              <a:ext uri="{FF2B5EF4-FFF2-40B4-BE49-F238E27FC236}">
                <a16:creationId xmlns:a16="http://schemas.microsoft.com/office/drawing/2014/main" id="{3AAB47D7-5215-4104-AE53-6879B54C5559}"/>
              </a:ext>
            </a:extLst>
          </p:cNvPr>
          <p:cNvSpPr/>
          <p:nvPr/>
        </p:nvSpPr>
        <p:spPr bwMode="auto">
          <a:xfrm>
            <a:off x="4162860" y="4243890"/>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0" name="Rounded Rectangle 29">
            <a:extLst>
              <a:ext uri="{FF2B5EF4-FFF2-40B4-BE49-F238E27FC236}">
                <a16:creationId xmlns:a16="http://schemas.microsoft.com/office/drawing/2014/main" id="{86FCAF59-0FE6-4DFD-A043-E2FD3492985F}"/>
              </a:ext>
            </a:extLst>
          </p:cNvPr>
          <p:cNvSpPr/>
          <p:nvPr/>
        </p:nvSpPr>
        <p:spPr bwMode="auto">
          <a:xfrm>
            <a:off x="595160" y="4243890"/>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9" name="Rounded Rectangle 29">
            <a:extLst>
              <a:ext uri="{FF2B5EF4-FFF2-40B4-BE49-F238E27FC236}">
                <a16:creationId xmlns:a16="http://schemas.microsoft.com/office/drawing/2014/main" id="{BD8F9E22-AB02-49D0-BAA9-DDC5DC8BE264}"/>
              </a:ext>
            </a:extLst>
          </p:cNvPr>
          <p:cNvSpPr/>
          <p:nvPr/>
        </p:nvSpPr>
        <p:spPr bwMode="auto">
          <a:xfrm>
            <a:off x="2298010" y="4243890"/>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1" name="Rounded Rectangle 17">
            <a:extLst>
              <a:ext uri="{FF2B5EF4-FFF2-40B4-BE49-F238E27FC236}">
                <a16:creationId xmlns:a16="http://schemas.microsoft.com/office/drawing/2014/main" id="{61823B98-8F77-42C3-B0CD-935C959B1940}"/>
              </a:ext>
            </a:extLst>
          </p:cNvPr>
          <p:cNvSpPr/>
          <p:nvPr/>
        </p:nvSpPr>
        <p:spPr bwMode="auto">
          <a:xfrm>
            <a:off x="4162860" y="5006376"/>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2" name="Rounded Rectangle 29">
            <a:extLst>
              <a:ext uri="{FF2B5EF4-FFF2-40B4-BE49-F238E27FC236}">
                <a16:creationId xmlns:a16="http://schemas.microsoft.com/office/drawing/2014/main" id="{0DA9DFB7-F1F1-4DB0-8BBE-E039EB0720B8}"/>
              </a:ext>
            </a:extLst>
          </p:cNvPr>
          <p:cNvSpPr/>
          <p:nvPr/>
        </p:nvSpPr>
        <p:spPr bwMode="auto">
          <a:xfrm>
            <a:off x="595160" y="5006376"/>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0" name="Rounded Rectangle 29">
            <a:extLst>
              <a:ext uri="{FF2B5EF4-FFF2-40B4-BE49-F238E27FC236}">
                <a16:creationId xmlns:a16="http://schemas.microsoft.com/office/drawing/2014/main" id="{46282324-FC2A-4D00-90B2-E5DDDAC08515}"/>
              </a:ext>
            </a:extLst>
          </p:cNvPr>
          <p:cNvSpPr/>
          <p:nvPr/>
        </p:nvSpPr>
        <p:spPr bwMode="auto">
          <a:xfrm>
            <a:off x="2298010" y="5006376"/>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FFE40116-6F63-4D38-BFBE-E8FA3A99C5B8}"/>
              </a:ext>
            </a:extLst>
          </p:cNvPr>
          <p:cNvSpPr/>
          <p:nvPr/>
        </p:nvSpPr>
        <p:spPr bwMode="auto">
          <a:xfrm>
            <a:off x="4162860" y="5768861"/>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4" name="Rounded Rectangle 29">
            <a:extLst>
              <a:ext uri="{FF2B5EF4-FFF2-40B4-BE49-F238E27FC236}">
                <a16:creationId xmlns:a16="http://schemas.microsoft.com/office/drawing/2014/main" id="{7ECB810F-3AF8-4098-A7B7-56EAA4B90D23}"/>
              </a:ext>
            </a:extLst>
          </p:cNvPr>
          <p:cNvSpPr/>
          <p:nvPr/>
        </p:nvSpPr>
        <p:spPr bwMode="auto">
          <a:xfrm>
            <a:off x="595160" y="5768861"/>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1" name="Rounded Rectangle 29">
            <a:extLst>
              <a:ext uri="{FF2B5EF4-FFF2-40B4-BE49-F238E27FC236}">
                <a16:creationId xmlns:a16="http://schemas.microsoft.com/office/drawing/2014/main" id="{8BB55B42-D32D-4FDF-8964-79E9D9A1E4A1}"/>
              </a:ext>
            </a:extLst>
          </p:cNvPr>
          <p:cNvSpPr/>
          <p:nvPr/>
        </p:nvSpPr>
        <p:spPr bwMode="auto">
          <a:xfrm>
            <a:off x="2298010" y="5768861"/>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Tree>
    <p:extLst>
      <p:ext uri="{BB962C8B-B14F-4D97-AF65-F5344CB8AC3E}">
        <p14:creationId xmlns:p14="http://schemas.microsoft.com/office/powerpoint/2010/main" val="41738394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ummary of our key Sponsors and their Key Activitie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32" name="Rounded Rectangle 23">
            <a:extLst>
              <a:ext uri="{FF2B5EF4-FFF2-40B4-BE49-F238E27FC236}">
                <a16:creationId xmlns:a16="http://schemas.microsoft.com/office/drawing/2014/main" id="{0D7F4757-CBD1-4EB8-B317-B2C3B181A9D3}"/>
              </a:ext>
            </a:extLst>
          </p:cNvPr>
          <p:cNvSpPr>
            <a:spLocks noChangeArrowheads="1"/>
          </p:cNvSpPr>
          <p:nvPr>
            <p:custDataLst>
              <p:tags r:id="rId2"/>
            </p:custDataLst>
          </p:nvPr>
        </p:nvSpPr>
        <p:spPr bwMode="auto">
          <a:xfrm>
            <a:off x="4162860" y="1586346"/>
            <a:ext cx="7423659"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Activities</a:t>
            </a:r>
            <a:endParaRPr lang="en-GB" altLang="ja-JP" sz="1200" b="1" baseline="30000" dirty="0">
              <a:solidFill>
                <a:schemeClr val="bg1"/>
              </a:solidFill>
              <a:ea typeface="ＭＳ Ｐゴシック" pitchFamily="50" charset="-128"/>
            </a:endParaRPr>
          </a:p>
        </p:txBody>
      </p:sp>
      <p:sp>
        <p:nvSpPr>
          <p:cNvPr id="33" name="Rounded Rectangle 28">
            <a:extLst>
              <a:ext uri="{FF2B5EF4-FFF2-40B4-BE49-F238E27FC236}">
                <a16:creationId xmlns:a16="http://schemas.microsoft.com/office/drawing/2014/main" id="{9CD24663-C600-431B-8796-78890D974D61}"/>
              </a:ext>
            </a:extLst>
          </p:cNvPr>
          <p:cNvSpPr>
            <a:spLocks noChangeArrowheads="1"/>
          </p:cNvSpPr>
          <p:nvPr>
            <p:custDataLst>
              <p:tags r:id="rId3"/>
            </p:custDataLst>
          </p:nvPr>
        </p:nvSpPr>
        <p:spPr bwMode="auto">
          <a:xfrm>
            <a:off x="595160" y="1586346"/>
            <a:ext cx="1627200"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Sponsors</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A5F63A6D-C981-49E7-A4BC-4E485FF2CDD8}"/>
              </a:ext>
            </a:extLst>
          </p:cNvPr>
          <p:cNvSpPr>
            <a:spLocks noChangeArrowheads="1"/>
          </p:cNvSpPr>
          <p:nvPr>
            <p:custDataLst>
              <p:tags r:id="rId4"/>
            </p:custDataLst>
          </p:nvPr>
        </p:nvSpPr>
        <p:spPr bwMode="auto">
          <a:xfrm>
            <a:off x="2298010" y="1586346"/>
            <a:ext cx="1787786" cy="331200"/>
          </a:xfrm>
          <a:prstGeom prst="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Name of the change</a:t>
            </a:r>
            <a:endParaRPr lang="en-GB" altLang="ja-JP" sz="1200" b="1" baseline="30000" dirty="0">
              <a:solidFill>
                <a:schemeClr val="bg1"/>
              </a:solidFill>
              <a:ea typeface="ＭＳ Ｐゴシック" pitchFamily="50" charset="-128"/>
            </a:endParaRPr>
          </a:p>
        </p:txBody>
      </p:sp>
      <p:sp>
        <p:nvSpPr>
          <p:cNvPr id="31" name="Rounded Rectangle 17">
            <a:extLst>
              <a:ext uri="{FF2B5EF4-FFF2-40B4-BE49-F238E27FC236}">
                <a16:creationId xmlns:a16="http://schemas.microsoft.com/office/drawing/2014/main" id="{DF74D316-5127-4A6C-A987-373FC49F9E35}"/>
              </a:ext>
            </a:extLst>
          </p:cNvPr>
          <p:cNvSpPr/>
          <p:nvPr/>
        </p:nvSpPr>
        <p:spPr bwMode="auto">
          <a:xfrm>
            <a:off x="4162860" y="1956432"/>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4" name="Rounded Rectangle 29">
            <a:extLst>
              <a:ext uri="{FF2B5EF4-FFF2-40B4-BE49-F238E27FC236}">
                <a16:creationId xmlns:a16="http://schemas.microsoft.com/office/drawing/2014/main" id="{A1DA4689-BC95-4035-B651-F1DF6559D2F4}"/>
              </a:ext>
            </a:extLst>
          </p:cNvPr>
          <p:cNvSpPr/>
          <p:nvPr/>
        </p:nvSpPr>
        <p:spPr bwMode="auto">
          <a:xfrm>
            <a:off x="595160" y="1956432"/>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6" name="Rounded Rectangle 29">
            <a:extLst>
              <a:ext uri="{FF2B5EF4-FFF2-40B4-BE49-F238E27FC236}">
                <a16:creationId xmlns:a16="http://schemas.microsoft.com/office/drawing/2014/main" id="{5ECDA966-9362-4D5F-9D63-4CC2EA276BE7}"/>
              </a:ext>
            </a:extLst>
          </p:cNvPr>
          <p:cNvSpPr/>
          <p:nvPr/>
        </p:nvSpPr>
        <p:spPr bwMode="auto">
          <a:xfrm>
            <a:off x="2298010" y="1956432"/>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5" name="Rounded Rectangle 17">
            <a:extLst>
              <a:ext uri="{FF2B5EF4-FFF2-40B4-BE49-F238E27FC236}">
                <a16:creationId xmlns:a16="http://schemas.microsoft.com/office/drawing/2014/main" id="{67789333-AC7E-4ACC-AFC6-D8E5694C1523}"/>
              </a:ext>
            </a:extLst>
          </p:cNvPr>
          <p:cNvSpPr/>
          <p:nvPr/>
        </p:nvSpPr>
        <p:spPr bwMode="auto">
          <a:xfrm>
            <a:off x="4162860" y="2718918"/>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6" name="Rounded Rectangle 29">
            <a:extLst>
              <a:ext uri="{FF2B5EF4-FFF2-40B4-BE49-F238E27FC236}">
                <a16:creationId xmlns:a16="http://schemas.microsoft.com/office/drawing/2014/main" id="{0B81B725-8B34-4D92-BF79-CD92B9EAB501}"/>
              </a:ext>
            </a:extLst>
          </p:cNvPr>
          <p:cNvSpPr/>
          <p:nvPr/>
        </p:nvSpPr>
        <p:spPr bwMode="auto">
          <a:xfrm>
            <a:off x="595160" y="2718918"/>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7" name="Rounded Rectangle 29">
            <a:extLst>
              <a:ext uri="{FF2B5EF4-FFF2-40B4-BE49-F238E27FC236}">
                <a16:creationId xmlns:a16="http://schemas.microsoft.com/office/drawing/2014/main" id="{743A19D9-25D7-4BD7-84C4-9A3E1284B8F9}"/>
              </a:ext>
            </a:extLst>
          </p:cNvPr>
          <p:cNvSpPr/>
          <p:nvPr/>
        </p:nvSpPr>
        <p:spPr bwMode="auto">
          <a:xfrm>
            <a:off x="2298010" y="2718918"/>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7" name="Rounded Rectangle 17">
            <a:extLst>
              <a:ext uri="{FF2B5EF4-FFF2-40B4-BE49-F238E27FC236}">
                <a16:creationId xmlns:a16="http://schemas.microsoft.com/office/drawing/2014/main" id="{C22ADBC9-29C0-40BE-8EBC-C552C5E783CF}"/>
              </a:ext>
            </a:extLst>
          </p:cNvPr>
          <p:cNvSpPr/>
          <p:nvPr/>
        </p:nvSpPr>
        <p:spPr bwMode="auto">
          <a:xfrm>
            <a:off x="4162860" y="3481404"/>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38" name="Rounded Rectangle 29">
            <a:extLst>
              <a:ext uri="{FF2B5EF4-FFF2-40B4-BE49-F238E27FC236}">
                <a16:creationId xmlns:a16="http://schemas.microsoft.com/office/drawing/2014/main" id="{40E2F226-A7DD-44A1-B823-73FA7A0D9C4D}"/>
              </a:ext>
            </a:extLst>
          </p:cNvPr>
          <p:cNvSpPr/>
          <p:nvPr/>
        </p:nvSpPr>
        <p:spPr bwMode="auto">
          <a:xfrm>
            <a:off x="595160" y="3481404"/>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8" name="Rounded Rectangle 29">
            <a:extLst>
              <a:ext uri="{FF2B5EF4-FFF2-40B4-BE49-F238E27FC236}">
                <a16:creationId xmlns:a16="http://schemas.microsoft.com/office/drawing/2014/main" id="{CAA10C12-9242-4609-A2C2-92E2FD0C2B05}"/>
              </a:ext>
            </a:extLst>
          </p:cNvPr>
          <p:cNvSpPr/>
          <p:nvPr/>
        </p:nvSpPr>
        <p:spPr bwMode="auto">
          <a:xfrm>
            <a:off x="2298010" y="3481404"/>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39" name="Rounded Rectangle 17">
            <a:extLst>
              <a:ext uri="{FF2B5EF4-FFF2-40B4-BE49-F238E27FC236}">
                <a16:creationId xmlns:a16="http://schemas.microsoft.com/office/drawing/2014/main" id="{3AAB47D7-5215-4104-AE53-6879B54C5559}"/>
              </a:ext>
            </a:extLst>
          </p:cNvPr>
          <p:cNvSpPr/>
          <p:nvPr/>
        </p:nvSpPr>
        <p:spPr bwMode="auto">
          <a:xfrm>
            <a:off x="4162860" y="4243890"/>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0" name="Rounded Rectangle 29">
            <a:extLst>
              <a:ext uri="{FF2B5EF4-FFF2-40B4-BE49-F238E27FC236}">
                <a16:creationId xmlns:a16="http://schemas.microsoft.com/office/drawing/2014/main" id="{86FCAF59-0FE6-4DFD-A043-E2FD3492985F}"/>
              </a:ext>
            </a:extLst>
          </p:cNvPr>
          <p:cNvSpPr/>
          <p:nvPr/>
        </p:nvSpPr>
        <p:spPr bwMode="auto">
          <a:xfrm>
            <a:off x="595160" y="4243890"/>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49" name="Rounded Rectangle 29">
            <a:extLst>
              <a:ext uri="{FF2B5EF4-FFF2-40B4-BE49-F238E27FC236}">
                <a16:creationId xmlns:a16="http://schemas.microsoft.com/office/drawing/2014/main" id="{BD8F9E22-AB02-49D0-BAA9-DDC5DC8BE264}"/>
              </a:ext>
            </a:extLst>
          </p:cNvPr>
          <p:cNvSpPr/>
          <p:nvPr/>
        </p:nvSpPr>
        <p:spPr bwMode="auto">
          <a:xfrm>
            <a:off x="2298010" y="4243890"/>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1" name="Rounded Rectangle 17">
            <a:extLst>
              <a:ext uri="{FF2B5EF4-FFF2-40B4-BE49-F238E27FC236}">
                <a16:creationId xmlns:a16="http://schemas.microsoft.com/office/drawing/2014/main" id="{61823B98-8F77-42C3-B0CD-935C959B1940}"/>
              </a:ext>
            </a:extLst>
          </p:cNvPr>
          <p:cNvSpPr/>
          <p:nvPr/>
        </p:nvSpPr>
        <p:spPr bwMode="auto">
          <a:xfrm>
            <a:off x="4162860" y="5006376"/>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2" name="Rounded Rectangle 29">
            <a:extLst>
              <a:ext uri="{FF2B5EF4-FFF2-40B4-BE49-F238E27FC236}">
                <a16:creationId xmlns:a16="http://schemas.microsoft.com/office/drawing/2014/main" id="{0DA9DFB7-F1F1-4DB0-8BBE-E039EB0720B8}"/>
              </a:ext>
            </a:extLst>
          </p:cNvPr>
          <p:cNvSpPr/>
          <p:nvPr/>
        </p:nvSpPr>
        <p:spPr bwMode="auto">
          <a:xfrm>
            <a:off x="595160" y="5006376"/>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0" name="Rounded Rectangle 29">
            <a:extLst>
              <a:ext uri="{FF2B5EF4-FFF2-40B4-BE49-F238E27FC236}">
                <a16:creationId xmlns:a16="http://schemas.microsoft.com/office/drawing/2014/main" id="{46282324-FC2A-4D00-90B2-E5DDDAC08515}"/>
              </a:ext>
            </a:extLst>
          </p:cNvPr>
          <p:cNvSpPr/>
          <p:nvPr/>
        </p:nvSpPr>
        <p:spPr bwMode="auto">
          <a:xfrm>
            <a:off x="2298010" y="5006376"/>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FFE40116-6F63-4D38-BFBE-E8FA3A99C5B8}"/>
              </a:ext>
            </a:extLst>
          </p:cNvPr>
          <p:cNvSpPr/>
          <p:nvPr/>
        </p:nvSpPr>
        <p:spPr bwMode="auto">
          <a:xfrm>
            <a:off x="4162860" y="5768861"/>
            <a:ext cx="7423200" cy="723600"/>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vities #3</a:t>
            </a:r>
          </a:p>
        </p:txBody>
      </p:sp>
      <p:sp>
        <p:nvSpPr>
          <p:cNvPr id="44" name="Rounded Rectangle 29">
            <a:extLst>
              <a:ext uri="{FF2B5EF4-FFF2-40B4-BE49-F238E27FC236}">
                <a16:creationId xmlns:a16="http://schemas.microsoft.com/office/drawing/2014/main" id="{7ECB810F-3AF8-4098-A7B7-56EAA4B90D23}"/>
              </a:ext>
            </a:extLst>
          </p:cNvPr>
          <p:cNvSpPr/>
          <p:nvPr/>
        </p:nvSpPr>
        <p:spPr bwMode="auto">
          <a:xfrm>
            <a:off x="595160" y="5768861"/>
            <a:ext cx="1627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solidFill>
                  <a:srgbClr val="0C2870"/>
                </a:solidFill>
                <a:latin typeface="Arial" charset="0"/>
                <a:cs typeface="Times New Roman" pitchFamily="18" charset="0"/>
              </a:rPr>
              <a:t>Insert Sponsor Name</a:t>
            </a:r>
          </a:p>
        </p:txBody>
      </p:sp>
      <p:sp>
        <p:nvSpPr>
          <p:cNvPr id="51" name="Rounded Rectangle 29">
            <a:extLst>
              <a:ext uri="{FF2B5EF4-FFF2-40B4-BE49-F238E27FC236}">
                <a16:creationId xmlns:a16="http://schemas.microsoft.com/office/drawing/2014/main" id="{8BB55B42-D32D-4FDF-8964-79E9D9A1E4A1}"/>
              </a:ext>
            </a:extLst>
          </p:cNvPr>
          <p:cNvSpPr/>
          <p:nvPr/>
        </p:nvSpPr>
        <p:spPr bwMode="auto">
          <a:xfrm>
            <a:off x="2298010" y="5768861"/>
            <a:ext cx="1789200" cy="723600"/>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solidFill>
                  <a:srgbClr val="0C2870"/>
                </a:solidFill>
                <a:latin typeface="Arial" charset="0"/>
                <a:cs typeface="Times New Roman" pitchFamily="18" charset="0"/>
              </a:rPr>
              <a:t>Insert the name of the change the Sponsor needs to focus on</a:t>
            </a:r>
          </a:p>
        </p:txBody>
      </p:sp>
      <p:sp>
        <p:nvSpPr>
          <p:cNvPr id="26" name="Rounded Rectangular Callout 19">
            <a:extLst>
              <a:ext uri="{FF2B5EF4-FFF2-40B4-BE49-F238E27FC236}">
                <a16:creationId xmlns:a16="http://schemas.microsoft.com/office/drawing/2014/main" id="{10560839-1D12-4413-A70D-62EE2944F2C3}"/>
              </a:ext>
            </a:extLst>
          </p:cNvPr>
          <p:cNvSpPr/>
          <p:nvPr/>
        </p:nvSpPr>
        <p:spPr bwMode="auto">
          <a:xfrm>
            <a:off x="6441458" y="2408997"/>
            <a:ext cx="4111337" cy="1343442"/>
          </a:xfrm>
          <a:prstGeom prst="wedgeRoundRectCallout">
            <a:avLst>
              <a:gd name="adj1" fmla="val -58241"/>
              <a:gd name="adj2" fmla="val -5567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sert key activities that the Sponsor will have with:</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he project team</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he managers</a:t>
            </a:r>
          </a:p>
          <a:p>
            <a:pPr marL="171450" indent="-171450"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he employees</a:t>
            </a:r>
          </a:p>
        </p:txBody>
      </p:sp>
      <p:sp>
        <p:nvSpPr>
          <p:cNvPr id="2" name="Rectangle: Rounded Corners 1">
            <a:extLst>
              <a:ext uri="{FF2B5EF4-FFF2-40B4-BE49-F238E27FC236}">
                <a16:creationId xmlns:a16="http://schemas.microsoft.com/office/drawing/2014/main" id="{16D13795-F76E-80EC-2D34-29C0E300FC4F}"/>
              </a:ext>
            </a:extLst>
          </p:cNvPr>
          <p:cNvSpPr/>
          <p:nvPr/>
        </p:nvSpPr>
        <p:spPr>
          <a:xfrm>
            <a:off x="10372725" y="326669"/>
            <a:ext cx="1437370"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10843141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ponsorship Plan</a:t>
            </a:r>
            <a:br>
              <a:rPr lang="en-US" sz="2400" kern="0" dirty="0"/>
            </a:br>
            <a:r>
              <a:rPr lang="en-US" b="0" kern="0" dirty="0"/>
              <a:t>Open the Excel document “Sponsorship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584775"/>
          </a:xfrm>
          <a:prstGeom prst="rect">
            <a:avLst/>
          </a:prstGeom>
          <a:noFill/>
        </p:spPr>
        <p:txBody>
          <a:bodyPr wrap="square" rtlCol="0">
            <a:spAutoFit/>
          </a:bodyPr>
          <a:lstStyle/>
          <a:p>
            <a:r>
              <a:rPr lang="en-GB" sz="1600" b="0" kern="0" dirty="0"/>
              <a:t>This sponsorship plan will help us lay out what the sponsor needs to be doing with the project team and the different relevant stakeholders.</a:t>
            </a:r>
            <a:endParaRPr lang="en-US" sz="1600" dirty="0"/>
          </a:p>
        </p:txBody>
      </p:sp>
      <p:pic>
        <p:nvPicPr>
          <p:cNvPr id="4" name="Picture 3" descr="A screenshot of a computer&#10;&#10;Description automatically generated with medium confidence">
            <a:extLst>
              <a:ext uri="{FF2B5EF4-FFF2-40B4-BE49-F238E27FC236}">
                <a16:creationId xmlns:a16="http://schemas.microsoft.com/office/drawing/2014/main" id="{BAC59A7C-3301-4F7C-A1E0-B9EE44ED2312}"/>
              </a:ext>
            </a:extLst>
          </p:cNvPr>
          <p:cNvPicPr>
            <a:picLocks noChangeAspect="1"/>
          </p:cNvPicPr>
          <p:nvPr/>
        </p:nvPicPr>
        <p:blipFill>
          <a:blip r:embed="rId5"/>
          <a:stretch>
            <a:fillRect/>
          </a:stretch>
        </p:blipFill>
        <p:spPr>
          <a:xfrm>
            <a:off x="766618" y="2584497"/>
            <a:ext cx="10289309" cy="291945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722293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ponsorship Plan</a:t>
            </a:r>
            <a:br>
              <a:rPr lang="en-US" sz="2400" kern="0" dirty="0"/>
            </a:br>
            <a:r>
              <a:rPr lang="en-US" b="0" kern="0" dirty="0"/>
              <a:t>Open the Excel document “Sponsorship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3</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584775"/>
          </a:xfrm>
          <a:prstGeom prst="rect">
            <a:avLst/>
          </a:prstGeom>
          <a:noFill/>
        </p:spPr>
        <p:txBody>
          <a:bodyPr wrap="square" rtlCol="0">
            <a:spAutoFit/>
          </a:bodyPr>
          <a:lstStyle/>
          <a:p>
            <a:r>
              <a:rPr lang="en-GB" sz="1600" b="0" kern="0" dirty="0"/>
              <a:t>This sponsorship plan will help us lay out what the sponsor needs to be doing with the project team and the different relevant stakeholders.</a:t>
            </a:r>
            <a:endParaRPr lang="en-US" sz="1600" dirty="0"/>
          </a:p>
        </p:txBody>
      </p:sp>
      <p:pic>
        <p:nvPicPr>
          <p:cNvPr id="4" name="Picture 3" descr="A screenshot of a computer&#10;&#10;Description automatically generated with medium confidence">
            <a:extLst>
              <a:ext uri="{FF2B5EF4-FFF2-40B4-BE49-F238E27FC236}">
                <a16:creationId xmlns:a16="http://schemas.microsoft.com/office/drawing/2014/main" id="{BAC59A7C-3301-4F7C-A1E0-B9EE44ED2312}"/>
              </a:ext>
            </a:extLst>
          </p:cNvPr>
          <p:cNvPicPr>
            <a:picLocks noChangeAspect="1"/>
          </p:cNvPicPr>
          <p:nvPr/>
        </p:nvPicPr>
        <p:blipFill>
          <a:blip r:embed="rId5"/>
          <a:stretch>
            <a:fillRect/>
          </a:stretch>
        </p:blipFill>
        <p:spPr>
          <a:xfrm>
            <a:off x="766618" y="2584497"/>
            <a:ext cx="10289309" cy="2919458"/>
          </a:xfrm>
          <a:prstGeom prst="rect">
            <a:avLst/>
          </a:prstGeom>
          <a:ln>
            <a:noFill/>
          </a:ln>
          <a:effectLst>
            <a:outerShdw blurRad="292100" dist="139700" dir="2700000" algn="tl" rotWithShape="0">
              <a:srgbClr val="333333">
                <a:alpha val="65000"/>
              </a:srgbClr>
            </a:outerShdw>
          </a:effectLst>
        </p:spPr>
      </p:pic>
      <p:sp>
        <p:nvSpPr>
          <p:cNvPr id="7" name="Rounded Rectangular Callout 19">
            <a:extLst>
              <a:ext uri="{FF2B5EF4-FFF2-40B4-BE49-F238E27FC236}">
                <a16:creationId xmlns:a16="http://schemas.microsoft.com/office/drawing/2014/main" id="{103F8573-D550-42DA-A0A3-31A678077F48}"/>
              </a:ext>
            </a:extLst>
          </p:cNvPr>
          <p:cNvSpPr/>
          <p:nvPr/>
        </p:nvSpPr>
        <p:spPr bwMode="auto">
          <a:xfrm>
            <a:off x="6622472" y="5559373"/>
            <a:ext cx="4840587" cy="1090613"/>
          </a:xfrm>
          <a:prstGeom prst="wedgeRoundRectCallout">
            <a:avLst>
              <a:gd name="adj1" fmla="val -53207"/>
              <a:gd name="adj2" fmla="val -7421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Based on the specificities of your situation, you’ll have to customize the Excel version too.</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hen you present your deliverable to your hierarchy, keep the Excel version open on your computer, in case your audience wants to deep dive in the plan.</a:t>
            </a:r>
          </a:p>
        </p:txBody>
      </p:sp>
      <p:sp>
        <p:nvSpPr>
          <p:cNvPr id="6" name="Rectangle: Rounded Corners 5">
            <a:extLst>
              <a:ext uri="{FF2B5EF4-FFF2-40B4-BE49-F238E27FC236}">
                <a16:creationId xmlns:a16="http://schemas.microsoft.com/office/drawing/2014/main" id="{79E13727-1D2D-604E-9F90-D885FFF0DC0A}"/>
              </a:ext>
            </a:extLst>
          </p:cNvPr>
          <p:cNvSpPr/>
          <p:nvPr/>
        </p:nvSpPr>
        <p:spPr>
          <a:xfrm>
            <a:off x="10372725" y="326669"/>
            <a:ext cx="1437370"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10800754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302F4AE-CE77-436B-A364-9D9FC8BC6C5A}"/>
              </a:ext>
            </a:extLst>
          </p:cNvPr>
          <p:cNvSpPr/>
          <p:nvPr/>
        </p:nvSpPr>
        <p:spPr bwMode="auto">
          <a:xfrm>
            <a:off x="4271506" y="3128150"/>
            <a:ext cx="2952000" cy="25200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4</a:t>
            </a:fld>
            <a:endParaRPr lang="en-US" sz="1000" dirty="0">
              <a:solidFill>
                <a:srgbClr val="ADAFBB"/>
              </a:solidFill>
            </a:endParaRPr>
          </a:p>
        </p:txBody>
      </p:sp>
      <p:sp>
        <p:nvSpPr>
          <p:cNvPr id="2" name="Chevron 17">
            <a:extLst>
              <a:ext uri="{FF2B5EF4-FFF2-40B4-BE49-F238E27FC236}">
                <a16:creationId xmlns:a16="http://schemas.microsoft.com/office/drawing/2014/main" id="{5D0013F7-EF7F-04FE-EC80-11B72ECC0D7A}"/>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451A0F3C-FD72-DB0C-A9BB-2B5ECF9DEDB6}"/>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4E3A6C91-55A7-ADC5-A381-0CE4C0866FB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6A6E9FAF-E8B5-D9DF-92AD-59BCB44D41EA}"/>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8" name="Rectangle 17">
            <a:extLst>
              <a:ext uri="{FF2B5EF4-FFF2-40B4-BE49-F238E27FC236}">
                <a16:creationId xmlns:a16="http://schemas.microsoft.com/office/drawing/2014/main" id="{487E4BAB-4E8A-7470-0753-9FD77FAAB3B5}"/>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9" name="Straight Connector 18">
            <a:extLst>
              <a:ext uri="{FF2B5EF4-FFF2-40B4-BE49-F238E27FC236}">
                <a16:creationId xmlns:a16="http://schemas.microsoft.com/office/drawing/2014/main" id="{859962B3-B67D-00CE-64E4-0D10DC7EB883}"/>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Chevron 17">
            <a:extLst>
              <a:ext uri="{FF2B5EF4-FFF2-40B4-BE49-F238E27FC236}">
                <a16:creationId xmlns:a16="http://schemas.microsoft.com/office/drawing/2014/main" id="{0C607D86-F533-3BD0-D6E4-9E0271907242}"/>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1" name="Straight Connector 20">
            <a:extLst>
              <a:ext uri="{FF2B5EF4-FFF2-40B4-BE49-F238E27FC236}">
                <a16:creationId xmlns:a16="http://schemas.microsoft.com/office/drawing/2014/main" id="{9B523359-B2FF-4E79-2A75-0E47351DE678}"/>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BF5BD295-0ACD-B0AE-AA66-73ED7B379754}"/>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3" name="Rectangle: Rounded Corners 22">
            <a:extLst>
              <a:ext uri="{FF2B5EF4-FFF2-40B4-BE49-F238E27FC236}">
                <a16:creationId xmlns:a16="http://schemas.microsoft.com/office/drawing/2014/main" id="{E9D1F1D5-A6E2-2B82-45F4-23EF4D814ABF}"/>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4" name="Rectangle: Rounded Corners 23">
            <a:extLst>
              <a:ext uri="{FF2B5EF4-FFF2-40B4-BE49-F238E27FC236}">
                <a16:creationId xmlns:a16="http://schemas.microsoft.com/office/drawing/2014/main" id="{3571F289-1E89-F16E-1AED-8C437E12AB0D}"/>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5" name="Rectangle: Rounded Corners 24">
            <a:extLst>
              <a:ext uri="{FF2B5EF4-FFF2-40B4-BE49-F238E27FC236}">
                <a16:creationId xmlns:a16="http://schemas.microsoft.com/office/drawing/2014/main" id="{1A88289D-32D2-4595-B10B-8DAF8922D4CE}"/>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30B6D0A9-E6A3-B367-5DD4-93B94FB333BD}"/>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637CCC2E-9FAF-1401-1B62-3B8B063DF58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602E80CB-A469-9FAA-2DB8-FCB6358DDAE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89E8783D-0CEC-AE53-92A1-4CBBBC380FD6}"/>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0" name="Rectangle: Rounded Corners 29">
            <a:extLst>
              <a:ext uri="{FF2B5EF4-FFF2-40B4-BE49-F238E27FC236}">
                <a16:creationId xmlns:a16="http://schemas.microsoft.com/office/drawing/2014/main" id="{08FB663E-FD9B-09CD-0DF4-1C88D599311D}"/>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1" name="Rectangle: Rounded Corners 30">
            <a:extLst>
              <a:ext uri="{FF2B5EF4-FFF2-40B4-BE49-F238E27FC236}">
                <a16:creationId xmlns:a16="http://schemas.microsoft.com/office/drawing/2014/main" id="{74F9C3F2-96CD-E0E2-5283-47282F446ED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EE739D0C-1D8A-0C54-74CA-E7F671882C55}"/>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3" name="Rectangle: Rounded Corners 32">
            <a:extLst>
              <a:ext uri="{FF2B5EF4-FFF2-40B4-BE49-F238E27FC236}">
                <a16:creationId xmlns:a16="http://schemas.microsoft.com/office/drawing/2014/main" id="{C5E721A6-5F25-17DB-9417-9B7E6C948B56}"/>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4" name="Rectangle: Rounded Corners 33">
            <a:extLst>
              <a:ext uri="{FF2B5EF4-FFF2-40B4-BE49-F238E27FC236}">
                <a16:creationId xmlns:a16="http://schemas.microsoft.com/office/drawing/2014/main" id="{2450E9E3-28CA-FC75-CF68-FCA97D19BD48}"/>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35" name="Graphic 34" descr="Blueprint outline">
            <a:extLst>
              <a:ext uri="{FF2B5EF4-FFF2-40B4-BE49-F238E27FC236}">
                <a16:creationId xmlns:a16="http://schemas.microsoft.com/office/drawing/2014/main" id="{366E577C-7704-1273-DFEF-3B75D78032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36" name="Graphic 35" descr="Target outline">
            <a:extLst>
              <a:ext uri="{FF2B5EF4-FFF2-40B4-BE49-F238E27FC236}">
                <a16:creationId xmlns:a16="http://schemas.microsoft.com/office/drawing/2014/main" id="{6A9B682C-1741-2AA6-B98F-1F808FE925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37" name="Graphic 36" descr="Clipboard Partially Checked outline">
            <a:extLst>
              <a:ext uri="{FF2B5EF4-FFF2-40B4-BE49-F238E27FC236}">
                <a16:creationId xmlns:a16="http://schemas.microsoft.com/office/drawing/2014/main" id="{67445EE8-2DCA-3260-D0AA-CEFBDCD3D8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28499424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ummary of the skills that will need to be coache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27" name="Rounded Rectangle 23">
            <a:extLst>
              <a:ext uri="{FF2B5EF4-FFF2-40B4-BE49-F238E27FC236}">
                <a16:creationId xmlns:a16="http://schemas.microsoft.com/office/drawing/2014/main" id="{B95179E9-FE1D-4E91-8399-22CDA8858583}"/>
              </a:ext>
            </a:extLst>
          </p:cNvPr>
          <p:cNvSpPr>
            <a:spLocks noChangeArrowheads="1"/>
          </p:cNvSpPr>
          <p:nvPr>
            <p:custDataLst>
              <p:tags r:id="rId2"/>
            </p:custDataLst>
          </p:nvPr>
        </p:nvSpPr>
        <p:spPr bwMode="auto">
          <a:xfrm>
            <a:off x="5282185" y="1586346"/>
            <a:ext cx="6303875"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3CA1AED2-E86C-4D93-AD95-9A65BDECFF2F}"/>
              </a:ext>
            </a:extLst>
          </p:cNvPr>
          <p:cNvSpPr>
            <a:spLocks noChangeArrowheads="1"/>
          </p:cNvSpPr>
          <p:nvPr>
            <p:custDataLst>
              <p:tags r:id="rId3"/>
            </p:custDataLst>
          </p:nvPr>
        </p:nvSpPr>
        <p:spPr bwMode="auto">
          <a:xfrm>
            <a:off x="595160" y="1586346"/>
            <a:ext cx="25867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Skill to be coached</a:t>
            </a:r>
            <a:endParaRPr lang="en-GB" altLang="ja-JP" sz="1200" b="1" baseline="30000" dirty="0">
              <a:solidFill>
                <a:schemeClr val="bg1"/>
              </a:solidFill>
              <a:ea typeface="ＭＳ Ｐゴシック" pitchFamily="50" charset="-128"/>
            </a:endParaRPr>
          </a:p>
        </p:txBody>
      </p:sp>
      <p:sp>
        <p:nvSpPr>
          <p:cNvPr id="61" name="Rounded Rectangle 28">
            <a:extLst>
              <a:ext uri="{FF2B5EF4-FFF2-40B4-BE49-F238E27FC236}">
                <a16:creationId xmlns:a16="http://schemas.microsoft.com/office/drawing/2014/main" id="{FF8F5B65-631F-4BDB-A751-5B57B242D46A}"/>
              </a:ext>
            </a:extLst>
          </p:cNvPr>
          <p:cNvSpPr>
            <a:spLocks noChangeArrowheads="1"/>
          </p:cNvSpPr>
          <p:nvPr>
            <p:custDataLst>
              <p:tags r:id="rId4"/>
            </p:custDataLst>
          </p:nvPr>
        </p:nvSpPr>
        <p:spPr bwMode="auto">
          <a:xfrm>
            <a:off x="3289958" y="1586346"/>
            <a:ext cx="1886473"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Coach Name</a:t>
            </a:r>
            <a:endParaRPr lang="en-GB" altLang="ja-JP" sz="1200" b="1" baseline="30000" dirty="0">
              <a:solidFill>
                <a:schemeClr val="bg1"/>
              </a:solidFill>
              <a:ea typeface="ＭＳ Ｐゴシック" pitchFamily="50" charset="-128"/>
            </a:endParaRPr>
          </a:p>
        </p:txBody>
      </p:sp>
      <p:sp>
        <p:nvSpPr>
          <p:cNvPr id="26" name="Rounded Rectangle 17">
            <a:extLst>
              <a:ext uri="{FF2B5EF4-FFF2-40B4-BE49-F238E27FC236}">
                <a16:creationId xmlns:a16="http://schemas.microsoft.com/office/drawing/2014/main" id="{9EB9C9AC-A2B5-4A1E-9C27-5230E8C955F1}"/>
              </a:ext>
            </a:extLst>
          </p:cNvPr>
          <p:cNvSpPr/>
          <p:nvPr/>
        </p:nvSpPr>
        <p:spPr bwMode="auto">
          <a:xfrm>
            <a:off x="5282185" y="1956480"/>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29" name="Rounded Rectangle 29">
            <a:extLst>
              <a:ext uri="{FF2B5EF4-FFF2-40B4-BE49-F238E27FC236}">
                <a16:creationId xmlns:a16="http://schemas.microsoft.com/office/drawing/2014/main" id="{171F4EB7-8E5C-467B-8AE8-5946EBCF77F1}"/>
              </a:ext>
            </a:extLst>
          </p:cNvPr>
          <p:cNvSpPr/>
          <p:nvPr/>
        </p:nvSpPr>
        <p:spPr bwMode="auto">
          <a:xfrm>
            <a:off x="595160" y="1956480"/>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2" name="Rounded Rectangle 29">
            <a:extLst>
              <a:ext uri="{FF2B5EF4-FFF2-40B4-BE49-F238E27FC236}">
                <a16:creationId xmlns:a16="http://schemas.microsoft.com/office/drawing/2014/main" id="{602330A6-0FC6-41C6-B74F-3DFB69F307B9}"/>
              </a:ext>
            </a:extLst>
          </p:cNvPr>
          <p:cNvSpPr/>
          <p:nvPr/>
        </p:nvSpPr>
        <p:spPr bwMode="auto">
          <a:xfrm>
            <a:off x="3289958" y="1956480"/>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30" name="Rounded Rectangle 17">
            <a:extLst>
              <a:ext uri="{FF2B5EF4-FFF2-40B4-BE49-F238E27FC236}">
                <a16:creationId xmlns:a16="http://schemas.microsoft.com/office/drawing/2014/main" id="{446CB538-F3DC-4187-BE63-91429FCCC626}"/>
              </a:ext>
            </a:extLst>
          </p:cNvPr>
          <p:cNvSpPr/>
          <p:nvPr/>
        </p:nvSpPr>
        <p:spPr bwMode="auto">
          <a:xfrm>
            <a:off x="5282185" y="2718886"/>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2" name="Rounded Rectangle 29">
            <a:extLst>
              <a:ext uri="{FF2B5EF4-FFF2-40B4-BE49-F238E27FC236}">
                <a16:creationId xmlns:a16="http://schemas.microsoft.com/office/drawing/2014/main" id="{5E6A3E02-8609-4A35-97B2-EF3BD198E8DF}"/>
              </a:ext>
            </a:extLst>
          </p:cNvPr>
          <p:cNvSpPr/>
          <p:nvPr/>
        </p:nvSpPr>
        <p:spPr bwMode="auto">
          <a:xfrm>
            <a:off x="595160" y="2718886"/>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3" name="Rounded Rectangle 29">
            <a:extLst>
              <a:ext uri="{FF2B5EF4-FFF2-40B4-BE49-F238E27FC236}">
                <a16:creationId xmlns:a16="http://schemas.microsoft.com/office/drawing/2014/main" id="{AF7FA665-C2F6-47FA-8FE5-8354594F1EA7}"/>
              </a:ext>
            </a:extLst>
          </p:cNvPr>
          <p:cNvSpPr/>
          <p:nvPr/>
        </p:nvSpPr>
        <p:spPr bwMode="auto">
          <a:xfrm>
            <a:off x="3289958" y="2718886"/>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3" name="Rounded Rectangle 17">
            <a:extLst>
              <a:ext uri="{FF2B5EF4-FFF2-40B4-BE49-F238E27FC236}">
                <a16:creationId xmlns:a16="http://schemas.microsoft.com/office/drawing/2014/main" id="{3B087977-E17A-4E68-8CB5-D02B84C4211C}"/>
              </a:ext>
            </a:extLst>
          </p:cNvPr>
          <p:cNvSpPr/>
          <p:nvPr/>
        </p:nvSpPr>
        <p:spPr bwMode="auto">
          <a:xfrm>
            <a:off x="5282185" y="3481292"/>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4" name="Rounded Rectangle 29">
            <a:extLst>
              <a:ext uri="{FF2B5EF4-FFF2-40B4-BE49-F238E27FC236}">
                <a16:creationId xmlns:a16="http://schemas.microsoft.com/office/drawing/2014/main" id="{75674FEB-9D42-4112-89E2-909285BBE7E7}"/>
              </a:ext>
            </a:extLst>
          </p:cNvPr>
          <p:cNvSpPr/>
          <p:nvPr/>
        </p:nvSpPr>
        <p:spPr bwMode="auto">
          <a:xfrm>
            <a:off x="595160" y="3481292"/>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4" name="Rounded Rectangle 29">
            <a:extLst>
              <a:ext uri="{FF2B5EF4-FFF2-40B4-BE49-F238E27FC236}">
                <a16:creationId xmlns:a16="http://schemas.microsoft.com/office/drawing/2014/main" id="{8AAA8564-5C57-4E86-8C9F-3DD8F3742D79}"/>
              </a:ext>
            </a:extLst>
          </p:cNvPr>
          <p:cNvSpPr/>
          <p:nvPr/>
        </p:nvSpPr>
        <p:spPr bwMode="auto">
          <a:xfrm>
            <a:off x="3289958" y="3481292"/>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5" name="Rounded Rectangle 17">
            <a:extLst>
              <a:ext uri="{FF2B5EF4-FFF2-40B4-BE49-F238E27FC236}">
                <a16:creationId xmlns:a16="http://schemas.microsoft.com/office/drawing/2014/main" id="{2A30BBEF-7091-4F21-B9A8-4C5730BA35DD}"/>
              </a:ext>
            </a:extLst>
          </p:cNvPr>
          <p:cNvSpPr/>
          <p:nvPr/>
        </p:nvSpPr>
        <p:spPr bwMode="auto">
          <a:xfrm>
            <a:off x="5282185" y="424369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6" name="Rounded Rectangle 29">
            <a:extLst>
              <a:ext uri="{FF2B5EF4-FFF2-40B4-BE49-F238E27FC236}">
                <a16:creationId xmlns:a16="http://schemas.microsoft.com/office/drawing/2014/main" id="{6F0C2A97-C90F-4642-8EB7-84CA4EC3AB6D}"/>
              </a:ext>
            </a:extLst>
          </p:cNvPr>
          <p:cNvSpPr/>
          <p:nvPr/>
        </p:nvSpPr>
        <p:spPr bwMode="auto">
          <a:xfrm>
            <a:off x="595160" y="424369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5" name="Rounded Rectangle 29">
            <a:extLst>
              <a:ext uri="{FF2B5EF4-FFF2-40B4-BE49-F238E27FC236}">
                <a16:creationId xmlns:a16="http://schemas.microsoft.com/office/drawing/2014/main" id="{9E0E45DD-1B2F-445B-B044-503E86E1EF61}"/>
              </a:ext>
            </a:extLst>
          </p:cNvPr>
          <p:cNvSpPr/>
          <p:nvPr/>
        </p:nvSpPr>
        <p:spPr bwMode="auto">
          <a:xfrm>
            <a:off x="3289958" y="424369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7" name="Rounded Rectangle 17">
            <a:extLst>
              <a:ext uri="{FF2B5EF4-FFF2-40B4-BE49-F238E27FC236}">
                <a16:creationId xmlns:a16="http://schemas.microsoft.com/office/drawing/2014/main" id="{9B8CE10D-8463-4A03-99BA-7631A90298AB}"/>
              </a:ext>
            </a:extLst>
          </p:cNvPr>
          <p:cNvSpPr/>
          <p:nvPr/>
        </p:nvSpPr>
        <p:spPr bwMode="auto">
          <a:xfrm>
            <a:off x="5282185" y="5006104"/>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58" name="Rounded Rectangle 29">
            <a:extLst>
              <a:ext uri="{FF2B5EF4-FFF2-40B4-BE49-F238E27FC236}">
                <a16:creationId xmlns:a16="http://schemas.microsoft.com/office/drawing/2014/main" id="{A290A85E-FC3C-4380-B1F9-2EBE9C14ED14}"/>
              </a:ext>
            </a:extLst>
          </p:cNvPr>
          <p:cNvSpPr/>
          <p:nvPr/>
        </p:nvSpPr>
        <p:spPr bwMode="auto">
          <a:xfrm>
            <a:off x="595160" y="5006104"/>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6" name="Rounded Rectangle 29">
            <a:extLst>
              <a:ext uri="{FF2B5EF4-FFF2-40B4-BE49-F238E27FC236}">
                <a16:creationId xmlns:a16="http://schemas.microsoft.com/office/drawing/2014/main" id="{DE6EF77F-A317-42A6-B25E-99B9F98C4A72}"/>
              </a:ext>
            </a:extLst>
          </p:cNvPr>
          <p:cNvSpPr/>
          <p:nvPr/>
        </p:nvSpPr>
        <p:spPr bwMode="auto">
          <a:xfrm>
            <a:off x="3289958" y="5006104"/>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
        <p:nvSpPr>
          <p:cNvPr id="59" name="Rounded Rectangle 17">
            <a:extLst>
              <a:ext uri="{FF2B5EF4-FFF2-40B4-BE49-F238E27FC236}">
                <a16:creationId xmlns:a16="http://schemas.microsoft.com/office/drawing/2014/main" id="{1AB7A028-8945-45BE-94CB-EC28B20BF5C6}"/>
              </a:ext>
            </a:extLst>
          </p:cNvPr>
          <p:cNvSpPr/>
          <p:nvPr/>
        </p:nvSpPr>
        <p:spPr bwMode="auto">
          <a:xfrm>
            <a:off x="5282185" y="5768508"/>
            <a:ext cx="63036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the name of the person or stakeholder group that need to be coached</a:t>
            </a:r>
          </a:p>
        </p:txBody>
      </p:sp>
      <p:sp>
        <p:nvSpPr>
          <p:cNvPr id="60" name="Rounded Rectangle 29">
            <a:extLst>
              <a:ext uri="{FF2B5EF4-FFF2-40B4-BE49-F238E27FC236}">
                <a16:creationId xmlns:a16="http://schemas.microsoft.com/office/drawing/2014/main" id="{53C7A5AA-9DA7-4B12-8BCE-846CDF3A2ACC}"/>
              </a:ext>
            </a:extLst>
          </p:cNvPr>
          <p:cNvSpPr/>
          <p:nvPr/>
        </p:nvSpPr>
        <p:spPr bwMode="auto">
          <a:xfrm>
            <a:off x="595160" y="5768508"/>
            <a:ext cx="2588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he skill to be coached</a:t>
            </a:r>
          </a:p>
        </p:txBody>
      </p:sp>
      <p:sp>
        <p:nvSpPr>
          <p:cNvPr id="67" name="Rounded Rectangle 29">
            <a:extLst>
              <a:ext uri="{FF2B5EF4-FFF2-40B4-BE49-F238E27FC236}">
                <a16:creationId xmlns:a16="http://schemas.microsoft.com/office/drawing/2014/main" id="{55398BA9-C258-430A-A0A9-00704FFA061D}"/>
              </a:ext>
            </a:extLst>
          </p:cNvPr>
          <p:cNvSpPr/>
          <p:nvPr/>
        </p:nvSpPr>
        <p:spPr bwMode="auto">
          <a:xfrm>
            <a:off x="3289958" y="5768508"/>
            <a:ext cx="18864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Coach Name</a:t>
            </a:r>
          </a:p>
        </p:txBody>
      </p:sp>
    </p:spTree>
    <p:extLst>
      <p:ext uri="{BB962C8B-B14F-4D97-AF65-F5344CB8AC3E}">
        <p14:creationId xmlns:p14="http://schemas.microsoft.com/office/powerpoint/2010/main" val="1077011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aching Plan</a:t>
            </a:r>
            <a:br>
              <a:rPr lang="en-US" sz="2400" kern="0" dirty="0"/>
            </a:br>
            <a:r>
              <a:rPr lang="en-US" b="0" kern="0" dirty="0"/>
              <a:t>One-page summary</a:t>
            </a:r>
            <a:endParaRPr lang="en-US" sz="22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6</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extLst>
              <p:ext uri="{D42A27DB-BD31-4B8C-83A1-F6EECF244321}">
                <p14:modId xmlns:p14="http://schemas.microsoft.com/office/powerpoint/2010/main" val="1861514167"/>
              </p:ext>
            </p:extLst>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900" b="1" kern="1200" baseline="0" dirty="0">
                          <a:solidFill>
                            <a:schemeClr val="bg1"/>
                          </a:solidFill>
                          <a:latin typeface="+mn-lt"/>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Tree>
    <p:extLst>
      <p:ext uri="{BB962C8B-B14F-4D97-AF65-F5344CB8AC3E}">
        <p14:creationId xmlns:p14="http://schemas.microsoft.com/office/powerpoint/2010/main" val="2636762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aching Plan</a:t>
            </a:r>
            <a:br>
              <a:rPr lang="en-US" sz="2400" kern="0" dirty="0"/>
            </a:br>
            <a:r>
              <a:rPr lang="en-US" b="0" kern="0" dirty="0"/>
              <a:t>Open the Excel document “Coaching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7</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338554"/>
          </a:xfrm>
          <a:prstGeom prst="rect">
            <a:avLst/>
          </a:prstGeom>
          <a:noFill/>
        </p:spPr>
        <p:txBody>
          <a:bodyPr wrap="square" rtlCol="0">
            <a:spAutoFit/>
          </a:bodyPr>
          <a:lstStyle/>
          <a:p>
            <a:r>
              <a:rPr lang="en-GB" sz="1600" b="0" kern="0" dirty="0"/>
              <a:t>This coaching plan will help you outline the steps for involving managers in change management activities.</a:t>
            </a:r>
            <a:endParaRPr lang="en-US" sz="1600" dirty="0"/>
          </a:p>
        </p:txBody>
      </p:sp>
      <p:pic>
        <p:nvPicPr>
          <p:cNvPr id="6" name="Picture 5" descr="Chart&#10;&#10;Description automatically generated with low confidence">
            <a:extLst>
              <a:ext uri="{FF2B5EF4-FFF2-40B4-BE49-F238E27FC236}">
                <a16:creationId xmlns:a16="http://schemas.microsoft.com/office/drawing/2014/main" id="{E7235A4C-7051-4E9D-9B1B-589A163148C8}"/>
              </a:ext>
            </a:extLst>
          </p:cNvPr>
          <p:cNvPicPr>
            <a:picLocks noChangeAspect="1"/>
          </p:cNvPicPr>
          <p:nvPr/>
        </p:nvPicPr>
        <p:blipFill>
          <a:blip r:embed="rId5"/>
          <a:stretch>
            <a:fillRect/>
          </a:stretch>
        </p:blipFill>
        <p:spPr>
          <a:xfrm>
            <a:off x="1634650" y="2115552"/>
            <a:ext cx="8719314" cy="43082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182373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Coaching Plan</a:t>
            </a:r>
            <a:br>
              <a:rPr lang="en-US" sz="2400" kern="0" dirty="0"/>
            </a:br>
            <a:r>
              <a:rPr lang="en-US" b="0" kern="0" dirty="0"/>
              <a:t>Open the Excel document “Coaching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338554"/>
          </a:xfrm>
          <a:prstGeom prst="rect">
            <a:avLst/>
          </a:prstGeom>
          <a:noFill/>
        </p:spPr>
        <p:txBody>
          <a:bodyPr wrap="square" rtlCol="0">
            <a:spAutoFit/>
          </a:bodyPr>
          <a:lstStyle/>
          <a:p>
            <a:r>
              <a:rPr lang="en-GB" sz="1600" b="0" kern="0" dirty="0"/>
              <a:t>This coaching plan will help you outline the steps for involving managers in change management activities.</a:t>
            </a:r>
            <a:endParaRPr lang="en-US" sz="1600" dirty="0"/>
          </a:p>
        </p:txBody>
      </p:sp>
      <p:pic>
        <p:nvPicPr>
          <p:cNvPr id="6" name="Picture 5" descr="Chart&#10;&#10;Description automatically generated with low confidence">
            <a:extLst>
              <a:ext uri="{FF2B5EF4-FFF2-40B4-BE49-F238E27FC236}">
                <a16:creationId xmlns:a16="http://schemas.microsoft.com/office/drawing/2014/main" id="{E7235A4C-7051-4E9D-9B1B-589A163148C8}"/>
              </a:ext>
            </a:extLst>
          </p:cNvPr>
          <p:cNvPicPr>
            <a:picLocks noChangeAspect="1"/>
          </p:cNvPicPr>
          <p:nvPr/>
        </p:nvPicPr>
        <p:blipFill>
          <a:blip r:embed="rId5"/>
          <a:stretch>
            <a:fillRect/>
          </a:stretch>
        </p:blipFill>
        <p:spPr>
          <a:xfrm>
            <a:off x="1634650" y="2115552"/>
            <a:ext cx="8719314" cy="4308280"/>
          </a:xfrm>
          <a:prstGeom prst="rect">
            <a:avLst/>
          </a:prstGeom>
          <a:ln>
            <a:noFill/>
          </a:ln>
          <a:effectLst>
            <a:outerShdw blurRad="292100" dist="139700" dir="2700000" algn="tl" rotWithShape="0">
              <a:srgbClr val="333333">
                <a:alpha val="65000"/>
              </a:srgbClr>
            </a:outerShdw>
          </a:effectLst>
        </p:spPr>
      </p:pic>
      <p:sp>
        <p:nvSpPr>
          <p:cNvPr id="7" name="Rounded Rectangular Callout 19">
            <a:extLst>
              <a:ext uri="{FF2B5EF4-FFF2-40B4-BE49-F238E27FC236}">
                <a16:creationId xmlns:a16="http://schemas.microsoft.com/office/drawing/2014/main" id="{E16FAEC8-5164-4300-A173-943CD8E430FD}"/>
              </a:ext>
            </a:extLst>
          </p:cNvPr>
          <p:cNvSpPr/>
          <p:nvPr/>
        </p:nvSpPr>
        <p:spPr bwMode="auto">
          <a:xfrm>
            <a:off x="9181195" y="3018728"/>
            <a:ext cx="2475828" cy="2412254"/>
          </a:xfrm>
          <a:prstGeom prst="wedgeRoundRectCallout">
            <a:avLst>
              <a:gd name="adj1" fmla="val -86026"/>
              <a:gd name="adj2" fmla="val -2340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Based on the specificities of your situation, you’ll have to customize the Excel version too.</a:t>
            </a:r>
          </a:p>
          <a:p>
            <a:pPr defTabSz="623853" fontAlgn="base">
              <a:spcBef>
                <a:spcPts val="300"/>
              </a:spcBef>
              <a:spcAft>
                <a:spcPts val="300"/>
              </a:spcAft>
              <a:buClr>
                <a:srgbClr val="000000"/>
              </a:buClr>
            </a:pPr>
            <a:endParaRPr lang="en-US" sz="105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hen you present your deliverable to your hierarchy, keep the Excel version open on your computer, in case your audience wants to deep dive in the plan.</a:t>
            </a:r>
          </a:p>
        </p:txBody>
      </p:sp>
      <p:sp>
        <p:nvSpPr>
          <p:cNvPr id="2" name="Rectangle: Rounded Corners 1">
            <a:extLst>
              <a:ext uri="{FF2B5EF4-FFF2-40B4-BE49-F238E27FC236}">
                <a16:creationId xmlns:a16="http://schemas.microsoft.com/office/drawing/2014/main" id="{1A84C0BD-82B9-2A93-5CCB-C7E58EFB39A5}"/>
              </a:ext>
            </a:extLst>
          </p:cNvPr>
          <p:cNvSpPr/>
          <p:nvPr/>
        </p:nvSpPr>
        <p:spPr>
          <a:xfrm>
            <a:off x="10372725" y="326669"/>
            <a:ext cx="1437370"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7747819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302F4AE-CE77-436B-A364-9D9FC8BC6C5A}"/>
              </a:ext>
            </a:extLst>
          </p:cNvPr>
          <p:cNvSpPr/>
          <p:nvPr/>
        </p:nvSpPr>
        <p:spPr bwMode="auto">
          <a:xfrm>
            <a:off x="4271506" y="3345320"/>
            <a:ext cx="2952000" cy="25200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39</a:t>
            </a:fld>
            <a:endParaRPr lang="en-US" sz="1000" dirty="0">
              <a:solidFill>
                <a:srgbClr val="ADAFBB"/>
              </a:solidFill>
            </a:endParaRPr>
          </a:p>
        </p:txBody>
      </p:sp>
      <p:sp>
        <p:nvSpPr>
          <p:cNvPr id="2" name="Chevron 17">
            <a:extLst>
              <a:ext uri="{FF2B5EF4-FFF2-40B4-BE49-F238E27FC236}">
                <a16:creationId xmlns:a16="http://schemas.microsoft.com/office/drawing/2014/main" id="{5D0013F7-EF7F-04FE-EC80-11B72ECC0D7A}"/>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451A0F3C-FD72-DB0C-A9BB-2B5ECF9DEDB6}"/>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4E3A6C91-55A7-ADC5-A381-0CE4C0866FB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6A6E9FAF-E8B5-D9DF-92AD-59BCB44D41EA}"/>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8" name="Rectangle 17">
            <a:extLst>
              <a:ext uri="{FF2B5EF4-FFF2-40B4-BE49-F238E27FC236}">
                <a16:creationId xmlns:a16="http://schemas.microsoft.com/office/drawing/2014/main" id="{487E4BAB-4E8A-7470-0753-9FD77FAAB3B5}"/>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9" name="Straight Connector 18">
            <a:extLst>
              <a:ext uri="{FF2B5EF4-FFF2-40B4-BE49-F238E27FC236}">
                <a16:creationId xmlns:a16="http://schemas.microsoft.com/office/drawing/2014/main" id="{859962B3-B67D-00CE-64E4-0D10DC7EB883}"/>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Chevron 17">
            <a:extLst>
              <a:ext uri="{FF2B5EF4-FFF2-40B4-BE49-F238E27FC236}">
                <a16:creationId xmlns:a16="http://schemas.microsoft.com/office/drawing/2014/main" id="{0C607D86-F533-3BD0-D6E4-9E0271907242}"/>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1" name="Straight Connector 20">
            <a:extLst>
              <a:ext uri="{FF2B5EF4-FFF2-40B4-BE49-F238E27FC236}">
                <a16:creationId xmlns:a16="http://schemas.microsoft.com/office/drawing/2014/main" id="{9B523359-B2FF-4E79-2A75-0E47351DE678}"/>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BF5BD295-0ACD-B0AE-AA66-73ED7B379754}"/>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3" name="Rectangle: Rounded Corners 22">
            <a:extLst>
              <a:ext uri="{FF2B5EF4-FFF2-40B4-BE49-F238E27FC236}">
                <a16:creationId xmlns:a16="http://schemas.microsoft.com/office/drawing/2014/main" id="{E9D1F1D5-A6E2-2B82-45F4-23EF4D814ABF}"/>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4" name="Rectangle: Rounded Corners 23">
            <a:extLst>
              <a:ext uri="{FF2B5EF4-FFF2-40B4-BE49-F238E27FC236}">
                <a16:creationId xmlns:a16="http://schemas.microsoft.com/office/drawing/2014/main" id="{3571F289-1E89-F16E-1AED-8C437E12AB0D}"/>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5" name="Rectangle: Rounded Corners 24">
            <a:extLst>
              <a:ext uri="{FF2B5EF4-FFF2-40B4-BE49-F238E27FC236}">
                <a16:creationId xmlns:a16="http://schemas.microsoft.com/office/drawing/2014/main" id="{1A88289D-32D2-4595-B10B-8DAF8922D4CE}"/>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30B6D0A9-E6A3-B367-5DD4-93B94FB333BD}"/>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637CCC2E-9FAF-1401-1B62-3B8B063DF58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602E80CB-A469-9FAA-2DB8-FCB6358DDAE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89E8783D-0CEC-AE53-92A1-4CBBBC380FD6}"/>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0" name="Rectangle: Rounded Corners 29">
            <a:extLst>
              <a:ext uri="{FF2B5EF4-FFF2-40B4-BE49-F238E27FC236}">
                <a16:creationId xmlns:a16="http://schemas.microsoft.com/office/drawing/2014/main" id="{08FB663E-FD9B-09CD-0DF4-1C88D599311D}"/>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1" name="Rectangle: Rounded Corners 30">
            <a:extLst>
              <a:ext uri="{FF2B5EF4-FFF2-40B4-BE49-F238E27FC236}">
                <a16:creationId xmlns:a16="http://schemas.microsoft.com/office/drawing/2014/main" id="{74F9C3F2-96CD-E0E2-5283-47282F446ED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EE739D0C-1D8A-0C54-74CA-E7F671882C55}"/>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3" name="Rectangle: Rounded Corners 32">
            <a:extLst>
              <a:ext uri="{FF2B5EF4-FFF2-40B4-BE49-F238E27FC236}">
                <a16:creationId xmlns:a16="http://schemas.microsoft.com/office/drawing/2014/main" id="{C5E721A6-5F25-17DB-9417-9B7E6C948B56}"/>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4" name="Rectangle: Rounded Corners 33">
            <a:extLst>
              <a:ext uri="{FF2B5EF4-FFF2-40B4-BE49-F238E27FC236}">
                <a16:creationId xmlns:a16="http://schemas.microsoft.com/office/drawing/2014/main" id="{2450E9E3-28CA-FC75-CF68-FCA97D19BD48}"/>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35" name="Graphic 34" descr="Blueprint outline">
            <a:extLst>
              <a:ext uri="{FF2B5EF4-FFF2-40B4-BE49-F238E27FC236}">
                <a16:creationId xmlns:a16="http://schemas.microsoft.com/office/drawing/2014/main" id="{366E577C-7704-1273-DFEF-3B75D78032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36" name="Graphic 35" descr="Target outline">
            <a:extLst>
              <a:ext uri="{FF2B5EF4-FFF2-40B4-BE49-F238E27FC236}">
                <a16:creationId xmlns:a16="http://schemas.microsoft.com/office/drawing/2014/main" id="{6A9B682C-1741-2AA6-B98F-1F808FE925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37" name="Graphic 36" descr="Clipboard Partially Checked outline">
            <a:extLst>
              <a:ext uri="{FF2B5EF4-FFF2-40B4-BE49-F238E27FC236}">
                <a16:creationId xmlns:a16="http://schemas.microsoft.com/office/drawing/2014/main" id="{67445EE8-2DCA-3260-D0AA-CEFBDCD3D8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2289037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302F4AE-CE77-436B-A364-9D9FC8BC6C5A}"/>
              </a:ext>
            </a:extLst>
          </p:cNvPr>
          <p:cNvSpPr/>
          <p:nvPr/>
        </p:nvSpPr>
        <p:spPr bwMode="auto">
          <a:xfrm>
            <a:off x="4271506" y="2465210"/>
            <a:ext cx="2952000" cy="28800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2" name="Chevron 17">
            <a:extLst>
              <a:ext uri="{FF2B5EF4-FFF2-40B4-BE49-F238E27FC236}">
                <a16:creationId xmlns:a16="http://schemas.microsoft.com/office/drawing/2014/main" id="{5D0013F7-EF7F-04FE-EC80-11B72ECC0D7A}"/>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451A0F3C-FD72-DB0C-A9BB-2B5ECF9DEDB6}"/>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4E3A6C91-55A7-ADC5-A381-0CE4C0866FB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6A6E9FAF-E8B5-D9DF-92AD-59BCB44D41EA}"/>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8" name="Rectangle 17">
            <a:extLst>
              <a:ext uri="{FF2B5EF4-FFF2-40B4-BE49-F238E27FC236}">
                <a16:creationId xmlns:a16="http://schemas.microsoft.com/office/drawing/2014/main" id="{487E4BAB-4E8A-7470-0753-9FD77FAAB3B5}"/>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9" name="Straight Connector 18">
            <a:extLst>
              <a:ext uri="{FF2B5EF4-FFF2-40B4-BE49-F238E27FC236}">
                <a16:creationId xmlns:a16="http://schemas.microsoft.com/office/drawing/2014/main" id="{859962B3-B67D-00CE-64E4-0D10DC7EB883}"/>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Chevron 17">
            <a:extLst>
              <a:ext uri="{FF2B5EF4-FFF2-40B4-BE49-F238E27FC236}">
                <a16:creationId xmlns:a16="http://schemas.microsoft.com/office/drawing/2014/main" id="{0C607D86-F533-3BD0-D6E4-9E0271907242}"/>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1" name="Straight Connector 20">
            <a:extLst>
              <a:ext uri="{FF2B5EF4-FFF2-40B4-BE49-F238E27FC236}">
                <a16:creationId xmlns:a16="http://schemas.microsoft.com/office/drawing/2014/main" id="{9B523359-B2FF-4E79-2A75-0E47351DE678}"/>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BF5BD295-0ACD-B0AE-AA66-73ED7B379754}"/>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3" name="Rectangle: Rounded Corners 22">
            <a:extLst>
              <a:ext uri="{FF2B5EF4-FFF2-40B4-BE49-F238E27FC236}">
                <a16:creationId xmlns:a16="http://schemas.microsoft.com/office/drawing/2014/main" id="{E9D1F1D5-A6E2-2B82-45F4-23EF4D814ABF}"/>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4" name="Rectangle: Rounded Corners 23">
            <a:extLst>
              <a:ext uri="{FF2B5EF4-FFF2-40B4-BE49-F238E27FC236}">
                <a16:creationId xmlns:a16="http://schemas.microsoft.com/office/drawing/2014/main" id="{3571F289-1E89-F16E-1AED-8C437E12AB0D}"/>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5" name="Rectangle: Rounded Corners 24">
            <a:extLst>
              <a:ext uri="{FF2B5EF4-FFF2-40B4-BE49-F238E27FC236}">
                <a16:creationId xmlns:a16="http://schemas.microsoft.com/office/drawing/2014/main" id="{1A88289D-32D2-4595-B10B-8DAF8922D4CE}"/>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30B6D0A9-E6A3-B367-5DD4-93B94FB333BD}"/>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637CCC2E-9FAF-1401-1B62-3B8B063DF58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602E80CB-A469-9FAA-2DB8-FCB6358DDAE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89E8783D-0CEC-AE53-92A1-4CBBBC380FD6}"/>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0" name="Rectangle: Rounded Corners 29">
            <a:extLst>
              <a:ext uri="{FF2B5EF4-FFF2-40B4-BE49-F238E27FC236}">
                <a16:creationId xmlns:a16="http://schemas.microsoft.com/office/drawing/2014/main" id="{08FB663E-FD9B-09CD-0DF4-1C88D599311D}"/>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1" name="Rectangle: Rounded Corners 30">
            <a:extLst>
              <a:ext uri="{FF2B5EF4-FFF2-40B4-BE49-F238E27FC236}">
                <a16:creationId xmlns:a16="http://schemas.microsoft.com/office/drawing/2014/main" id="{74F9C3F2-96CD-E0E2-5283-47282F446ED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EE739D0C-1D8A-0C54-74CA-E7F671882C55}"/>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3" name="Rectangle: Rounded Corners 32">
            <a:extLst>
              <a:ext uri="{FF2B5EF4-FFF2-40B4-BE49-F238E27FC236}">
                <a16:creationId xmlns:a16="http://schemas.microsoft.com/office/drawing/2014/main" id="{C5E721A6-5F25-17DB-9417-9B7E6C948B56}"/>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4" name="Rectangle: Rounded Corners 33">
            <a:extLst>
              <a:ext uri="{FF2B5EF4-FFF2-40B4-BE49-F238E27FC236}">
                <a16:creationId xmlns:a16="http://schemas.microsoft.com/office/drawing/2014/main" id="{2450E9E3-28CA-FC75-CF68-FCA97D19BD48}"/>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35" name="Graphic 34" descr="Blueprint outline">
            <a:extLst>
              <a:ext uri="{FF2B5EF4-FFF2-40B4-BE49-F238E27FC236}">
                <a16:creationId xmlns:a16="http://schemas.microsoft.com/office/drawing/2014/main" id="{366E577C-7704-1273-DFEF-3B75D78032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36" name="Graphic 35" descr="Target outline">
            <a:extLst>
              <a:ext uri="{FF2B5EF4-FFF2-40B4-BE49-F238E27FC236}">
                <a16:creationId xmlns:a16="http://schemas.microsoft.com/office/drawing/2014/main" id="{6A9B682C-1741-2AA6-B98F-1F808FE925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37" name="Graphic 36" descr="Clipboard Partially Checked outline">
            <a:extLst>
              <a:ext uri="{FF2B5EF4-FFF2-40B4-BE49-F238E27FC236}">
                <a16:creationId xmlns:a16="http://schemas.microsoft.com/office/drawing/2014/main" id="{67445EE8-2DCA-3260-D0AA-CEFBDCD3D8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430935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ummary of the key Training that will need to be don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33" name="Rounded Rectangle 28">
            <a:extLst>
              <a:ext uri="{FF2B5EF4-FFF2-40B4-BE49-F238E27FC236}">
                <a16:creationId xmlns:a16="http://schemas.microsoft.com/office/drawing/2014/main" id="{AD9D0CAB-CB19-47CD-A233-99F0EBDDD632}"/>
              </a:ext>
            </a:extLst>
          </p:cNvPr>
          <p:cNvSpPr>
            <a:spLocks noChangeArrowheads="1"/>
          </p:cNvSpPr>
          <p:nvPr>
            <p:custDataLst>
              <p:tags r:id="rId2"/>
            </p:custDataLst>
          </p:nvPr>
        </p:nvSpPr>
        <p:spPr bwMode="auto">
          <a:xfrm>
            <a:off x="595160" y="1586346"/>
            <a:ext cx="162561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Key Training</a:t>
            </a:r>
            <a:endParaRPr lang="en-GB" altLang="ja-JP" sz="1200" b="1" baseline="30000" dirty="0">
              <a:solidFill>
                <a:schemeClr val="bg1"/>
              </a:solidFill>
              <a:ea typeface="ＭＳ Ｐゴシック" pitchFamily="50" charset="-128"/>
            </a:endParaRPr>
          </a:p>
        </p:txBody>
      </p:sp>
      <p:sp>
        <p:nvSpPr>
          <p:cNvPr id="32" name="Rounded Rectangle 23">
            <a:extLst>
              <a:ext uri="{FF2B5EF4-FFF2-40B4-BE49-F238E27FC236}">
                <a16:creationId xmlns:a16="http://schemas.microsoft.com/office/drawing/2014/main" id="{8F0F70B3-634B-40E4-8E4E-F1577575C766}"/>
              </a:ext>
            </a:extLst>
          </p:cNvPr>
          <p:cNvSpPr>
            <a:spLocks noChangeArrowheads="1"/>
          </p:cNvSpPr>
          <p:nvPr>
            <p:custDataLst>
              <p:tags r:id="rId3"/>
            </p:custDataLst>
          </p:nvPr>
        </p:nvSpPr>
        <p:spPr bwMode="auto">
          <a:xfrm>
            <a:off x="4162657" y="1586346"/>
            <a:ext cx="7423164"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Audience</a:t>
            </a:r>
            <a:endParaRPr lang="en-GB" altLang="ja-JP" sz="1200" b="1" baseline="30000" dirty="0">
              <a:solidFill>
                <a:schemeClr val="bg1"/>
              </a:solidFill>
              <a:ea typeface="ＭＳ Ｐゴシック" pitchFamily="50" charset="-128"/>
            </a:endParaRPr>
          </a:p>
        </p:txBody>
      </p:sp>
      <p:sp>
        <p:nvSpPr>
          <p:cNvPr id="45" name="Rounded Rectangle 28">
            <a:extLst>
              <a:ext uri="{FF2B5EF4-FFF2-40B4-BE49-F238E27FC236}">
                <a16:creationId xmlns:a16="http://schemas.microsoft.com/office/drawing/2014/main" id="{20F63087-5B8B-4B42-AADA-D4946529CA7B}"/>
              </a:ext>
            </a:extLst>
          </p:cNvPr>
          <p:cNvSpPr>
            <a:spLocks noChangeArrowheads="1"/>
          </p:cNvSpPr>
          <p:nvPr>
            <p:custDataLst>
              <p:tags r:id="rId4"/>
            </p:custDataLst>
          </p:nvPr>
        </p:nvSpPr>
        <p:spPr bwMode="auto">
          <a:xfrm>
            <a:off x="2297099" y="1586346"/>
            <a:ext cx="1787666"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Delivery Channel</a:t>
            </a:r>
            <a:endParaRPr lang="en-GB" altLang="ja-JP" sz="1200" b="1" baseline="30000" dirty="0">
              <a:solidFill>
                <a:schemeClr val="bg1"/>
              </a:solidFill>
              <a:ea typeface="ＭＳ Ｐゴシック" pitchFamily="50" charset="-128"/>
            </a:endParaRPr>
          </a:p>
        </p:txBody>
      </p:sp>
      <p:sp>
        <p:nvSpPr>
          <p:cNvPr id="34" name="Rounded Rectangle 29">
            <a:extLst>
              <a:ext uri="{FF2B5EF4-FFF2-40B4-BE49-F238E27FC236}">
                <a16:creationId xmlns:a16="http://schemas.microsoft.com/office/drawing/2014/main" id="{230B4C84-1639-4CF5-AB10-982952C5BBA5}"/>
              </a:ext>
            </a:extLst>
          </p:cNvPr>
          <p:cNvSpPr/>
          <p:nvPr/>
        </p:nvSpPr>
        <p:spPr bwMode="auto">
          <a:xfrm>
            <a:off x="595160" y="1956480"/>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1" name="Rounded Rectangle 17">
            <a:extLst>
              <a:ext uri="{FF2B5EF4-FFF2-40B4-BE49-F238E27FC236}">
                <a16:creationId xmlns:a16="http://schemas.microsoft.com/office/drawing/2014/main" id="{5F33815C-DE35-417F-AAB4-613BB4B249A8}"/>
              </a:ext>
            </a:extLst>
          </p:cNvPr>
          <p:cNvSpPr/>
          <p:nvPr/>
        </p:nvSpPr>
        <p:spPr bwMode="auto">
          <a:xfrm>
            <a:off x="4162621" y="1956480"/>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6" name="Rounded Rectangle 29">
            <a:extLst>
              <a:ext uri="{FF2B5EF4-FFF2-40B4-BE49-F238E27FC236}">
                <a16:creationId xmlns:a16="http://schemas.microsoft.com/office/drawing/2014/main" id="{47EFD1F5-E09C-45BC-84C7-0FA2418E3205}"/>
              </a:ext>
            </a:extLst>
          </p:cNvPr>
          <p:cNvSpPr/>
          <p:nvPr/>
        </p:nvSpPr>
        <p:spPr bwMode="auto">
          <a:xfrm>
            <a:off x="2297099" y="1956480"/>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6" name="Rounded Rectangle 29">
            <a:extLst>
              <a:ext uri="{FF2B5EF4-FFF2-40B4-BE49-F238E27FC236}">
                <a16:creationId xmlns:a16="http://schemas.microsoft.com/office/drawing/2014/main" id="{D2661BF7-C38A-447C-9905-45504BC8DEA0}"/>
              </a:ext>
            </a:extLst>
          </p:cNvPr>
          <p:cNvSpPr/>
          <p:nvPr/>
        </p:nvSpPr>
        <p:spPr bwMode="auto">
          <a:xfrm>
            <a:off x="595160" y="2718886"/>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5" name="Rounded Rectangle 17">
            <a:extLst>
              <a:ext uri="{FF2B5EF4-FFF2-40B4-BE49-F238E27FC236}">
                <a16:creationId xmlns:a16="http://schemas.microsoft.com/office/drawing/2014/main" id="{E58A3DB9-04A8-44EB-87F2-2FA4DDE64E18}"/>
              </a:ext>
            </a:extLst>
          </p:cNvPr>
          <p:cNvSpPr/>
          <p:nvPr/>
        </p:nvSpPr>
        <p:spPr bwMode="auto">
          <a:xfrm>
            <a:off x="4162621" y="2718886"/>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7" name="Rounded Rectangle 29">
            <a:extLst>
              <a:ext uri="{FF2B5EF4-FFF2-40B4-BE49-F238E27FC236}">
                <a16:creationId xmlns:a16="http://schemas.microsoft.com/office/drawing/2014/main" id="{8849B67D-9A3A-4AFA-AF3E-5B08061655A3}"/>
              </a:ext>
            </a:extLst>
          </p:cNvPr>
          <p:cNvSpPr/>
          <p:nvPr/>
        </p:nvSpPr>
        <p:spPr bwMode="auto">
          <a:xfrm>
            <a:off x="2297099" y="2718886"/>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38" name="Rounded Rectangle 29">
            <a:extLst>
              <a:ext uri="{FF2B5EF4-FFF2-40B4-BE49-F238E27FC236}">
                <a16:creationId xmlns:a16="http://schemas.microsoft.com/office/drawing/2014/main" id="{6918363F-9F46-4882-8C1F-53FCE10E751C}"/>
              </a:ext>
            </a:extLst>
          </p:cNvPr>
          <p:cNvSpPr/>
          <p:nvPr/>
        </p:nvSpPr>
        <p:spPr bwMode="auto">
          <a:xfrm>
            <a:off x="595160" y="3481292"/>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7" name="Rounded Rectangle 17">
            <a:extLst>
              <a:ext uri="{FF2B5EF4-FFF2-40B4-BE49-F238E27FC236}">
                <a16:creationId xmlns:a16="http://schemas.microsoft.com/office/drawing/2014/main" id="{9AD707E9-F598-41FC-873C-9C508FED7041}"/>
              </a:ext>
            </a:extLst>
          </p:cNvPr>
          <p:cNvSpPr/>
          <p:nvPr/>
        </p:nvSpPr>
        <p:spPr bwMode="auto">
          <a:xfrm>
            <a:off x="4162621" y="3481292"/>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8" name="Rounded Rectangle 29">
            <a:extLst>
              <a:ext uri="{FF2B5EF4-FFF2-40B4-BE49-F238E27FC236}">
                <a16:creationId xmlns:a16="http://schemas.microsoft.com/office/drawing/2014/main" id="{BD729940-2A35-4B34-964F-6EA190B1CE13}"/>
              </a:ext>
            </a:extLst>
          </p:cNvPr>
          <p:cNvSpPr/>
          <p:nvPr/>
        </p:nvSpPr>
        <p:spPr bwMode="auto">
          <a:xfrm>
            <a:off x="2297099" y="3481292"/>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0" name="Rounded Rectangle 29">
            <a:extLst>
              <a:ext uri="{FF2B5EF4-FFF2-40B4-BE49-F238E27FC236}">
                <a16:creationId xmlns:a16="http://schemas.microsoft.com/office/drawing/2014/main" id="{AE354F42-9FE1-440D-8BBD-C98BB9E9A201}"/>
              </a:ext>
            </a:extLst>
          </p:cNvPr>
          <p:cNvSpPr/>
          <p:nvPr/>
        </p:nvSpPr>
        <p:spPr bwMode="auto">
          <a:xfrm>
            <a:off x="595160" y="424369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39" name="Rounded Rectangle 17">
            <a:extLst>
              <a:ext uri="{FF2B5EF4-FFF2-40B4-BE49-F238E27FC236}">
                <a16:creationId xmlns:a16="http://schemas.microsoft.com/office/drawing/2014/main" id="{8DB120DC-3167-42D0-823F-BBCA8D7E330E}"/>
              </a:ext>
            </a:extLst>
          </p:cNvPr>
          <p:cNvSpPr/>
          <p:nvPr/>
        </p:nvSpPr>
        <p:spPr bwMode="auto">
          <a:xfrm>
            <a:off x="4162621" y="424369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9" name="Rounded Rectangle 29">
            <a:extLst>
              <a:ext uri="{FF2B5EF4-FFF2-40B4-BE49-F238E27FC236}">
                <a16:creationId xmlns:a16="http://schemas.microsoft.com/office/drawing/2014/main" id="{C4D85082-8E8E-4E3C-B318-C9EC038FCCD3}"/>
              </a:ext>
            </a:extLst>
          </p:cNvPr>
          <p:cNvSpPr/>
          <p:nvPr/>
        </p:nvSpPr>
        <p:spPr bwMode="auto">
          <a:xfrm>
            <a:off x="2297099" y="424369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2" name="Rounded Rectangle 29">
            <a:extLst>
              <a:ext uri="{FF2B5EF4-FFF2-40B4-BE49-F238E27FC236}">
                <a16:creationId xmlns:a16="http://schemas.microsoft.com/office/drawing/2014/main" id="{78A788B6-A469-4D13-845F-F666A7D54D39}"/>
              </a:ext>
            </a:extLst>
          </p:cNvPr>
          <p:cNvSpPr/>
          <p:nvPr/>
        </p:nvSpPr>
        <p:spPr bwMode="auto">
          <a:xfrm>
            <a:off x="595160" y="5006104"/>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41" name="Rounded Rectangle 17">
            <a:extLst>
              <a:ext uri="{FF2B5EF4-FFF2-40B4-BE49-F238E27FC236}">
                <a16:creationId xmlns:a16="http://schemas.microsoft.com/office/drawing/2014/main" id="{B7E5D509-1DB7-4979-98B6-723BE46EB06F}"/>
              </a:ext>
            </a:extLst>
          </p:cNvPr>
          <p:cNvSpPr/>
          <p:nvPr/>
        </p:nvSpPr>
        <p:spPr bwMode="auto">
          <a:xfrm>
            <a:off x="4162621" y="5006104"/>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0" name="Rounded Rectangle 29">
            <a:extLst>
              <a:ext uri="{FF2B5EF4-FFF2-40B4-BE49-F238E27FC236}">
                <a16:creationId xmlns:a16="http://schemas.microsoft.com/office/drawing/2014/main" id="{15F5CC81-1398-4780-B50C-2A5A6DB9F23B}"/>
              </a:ext>
            </a:extLst>
          </p:cNvPr>
          <p:cNvSpPr/>
          <p:nvPr/>
        </p:nvSpPr>
        <p:spPr bwMode="auto">
          <a:xfrm>
            <a:off x="2297099" y="5006104"/>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
        <p:nvSpPr>
          <p:cNvPr id="43" name="Rounded Rectangle 17">
            <a:extLst>
              <a:ext uri="{FF2B5EF4-FFF2-40B4-BE49-F238E27FC236}">
                <a16:creationId xmlns:a16="http://schemas.microsoft.com/office/drawing/2014/main" id="{0BFAD635-80EC-4D99-A57C-506BDF03C3AE}"/>
              </a:ext>
            </a:extLst>
          </p:cNvPr>
          <p:cNvSpPr/>
          <p:nvPr/>
        </p:nvSpPr>
        <p:spPr bwMode="auto">
          <a:xfrm>
            <a:off x="4162621" y="576850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44" name="Rounded Rectangle 29">
            <a:extLst>
              <a:ext uri="{FF2B5EF4-FFF2-40B4-BE49-F238E27FC236}">
                <a16:creationId xmlns:a16="http://schemas.microsoft.com/office/drawing/2014/main" id="{F398A46C-B77B-4AD0-8515-74799A20A110}"/>
              </a:ext>
            </a:extLst>
          </p:cNvPr>
          <p:cNvSpPr/>
          <p:nvPr/>
        </p:nvSpPr>
        <p:spPr bwMode="auto">
          <a:xfrm>
            <a:off x="595160" y="5768508"/>
            <a:ext cx="1627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100" b="1" dirty="0">
                <a:cs typeface="Times New Roman" pitchFamily="18" charset="0"/>
              </a:rPr>
              <a:t>Insert Training Name</a:t>
            </a:r>
          </a:p>
        </p:txBody>
      </p:sp>
      <p:sp>
        <p:nvSpPr>
          <p:cNvPr id="51" name="Rounded Rectangle 29">
            <a:extLst>
              <a:ext uri="{FF2B5EF4-FFF2-40B4-BE49-F238E27FC236}">
                <a16:creationId xmlns:a16="http://schemas.microsoft.com/office/drawing/2014/main" id="{3676F106-AFCE-4A63-AF0D-3FED7B82F25E}"/>
              </a:ext>
            </a:extLst>
          </p:cNvPr>
          <p:cNvSpPr/>
          <p:nvPr/>
        </p:nvSpPr>
        <p:spPr bwMode="auto">
          <a:xfrm>
            <a:off x="2297099" y="5768508"/>
            <a:ext cx="1789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GB" altLang="ja-JP" sz="1050" dirty="0">
                <a:cs typeface="Times New Roman" pitchFamily="18" charset="0"/>
              </a:rPr>
              <a:t>Insert the name of the change the Sponsor needs to focus on</a:t>
            </a:r>
          </a:p>
        </p:txBody>
      </p:sp>
    </p:spTree>
    <p:extLst>
      <p:ext uri="{BB962C8B-B14F-4D97-AF65-F5344CB8AC3E}">
        <p14:creationId xmlns:p14="http://schemas.microsoft.com/office/powerpoint/2010/main" val="37170449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raining Plan</a:t>
            </a:r>
            <a:br>
              <a:rPr lang="en-US" sz="2400" kern="0" dirty="0"/>
            </a:br>
            <a:r>
              <a:rPr lang="en-US" b="0" kern="0" dirty="0"/>
              <a:t>One-page summary</a:t>
            </a:r>
            <a:endParaRPr lang="en-US" sz="22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1</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Arial" panose="020B0604020202020204"/>
                          <a:ea typeface="Calibri"/>
                          <a:cs typeface="Times New Roman"/>
                        </a:rPr>
                        <a:t>Insert a key activity that you want to highlight</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Tree>
    <p:extLst>
      <p:ext uri="{BB962C8B-B14F-4D97-AF65-F5344CB8AC3E}">
        <p14:creationId xmlns:p14="http://schemas.microsoft.com/office/powerpoint/2010/main" val="3207187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raining Plan</a:t>
            </a:r>
            <a:br>
              <a:rPr lang="en-US" sz="2400" kern="0" dirty="0"/>
            </a:br>
            <a:r>
              <a:rPr lang="en-US" b="0" kern="0" dirty="0"/>
              <a:t>Open the Excel document “Training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2</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584775"/>
          </a:xfrm>
          <a:prstGeom prst="rect">
            <a:avLst/>
          </a:prstGeom>
          <a:noFill/>
        </p:spPr>
        <p:txBody>
          <a:bodyPr wrap="square" rtlCol="0">
            <a:spAutoFit/>
          </a:bodyPr>
          <a:lstStyle/>
          <a:p>
            <a:r>
              <a:rPr lang="en-GB" sz="1600" b="0" kern="0" dirty="0"/>
              <a:t>This training plan will help us build the skills and capabilities required to successfully implement the change.</a:t>
            </a:r>
            <a:endParaRPr lang="en-US" sz="1600" dirty="0"/>
          </a:p>
        </p:txBody>
      </p:sp>
      <p:pic>
        <p:nvPicPr>
          <p:cNvPr id="4" name="Picture 3" descr="Graphical user interface&#10;&#10;Description automatically generated with low confidence">
            <a:extLst>
              <a:ext uri="{FF2B5EF4-FFF2-40B4-BE49-F238E27FC236}">
                <a16:creationId xmlns:a16="http://schemas.microsoft.com/office/drawing/2014/main" id="{E6850986-3917-47A5-B8B3-AC0735C6E114}"/>
              </a:ext>
            </a:extLst>
          </p:cNvPr>
          <p:cNvPicPr>
            <a:picLocks noChangeAspect="1"/>
          </p:cNvPicPr>
          <p:nvPr/>
        </p:nvPicPr>
        <p:blipFill>
          <a:blip r:embed="rId5"/>
          <a:stretch>
            <a:fillRect/>
          </a:stretch>
        </p:blipFill>
        <p:spPr>
          <a:xfrm>
            <a:off x="1024319" y="2429095"/>
            <a:ext cx="10143362" cy="37962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446591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Training Plan</a:t>
            </a:r>
            <a:br>
              <a:rPr lang="en-US" sz="2400" kern="0" dirty="0"/>
            </a:br>
            <a:r>
              <a:rPr lang="en-US" b="0" kern="0" dirty="0"/>
              <a:t>Open the Excel document “Training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3</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584775"/>
          </a:xfrm>
          <a:prstGeom prst="rect">
            <a:avLst/>
          </a:prstGeom>
          <a:noFill/>
        </p:spPr>
        <p:txBody>
          <a:bodyPr wrap="square" rtlCol="0">
            <a:spAutoFit/>
          </a:bodyPr>
          <a:lstStyle/>
          <a:p>
            <a:r>
              <a:rPr lang="en-GB" sz="1600" b="0" kern="0" dirty="0"/>
              <a:t>This training plan will help us build the skills and capabilities required to successfully implement the change.</a:t>
            </a:r>
            <a:endParaRPr lang="en-US" sz="1600" dirty="0"/>
          </a:p>
        </p:txBody>
      </p:sp>
      <p:pic>
        <p:nvPicPr>
          <p:cNvPr id="4" name="Picture 3" descr="Graphical user interface&#10;&#10;Description automatically generated with low confidence">
            <a:extLst>
              <a:ext uri="{FF2B5EF4-FFF2-40B4-BE49-F238E27FC236}">
                <a16:creationId xmlns:a16="http://schemas.microsoft.com/office/drawing/2014/main" id="{E6850986-3917-47A5-B8B3-AC0735C6E114}"/>
              </a:ext>
            </a:extLst>
          </p:cNvPr>
          <p:cNvPicPr>
            <a:picLocks noChangeAspect="1"/>
          </p:cNvPicPr>
          <p:nvPr/>
        </p:nvPicPr>
        <p:blipFill>
          <a:blip r:embed="rId5"/>
          <a:stretch>
            <a:fillRect/>
          </a:stretch>
        </p:blipFill>
        <p:spPr>
          <a:xfrm>
            <a:off x="1024319" y="2429095"/>
            <a:ext cx="10143362" cy="3796214"/>
          </a:xfrm>
          <a:prstGeom prst="rect">
            <a:avLst/>
          </a:prstGeom>
          <a:ln>
            <a:noFill/>
          </a:ln>
          <a:effectLst>
            <a:outerShdw blurRad="292100" dist="139700" dir="2700000" algn="tl" rotWithShape="0">
              <a:srgbClr val="333333">
                <a:alpha val="65000"/>
              </a:srgbClr>
            </a:outerShdw>
          </a:effectLst>
        </p:spPr>
      </p:pic>
      <p:sp>
        <p:nvSpPr>
          <p:cNvPr id="7" name="Rounded Rectangular Callout 19">
            <a:extLst>
              <a:ext uri="{FF2B5EF4-FFF2-40B4-BE49-F238E27FC236}">
                <a16:creationId xmlns:a16="http://schemas.microsoft.com/office/drawing/2014/main" id="{59F4BC8B-203F-4059-BFDB-668E8A7B73BA}"/>
              </a:ext>
            </a:extLst>
          </p:cNvPr>
          <p:cNvSpPr/>
          <p:nvPr/>
        </p:nvSpPr>
        <p:spPr bwMode="auto">
          <a:xfrm>
            <a:off x="9181195" y="3018728"/>
            <a:ext cx="2475828" cy="2412254"/>
          </a:xfrm>
          <a:prstGeom prst="wedgeRoundRectCallout">
            <a:avLst>
              <a:gd name="adj1" fmla="val -86026"/>
              <a:gd name="adj2" fmla="val -2340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Based on the specificities of your situation, you’ll have to customize the Excel version too.</a:t>
            </a:r>
          </a:p>
          <a:p>
            <a:pPr defTabSz="623853" fontAlgn="base">
              <a:spcBef>
                <a:spcPts val="300"/>
              </a:spcBef>
              <a:spcAft>
                <a:spcPts val="300"/>
              </a:spcAft>
              <a:buClr>
                <a:srgbClr val="000000"/>
              </a:buClr>
            </a:pPr>
            <a:endParaRPr lang="en-US" sz="105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hen you present your deliverable to your hierarchy, keep the Excel version open on your computer, in case your audience wants to deep dive in the plan.</a:t>
            </a:r>
          </a:p>
        </p:txBody>
      </p:sp>
      <p:sp>
        <p:nvSpPr>
          <p:cNvPr id="2" name="Rectangle: Rounded Corners 1">
            <a:extLst>
              <a:ext uri="{FF2B5EF4-FFF2-40B4-BE49-F238E27FC236}">
                <a16:creationId xmlns:a16="http://schemas.microsoft.com/office/drawing/2014/main" id="{CE3A3A35-C180-F9BA-B9B6-0205518F3C71}"/>
              </a:ext>
            </a:extLst>
          </p:cNvPr>
          <p:cNvSpPr/>
          <p:nvPr/>
        </p:nvSpPr>
        <p:spPr>
          <a:xfrm>
            <a:off x="10372725" y="326669"/>
            <a:ext cx="1437370"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38699887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302F4AE-CE77-436B-A364-9D9FC8BC6C5A}"/>
              </a:ext>
            </a:extLst>
          </p:cNvPr>
          <p:cNvSpPr/>
          <p:nvPr/>
        </p:nvSpPr>
        <p:spPr bwMode="auto">
          <a:xfrm>
            <a:off x="4271506" y="3562490"/>
            <a:ext cx="2952000" cy="25200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2" name="Chevron 17">
            <a:extLst>
              <a:ext uri="{FF2B5EF4-FFF2-40B4-BE49-F238E27FC236}">
                <a16:creationId xmlns:a16="http://schemas.microsoft.com/office/drawing/2014/main" id="{5D0013F7-EF7F-04FE-EC80-11B72ECC0D7A}"/>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451A0F3C-FD72-DB0C-A9BB-2B5ECF9DEDB6}"/>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4E3A6C91-55A7-ADC5-A381-0CE4C0866FB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6A6E9FAF-E8B5-D9DF-92AD-59BCB44D41EA}"/>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8" name="Rectangle 17">
            <a:extLst>
              <a:ext uri="{FF2B5EF4-FFF2-40B4-BE49-F238E27FC236}">
                <a16:creationId xmlns:a16="http://schemas.microsoft.com/office/drawing/2014/main" id="{487E4BAB-4E8A-7470-0753-9FD77FAAB3B5}"/>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9" name="Straight Connector 18">
            <a:extLst>
              <a:ext uri="{FF2B5EF4-FFF2-40B4-BE49-F238E27FC236}">
                <a16:creationId xmlns:a16="http://schemas.microsoft.com/office/drawing/2014/main" id="{859962B3-B67D-00CE-64E4-0D10DC7EB883}"/>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Chevron 17">
            <a:extLst>
              <a:ext uri="{FF2B5EF4-FFF2-40B4-BE49-F238E27FC236}">
                <a16:creationId xmlns:a16="http://schemas.microsoft.com/office/drawing/2014/main" id="{0C607D86-F533-3BD0-D6E4-9E0271907242}"/>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1" name="Straight Connector 20">
            <a:extLst>
              <a:ext uri="{FF2B5EF4-FFF2-40B4-BE49-F238E27FC236}">
                <a16:creationId xmlns:a16="http://schemas.microsoft.com/office/drawing/2014/main" id="{9B523359-B2FF-4E79-2A75-0E47351DE678}"/>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BF5BD295-0ACD-B0AE-AA66-73ED7B379754}"/>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3" name="Rectangle: Rounded Corners 22">
            <a:extLst>
              <a:ext uri="{FF2B5EF4-FFF2-40B4-BE49-F238E27FC236}">
                <a16:creationId xmlns:a16="http://schemas.microsoft.com/office/drawing/2014/main" id="{E9D1F1D5-A6E2-2B82-45F4-23EF4D814ABF}"/>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4" name="Rectangle: Rounded Corners 23">
            <a:extLst>
              <a:ext uri="{FF2B5EF4-FFF2-40B4-BE49-F238E27FC236}">
                <a16:creationId xmlns:a16="http://schemas.microsoft.com/office/drawing/2014/main" id="{3571F289-1E89-F16E-1AED-8C437E12AB0D}"/>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5" name="Rectangle: Rounded Corners 24">
            <a:extLst>
              <a:ext uri="{FF2B5EF4-FFF2-40B4-BE49-F238E27FC236}">
                <a16:creationId xmlns:a16="http://schemas.microsoft.com/office/drawing/2014/main" id="{1A88289D-32D2-4595-B10B-8DAF8922D4CE}"/>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30B6D0A9-E6A3-B367-5DD4-93B94FB333BD}"/>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637CCC2E-9FAF-1401-1B62-3B8B063DF58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602E80CB-A469-9FAA-2DB8-FCB6358DDAE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89E8783D-0CEC-AE53-92A1-4CBBBC380FD6}"/>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0" name="Rectangle: Rounded Corners 29">
            <a:extLst>
              <a:ext uri="{FF2B5EF4-FFF2-40B4-BE49-F238E27FC236}">
                <a16:creationId xmlns:a16="http://schemas.microsoft.com/office/drawing/2014/main" id="{08FB663E-FD9B-09CD-0DF4-1C88D599311D}"/>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1" name="Rectangle: Rounded Corners 30">
            <a:extLst>
              <a:ext uri="{FF2B5EF4-FFF2-40B4-BE49-F238E27FC236}">
                <a16:creationId xmlns:a16="http://schemas.microsoft.com/office/drawing/2014/main" id="{74F9C3F2-96CD-E0E2-5283-47282F446ED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EE739D0C-1D8A-0C54-74CA-E7F671882C55}"/>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3" name="Rectangle: Rounded Corners 32">
            <a:extLst>
              <a:ext uri="{FF2B5EF4-FFF2-40B4-BE49-F238E27FC236}">
                <a16:creationId xmlns:a16="http://schemas.microsoft.com/office/drawing/2014/main" id="{C5E721A6-5F25-17DB-9417-9B7E6C948B56}"/>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4" name="Rectangle: Rounded Corners 33">
            <a:extLst>
              <a:ext uri="{FF2B5EF4-FFF2-40B4-BE49-F238E27FC236}">
                <a16:creationId xmlns:a16="http://schemas.microsoft.com/office/drawing/2014/main" id="{2450E9E3-28CA-FC75-CF68-FCA97D19BD48}"/>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35" name="Graphic 34" descr="Blueprint outline">
            <a:extLst>
              <a:ext uri="{FF2B5EF4-FFF2-40B4-BE49-F238E27FC236}">
                <a16:creationId xmlns:a16="http://schemas.microsoft.com/office/drawing/2014/main" id="{366E577C-7704-1273-DFEF-3B75D78032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36" name="Graphic 35" descr="Target outline">
            <a:extLst>
              <a:ext uri="{FF2B5EF4-FFF2-40B4-BE49-F238E27FC236}">
                <a16:creationId xmlns:a16="http://schemas.microsoft.com/office/drawing/2014/main" id="{6A9B682C-1741-2AA6-B98F-1F808FE925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37" name="Graphic 36" descr="Clipboard Partially Checked outline">
            <a:extLst>
              <a:ext uri="{FF2B5EF4-FFF2-40B4-BE49-F238E27FC236}">
                <a16:creationId xmlns:a16="http://schemas.microsoft.com/office/drawing/2014/main" id="{67445EE8-2DCA-3260-D0AA-CEFBDCD3D8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9369963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ummary of the types of resistance to be expected</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27" name="Rounded Rectangle 23">
            <a:extLst>
              <a:ext uri="{FF2B5EF4-FFF2-40B4-BE49-F238E27FC236}">
                <a16:creationId xmlns:a16="http://schemas.microsoft.com/office/drawing/2014/main" id="{FE7EC5B4-172C-4BF7-92F0-FE70FE551B7D}"/>
              </a:ext>
            </a:extLst>
          </p:cNvPr>
          <p:cNvSpPr>
            <a:spLocks noChangeArrowheads="1"/>
          </p:cNvSpPr>
          <p:nvPr>
            <p:custDataLst>
              <p:tags r:id="rId2"/>
            </p:custDataLst>
          </p:nvPr>
        </p:nvSpPr>
        <p:spPr bwMode="auto">
          <a:xfrm>
            <a:off x="4162633" y="1586346"/>
            <a:ext cx="7423188"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Mitigation Action</a:t>
            </a:r>
            <a:endParaRPr lang="en-GB" altLang="ja-JP" sz="1200" b="1" baseline="30000" dirty="0">
              <a:solidFill>
                <a:schemeClr val="bg1"/>
              </a:solidFill>
              <a:ea typeface="ＭＳ Ｐゴシック" pitchFamily="50" charset="-128"/>
            </a:endParaRPr>
          </a:p>
        </p:txBody>
      </p:sp>
      <p:sp>
        <p:nvSpPr>
          <p:cNvPr id="28" name="Rounded Rectangle 28">
            <a:extLst>
              <a:ext uri="{FF2B5EF4-FFF2-40B4-BE49-F238E27FC236}">
                <a16:creationId xmlns:a16="http://schemas.microsoft.com/office/drawing/2014/main" id="{6126E7FA-76E9-475B-B4F4-32EA055E7CDD}"/>
              </a:ext>
            </a:extLst>
          </p:cNvPr>
          <p:cNvSpPr>
            <a:spLocks noChangeArrowheads="1"/>
          </p:cNvSpPr>
          <p:nvPr>
            <p:custDataLst>
              <p:tags r:id="rId3"/>
            </p:custDataLst>
          </p:nvPr>
        </p:nvSpPr>
        <p:spPr bwMode="auto">
          <a:xfrm>
            <a:off x="595160" y="1586346"/>
            <a:ext cx="3480282" cy="331681"/>
          </a:xfrm>
          <a:prstGeom prst="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Type of resistance to be expected</a:t>
            </a:r>
            <a:endParaRPr lang="en-GB" altLang="ja-JP" sz="1200" b="1" baseline="30000" dirty="0">
              <a:solidFill>
                <a:schemeClr val="bg1"/>
              </a:solidFill>
              <a:ea typeface="ＭＳ Ｐゴシック" pitchFamily="50" charset="-128"/>
            </a:endParaRPr>
          </a:p>
        </p:txBody>
      </p:sp>
      <p:sp>
        <p:nvSpPr>
          <p:cNvPr id="26" name="Rounded Rectangle 17">
            <a:extLst>
              <a:ext uri="{FF2B5EF4-FFF2-40B4-BE49-F238E27FC236}">
                <a16:creationId xmlns:a16="http://schemas.microsoft.com/office/drawing/2014/main" id="{4050F6AA-3CAC-405D-918E-3963D035EA44}"/>
              </a:ext>
            </a:extLst>
          </p:cNvPr>
          <p:cNvSpPr/>
          <p:nvPr/>
        </p:nvSpPr>
        <p:spPr bwMode="auto">
          <a:xfrm>
            <a:off x="4162633" y="1956480"/>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29" name="Rounded Rectangle 29">
            <a:extLst>
              <a:ext uri="{FF2B5EF4-FFF2-40B4-BE49-F238E27FC236}">
                <a16:creationId xmlns:a16="http://schemas.microsoft.com/office/drawing/2014/main" id="{1B8E78DC-FB09-4BDF-87AA-3F51F1F9C419}"/>
              </a:ext>
            </a:extLst>
          </p:cNvPr>
          <p:cNvSpPr/>
          <p:nvPr/>
        </p:nvSpPr>
        <p:spPr bwMode="auto">
          <a:xfrm>
            <a:off x="595160" y="1956480"/>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30" name="Rounded Rectangle 17">
            <a:extLst>
              <a:ext uri="{FF2B5EF4-FFF2-40B4-BE49-F238E27FC236}">
                <a16:creationId xmlns:a16="http://schemas.microsoft.com/office/drawing/2014/main" id="{59FDA2B7-89AD-4C6D-9835-B5B838D8676D}"/>
              </a:ext>
            </a:extLst>
          </p:cNvPr>
          <p:cNvSpPr/>
          <p:nvPr/>
        </p:nvSpPr>
        <p:spPr bwMode="auto">
          <a:xfrm>
            <a:off x="4162633" y="2718886"/>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2" name="Rounded Rectangle 29">
            <a:extLst>
              <a:ext uri="{FF2B5EF4-FFF2-40B4-BE49-F238E27FC236}">
                <a16:creationId xmlns:a16="http://schemas.microsoft.com/office/drawing/2014/main" id="{264CE88D-F9BB-4054-9319-913C8609171D}"/>
              </a:ext>
            </a:extLst>
          </p:cNvPr>
          <p:cNvSpPr/>
          <p:nvPr/>
        </p:nvSpPr>
        <p:spPr bwMode="auto">
          <a:xfrm>
            <a:off x="595160" y="2718886"/>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3" name="Rounded Rectangle 17">
            <a:extLst>
              <a:ext uri="{FF2B5EF4-FFF2-40B4-BE49-F238E27FC236}">
                <a16:creationId xmlns:a16="http://schemas.microsoft.com/office/drawing/2014/main" id="{73EF2EC1-543A-43C8-9ACC-986B4455EDE3}"/>
              </a:ext>
            </a:extLst>
          </p:cNvPr>
          <p:cNvSpPr/>
          <p:nvPr/>
        </p:nvSpPr>
        <p:spPr bwMode="auto">
          <a:xfrm>
            <a:off x="4162633" y="3481292"/>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4" name="Rounded Rectangle 29">
            <a:extLst>
              <a:ext uri="{FF2B5EF4-FFF2-40B4-BE49-F238E27FC236}">
                <a16:creationId xmlns:a16="http://schemas.microsoft.com/office/drawing/2014/main" id="{2FB6D092-B7BB-48AF-8D35-BD2EF347CAE1}"/>
              </a:ext>
            </a:extLst>
          </p:cNvPr>
          <p:cNvSpPr/>
          <p:nvPr/>
        </p:nvSpPr>
        <p:spPr bwMode="auto">
          <a:xfrm>
            <a:off x="595160" y="3481292"/>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5" name="Rounded Rectangle 17">
            <a:extLst>
              <a:ext uri="{FF2B5EF4-FFF2-40B4-BE49-F238E27FC236}">
                <a16:creationId xmlns:a16="http://schemas.microsoft.com/office/drawing/2014/main" id="{7B7B20F2-49FF-45F0-B07C-BAD0EBFB7760}"/>
              </a:ext>
            </a:extLst>
          </p:cNvPr>
          <p:cNvSpPr/>
          <p:nvPr/>
        </p:nvSpPr>
        <p:spPr bwMode="auto">
          <a:xfrm>
            <a:off x="4162633" y="424369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6" name="Rounded Rectangle 29">
            <a:extLst>
              <a:ext uri="{FF2B5EF4-FFF2-40B4-BE49-F238E27FC236}">
                <a16:creationId xmlns:a16="http://schemas.microsoft.com/office/drawing/2014/main" id="{C4F73D83-F65A-428B-81D2-18467F9E5007}"/>
              </a:ext>
            </a:extLst>
          </p:cNvPr>
          <p:cNvSpPr/>
          <p:nvPr/>
        </p:nvSpPr>
        <p:spPr bwMode="auto">
          <a:xfrm>
            <a:off x="595160" y="4243698"/>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7" name="Rounded Rectangle 17">
            <a:extLst>
              <a:ext uri="{FF2B5EF4-FFF2-40B4-BE49-F238E27FC236}">
                <a16:creationId xmlns:a16="http://schemas.microsoft.com/office/drawing/2014/main" id="{96F018B9-92F6-4FBB-A600-86A209B9B914}"/>
              </a:ext>
            </a:extLst>
          </p:cNvPr>
          <p:cNvSpPr/>
          <p:nvPr/>
        </p:nvSpPr>
        <p:spPr bwMode="auto">
          <a:xfrm>
            <a:off x="4162633" y="5006104"/>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58" name="Rounded Rectangle 29">
            <a:extLst>
              <a:ext uri="{FF2B5EF4-FFF2-40B4-BE49-F238E27FC236}">
                <a16:creationId xmlns:a16="http://schemas.microsoft.com/office/drawing/2014/main" id="{8C2A4256-497E-47A6-8570-D335AC1B9ECA}"/>
              </a:ext>
            </a:extLst>
          </p:cNvPr>
          <p:cNvSpPr/>
          <p:nvPr/>
        </p:nvSpPr>
        <p:spPr bwMode="auto">
          <a:xfrm>
            <a:off x="595160" y="5006104"/>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
        <p:nvSpPr>
          <p:cNvPr id="59" name="Rounded Rectangle 17">
            <a:extLst>
              <a:ext uri="{FF2B5EF4-FFF2-40B4-BE49-F238E27FC236}">
                <a16:creationId xmlns:a16="http://schemas.microsoft.com/office/drawing/2014/main" id="{3B6E491F-27D4-4C73-A6A3-5C756F15F7A8}"/>
              </a:ext>
            </a:extLst>
          </p:cNvPr>
          <p:cNvSpPr/>
          <p:nvPr/>
        </p:nvSpPr>
        <p:spPr bwMode="auto">
          <a:xfrm>
            <a:off x="4162633" y="5768508"/>
            <a:ext cx="7423200" cy="723953"/>
          </a:xfrm>
          <a:prstGeom prst="rect">
            <a:avLst/>
          </a:prstGeom>
          <a:solidFill>
            <a:schemeClr val="bg1"/>
          </a:solidFill>
          <a:ln>
            <a:noFill/>
          </a:ln>
          <a:effectLst/>
        </p:spPr>
        <p:txBody>
          <a:bodyPr wrap="square" lIns="91428" tIns="45715" rIns="91428" bIns="45715" rtlCol="0" anchor="ctr">
            <a:noAutofit/>
          </a:bodyPr>
          <a:lstStyle/>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1</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2</a:t>
            </a:r>
          </a:p>
          <a:p>
            <a:pPr marL="93663" indent="-93663" defTabSz="623853" fontAlgn="base">
              <a:buClr>
                <a:srgbClr val="000000"/>
              </a:buClr>
              <a:buFont typeface="Arial" panose="020B0604020202020204" pitchFamily="34" charset="0"/>
              <a:buChar char="•"/>
            </a:pPr>
            <a:r>
              <a:rPr lang="en-GB" sz="1050" dirty="0">
                <a:cs typeface="Times New Roman" pitchFamily="18" charset="0"/>
              </a:rPr>
              <a:t>Insert key action  #3</a:t>
            </a:r>
          </a:p>
        </p:txBody>
      </p:sp>
      <p:sp>
        <p:nvSpPr>
          <p:cNvPr id="60" name="Rounded Rectangle 29">
            <a:extLst>
              <a:ext uri="{FF2B5EF4-FFF2-40B4-BE49-F238E27FC236}">
                <a16:creationId xmlns:a16="http://schemas.microsoft.com/office/drawing/2014/main" id="{D3F5FA94-4E42-401C-83E1-7EC5A0E22CAD}"/>
              </a:ext>
            </a:extLst>
          </p:cNvPr>
          <p:cNvSpPr/>
          <p:nvPr/>
        </p:nvSpPr>
        <p:spPr bwMode="auto">
          <a:xfrm>
            <a:off x="595160" y="5768508"/>
            <a:ext cx="3481200" cy="723953"/>
          </a:xfrm>
          <a:prstGeom prst="rect">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altLang="ja-JP" sz="1100" b="1" dirty="0">
                <a:cs typeface="Times New Roman" pitchFamily="18" charset="0"/>
              </a:rPr>
              <a:t>Insert the type of resistance to be expected</a:t>
            </a:r>
            <a:endParaRPr lang="en-GB" altLang="ja-JP" sz="1100" b="1" dirty="0">
              <a:cs typeface="Times New Roman" pitchFamily="18" charset="0"/>
            </a:endParaRPr>
          </a:p>
        </p:txBody>
      </p:sp>
    </p:spTree>
    <p:extLst>
      <p:ext uri="{BB962C8B-B14F-4D97-AF65-F5344CB8AC3E}">
        <p14:creationId xmlns:p14="http://schemas.microsoft.com/office/powerpoint/2010/main" val="16553313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esistance Management Plan</a:t>
            </a:r>
            <a:br>
              <a:rPr lang="en-US" sz="2400" kern="0" dirty="0"/>
            </a:br>
            <a:r>
              <a:rPr lang="en-US" b="0" kern="0" dirty="0"/>
              <a:t>Open the Excel document “Resistance Management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6</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584775"/>
          </a:xfrm>
          <a:prstGeom prst="rect">
            <a:avLst/>
          </a:prstGeom>
          <a:noFill/>
        </p:spPr>
        <p:txBody>
          <a:bodyPr wrap="square" rtlCol="0">
            <a:spAutoFit/>
          </a:bodyPr>
          <a:lstStyle/>
          <a:p>
            <a:r>
              <a:rPr lang="en-GB" sz="1600" b="0" kern="0" dirty="0"/>
              <a:t>The resistance management plan will help you identify which actions you can take to prevent potential or real resistance.</a:t>
            </a:r>
            <a:endParaRPr lang="en-US" sz="1600" dirty="0"/>
          </a:p>
        </p:txBody>
      </p:sp>
      <p:pic>
        <p:nvPicPr>
          <p:cNvPr id="6" name="Picture 5" descr="Graphical user interface, application&#10;&#10;Description automatically generated">
            <a:extLst>
              <a:ext uri="{FF2B5EF4-FFF2-40B4-BE49-F238E27FC236}">
                <a16:creationId xmlns:a16="http://schemas.microsoft.com/office/drawing/2014/main" id="{B865E54A-71C6-49E3-9F91-09ED744857F1}"/>
              </a:ext>
            </a:extLst>
          </p:cNvPr>
          <p:cNvPicPr>
            <a:picLocks noChangeAspect="1"/>
          </p:cNvPicPr>
          <p:nvPr/>
        </p:nvPicPr>
        <p:blipFill>
          <a:blip r:embed="rId5"/>
          <a:stretch>
            <a:fillRect/>
          </a:stretch>
        </p:blipFill>
        <p:spPr>
          <a:xfrm>
            <a:off x="670783" y="2512626"/>
            <a:ext cx="10994513" cy="332012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378078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Resistance Management Plan</a:t>
            </a:r>
            <a:br>
              <a:rPr lang="en-US" sz="2400" kern="0" dirty="0"/>
            </a:br>
            <a:r>
              <a:rPr lang="en-US" b="0" kern="0" dirty="0"/>
              <a:t>Open the Excel document “Resistance Management Plan” for more details</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7</a:t>
            </a:fld>
            <a:endParaRPr lang="en-US" sz="1000" dirty="0">
              <a:solidFill>
                <a:srgbClr val="ADAFBB"/>
              </a:solidFill>
            </a:endParaRPr>
          </a:p>
        </p:txBody>
      </p:sp>
      <p:sp>
        <p:nvSpPr>
          <p:cNvPr id="5" name="TextBox 4">
            <a:extLst>
              <a:ext uri="{FF2B5EF4-FFF2-40B4-BE49-F238E27FC236}">
                <a16:creationId xmlns:a16="http://schemas.microsoft.com/office/drawing/2014/main" id="{0550D2D2-AB65-42BC-8CA8-07D4B69E65F6}"/>
              </a:ext>
            </a:extLst>
          </p:cNvPr>
          <p:cNvSpPr txBox="1"/>
          <p:nvPr/>
        </p:nvSpPr>
        <p:spPr>
          <a:xfrm>
            <a:off x="563419" y="1616368"/>
            <a:ext cx="9790545" cy="584775"/>
          </a:xfrm>
          <a:prstGeom prst="rect">
            <a:avLst/>
          </a:prstGeom>
          <a:noFill/>
        </p:spPr>
        <p:txBody>
          <a:bodyPr wrap="square" rtlCol="0">
            <a:spAutoFit/>
          </a:bodyPr>
          <a:lstStyle/>
          <a:p>
            <a:r>
              <a:rPr lang="en-GB" sz="1600" b="0" kern="0" dirty="0"/>
              <a:t>The resistance management plan will help you identify which actions you can take to prevent potential or real resistance.</a:t>
            </a:r>
            <a:endParaRPr lang="en-US" sz="1600" dirty="0"/>
          </a:p>
        </p:txBody>
      </p:sp>
      <p:pic>
        <p:nvPicPr>
          <p:cNvPr id="6" name="Picture 5" descr="Graphical user interface, application&#10;&#10;Description automatically generated">
            <a:extLst>
              <a:ext uri="{FF2B5EF4-FFF2-40B4-BE49-F238E27FC236}">
                <a16:creationId xmlns:a16="http://schemas.microsoft.com/office/drawing/2014/main" id="{B865E54A-71C6-49E3-9F91-09ED744857F1}"/>
              </a:ext>
            </a:extLst>
          </p:cNvPr>
          <p:cNvPicPr>
            <a:picLocks noChangeAspect="1"/>
          </p:cNvPicPr>
          <p:nvPr/>
        </p:nvPicPr>
        <p:blipFill>
          <a:blip r:embed="rId5"/>
          <a:stretch>
            <a:fillRect/>
          </a:stretch>
        </p:blipFill>
        <p:spPr>
          <a:xfrm>
            <a:off x="670783" y="2512626"/>
            <a:ext cx="10994513" cy="3320126"/>
          </a:xfrm>
          <a:prstGeom prst="rect">
            <a:avLst/>
          </a:prstGeom>
          <a:ln>
            <a:noFill/>
          </a:ln>
          <a:effectLst>
            <a:outerShdw blurRad="292100" dist="139700" dir="2700000" algn="tl" rotWithShape="0">
              <a:srgbClr val="333333">
                <a:alpha val="65000"/>
              </a:srgbClr>
            </a:outerShdw>
          </a:effectLst>
        </p:spPr>
      </p:pic>
      <p:sp>
        <p:nvSpPr>
          <p:cNvPr id="7" name="Rounded Rectangular Callout 19">
            <a:extLst>
              <a:ext uri="{FF2B5EF4-FFF2-40B4-BE49-F238E27FC236}">
                <a16:creationId xmlns:a16="http://schemas.microsoft.com/office/drawing/2014/main" id="{B2B70791-2F22-4B40-B4DF-A8D947C81F34}"/>
              </a:ext>
            </a:extLst>
          </p:cNvPr>
          <p:cNvSpPr/>
          <p:nvPr/>
        </p:nvSpPr>
        <p:spPr bwMode="auto">
          <a:xfrm>
            <a:off x="9181195" y="3018728"/>
            <a:ext cx="2475828" cy="2412254"/>
          </a:xfrm>
          <a:prstGeom prst="wedgeRoundRectCallout">
            <a:avLst>
              <a:gd name="adj1" fmla="val -86026"/>
              <a:gd name="adj2" fmla="val -2340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Based on the specificities of your situation, you’ll have to customize the Excel version too.</a:t>
            </a:r>
          </a:p>
          <a:p>
            <a:pPr defTabSz="623853" fontAlgn="base">
              <a:spcBef>
                <a:spcPts val="300"/>
              </a:spcBef>
              <a:spcAft>
                <a:spcPts val="300"/>
              </a:spcAft>
              <a:buClr>
                <a:srgbClr val="000000"/>
              </a:buClr>
            </a:pPr>
            <a:endParaRPr lang="en-US" sz="105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hen you present your deliverable to your hierarchy, keep the Excel version open on your computer, in case your audience wants to deep dive in the plan.</a:t>
            </a:r>
          </a:p>
        </p:txBody>
      </p:sp>
      <p:sp>
        <p:nvSpPr>
          <p:cNvPr id="2" name="Rectangle: Rounded Corners 1">
            <a:extLst>
              <a:ext uri="{FF2B5EF4-FFF2-40B4-BE49-F238E27FC236}">
                <a16:creationId xmlns:a16="http://schemas.microsoft.com/office/drawing/2014/main" id="{2E4A0174-2480-9C31-18D1-0EE88795D97C}"/>
              </a:ext>
            </a:extLst>
          </p:cNvPr>
          <p:cNvSpPr/>
          <p:nvPr/>
        </p:nvSpPr>
        <p:spPr>
          <a:xfrm>
            <a:off x="10372725" y="326669"/>
            <a:ext cx="1437370"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24318976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AU" sz="2400" kern="0" dirty="0"/>
              <a:t>Example of actions to create </a:t>
            </a:r>
            <a:r>
              <a:rPr lang="en-GB" sz="2400" kern="0" dirty="0"/>
              <a:t>the desire to change (1/2)</a:t>
            </a:r>
            <a:endParaRPr lang="fr-FR" sz="2400" kern="0" dirty="0"/>
          </a:p>
        </p:txBody>
      </p:sp>
      <p:sp>
        <p:nvSpPr>
          <p:cNvPr id="2" name="Rounded Rectangle 4">
            <a:extLst>
              <a:ext uri="{FF2B5EF4-FFF2-40B4-BE49-F238E27FC236}">
                <a16:creationId xmlns:a16="http://schemas.microsoft.com/office/drawing/2014/main" id="{62912352-684B-473E-98BD-DBB8E7840A26}"/>
              </a:ext>
            </a:extLst>
          </p:cNvPr>
          <p:cNvSpPr/>
          <p:nvPr/>
        </p:nvSpPr>
        <p:spPr bwMode="auto">
          <a:xfrm>
            <a:off x="2052282" y="2008171"/>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Listen and understand objections</a:t>
            </a:r>
          </a:p>
        </p:txBody>
      </p:sp>
      <p:sp>
        <p:nvSpPr>
          <p:cNvPr id="3" name="Rounded Rectangle 5">
            <a:extLst>
              <a:ext uri="{FF2B5EF4-FFF2-40B4-BE49-F238E27FC236}">
                <a16:creationId xmlns:a16="http://schemas.microsoft.com/office/drawing/2014/main" id="{640D5A11-F727-4C14-B097-3786404B2374}"/>
              </a:ext>
            </a:extLst>
          </p:cNvPr>
          <p:cNvSpPr>
            <a:spLocks noChangeArrowheads="1"/>
          </p:cNvSpPr>
          <p:nvPr>
            <p:custDataLst>
              <p:tags r:id="rId2"/>
            </p:custDataLst>
          </p:nvPr>
        </p:nvSpPr>
        <p:spPr bwMode="auto">
          <a:xfrm>
            <a:off x="2052282" y="1544948"/>
            <a:ext cx="1999381" cy="407759"/>
          </a:xfrm>
          <a:prstGeom prst="roundRect">
            <a:avLst/>
          </a:prstGeom>
          <a:solidFill>
            <a:schemeClr val="tx2"/>
          </a:solidFill>
          <a:ln w="9525" algn="ctr">
            <a:solidFill>
              <a:schemeClr val="accent1"/>
            </a:solid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Action title</a:t>
            </a:r>
          </a:p>
        </p:txBody>
      </p:sp>
      <p:sp>
        <p:nvSpPr>
          <p:cNvPr id="4" name="Rounded Rectangle 6">
            <a:extLst>
              <a:ext uri="{FF2B5EF4-FFF2-40B4-BE49-F238E27FC236}">
                <a16:creationId xmlns:a16="http://schemas.microsoft.com/office/drawing/2014/main" id="{BEAA5481-CF12-4A8E-B904-A0DA1F0C4FBE}"/>
              </a:ext>
            </a:extLst>
          </p:cNvPr>
          <p:cNvSpPr/>
          <p:nvPr/>
        </p:nvSpPr>
        <p:spPr bwMode="auto">
          <a:xfrm>
            <a:off x="4127863" y="2008171"/>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Listen with empathy and understand the objections of the employees. In many situation, employees just want to be heard and to voice their objection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Provide clarity if misunderstandings</a:t>
            </a:r>
          </a:p>
        </p:txBody>
      </p:sp>
      <p:sp>
        <p:nvSpPr>
          <p:cNvPr id="5" name="Rounded Rectangle 7">
            <a:extLst>
              <a:ext uri="{FF2B5EF4-FFF2-40B4-BE49-F238E27FC236}">
                <a16:creationId xmlns:a16="http://schemas.microsoft.com/office/drawing/2014/main" id="{11C8B0E7-A1CC-4EE2-884D-0A35D016C9EB}"/>
              </a:ext>
            </a:extLst>
          </p:cNvPr>
          <p:cNvSpPr>
            <a:spLocks noChangeArrowheads="1"/>
          </p:cNvSpPr>
          <p:nvPr>
            <p:custDataLst>
              <p:tags r:id="rId3"/>
            </p:custDataLst>
          </p:nvPr>
        </p:nvSpPr>
        <p:spPr bwMode="auto">
          <a:xfrm>
            <a:off x="4127863" y="1544948"/>
            <a:ext cx="3809999" cy="407759"/>
          </a:xfrm>
          <a:prstGeom prst="roundRect">
            <a:avLst/>
          </a:prstGeom>
          <a:solidFill>
            <a:schemeClr val="tx2"/>
          </a:solidFill>
          <a:ln w="9525" algn="ctr">
            <a:solidFill>
              <a:schemeClr val="accent1"/>
            </a:solid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Action description</a:t>
            </a:r>
          </a:p>
        </p:txBody>
      </p:sp>
      <p:sp>
        <p:nvSpPr>
          <p:cNvPr id="6" name="Rounded Rectangle 8">
            <a:extLst>
              <a:ext uri="{FF2B5EF4-FFF2-40B4-BE49-F238E27FC236}">
                <a16:creationId xmlns:a16="http://schemas.microsoft.com/office/drawing/2014/main" id="{83696F85-C0C7-4B61-85FE-6C21C788BC39}"/>
              </a:ext>
            </a:extLst>
          </p:cNvPr>
          <p:cNvSpPr/>
          <p:nvPr/>
        </p:nvSpPr>
        <p:spPr bwMode="auto">
          <a:xfrm>
            <a:off x="2052282" y="2921430"/>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Focus on the "what" and let go of the "how"</a:t>
            </a:r>
          </a:p>
        </p:txBody>
      </p:sp>
      <p:sp>
        <p:nvSpPr>
          <p:cNvPr id="7" name="Rounded Rectangle 9">
            <a:extLst>
              <a:ext uri="{FF2B5EF4-FFF2-40B4-BE49-F238E27FC236}">
                <a16:creationId xmlns:a16="http://schemas.microsoft.com/office/drawing/2014/main" id="{C3C13106-10FB-49D1-BDE6-BD308CFF3356}"/>
              </a:ext>
            </a:extLst>
          </p:cNvPr>
          <p:cNvSpPr/>
          <p:nvPr/>
        </p:nvSpPr>
        <p:spPr bwMode="auto">
          <a:xfrm>
            <a:off x="4127863" y="2921430"/>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Communicate the “what” need</a:t>
            </a:r>
            <a:r>
              <a:rPr lang="en-US" sz="1050" dirty="0">
                <a:solidFill>
                  <a:schemeClr val="tx2"/>
                </a:solidFill>
                <a:latin typeface="Arial" charset="0"/>
                <a:cs typeface="Times New Roman" pitchFamily="18" charset="0"/>
              </a:rPr>
              <a:t>s</a:t>
            </a:r>
            <a:r>
              <a:rPr lang="en-US" sz="1050" dirty="0">
                <a:solidFill>
                  <a:srgbClr val="0C2870"/>
                </a:solidFill>
                <a:latin typeface="Arial" charset="0"/>
                <a:cs typeface="Times New Roman" pitchFamily="18" charset="0"/>
              </a:rPr>
              <a:t> to be change without providing information on the “how”</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Transfer ownership of the “how” to the employees. Employee involvement and ownership will naturally build desire for change</a:t>
            </a:r>
          </a:p>
        </p:txBody>
      </p:sp>
      <p:sp>
        <p:nvSpPr>
          <p:cNvPr id="8" name="Rounded Rectangle 10">
            <a:extLst>
              <a:ext uri="{FF2B5EF4-FFF2-40B4-BE49-F238E27FC236}">
                <a16:creationId xmlns:a16="http://schemas.microsoft.com/office/drawing/2014/main" id="{F457F4BB-30C5-47F9-96F7-D8889B481CD7}"/>
              </a:ext>
            </a:extLst>
          </p:cNvPr>
          <p:cNvSpPr/>
          <p:nvPr/>
        </p:nvSpPr>
        <p:spPr bwMode="auto">
          <a:xfrm>
            <a:off x="2052282" y="3834689"/>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Remove barriers</a:t>
            </a:r>
          </a:p>
        </p:txBody>
      </p:sp>
      <p:sp>
        <p:nvSpPr>
          <p:cNvPr id="9" name="Rounded Rectangle 11">
            <a:extLst>
              <a:ext uri="{FF2B5EF4-FFF2-40B4-BE49-F238E27FC236}">
                <a16:creationId xmlns:a16="http://schemas.microsoft.com/office/drawing/2014/main" id="{AB8C9770-409C-42A8-B9A0-9268A7A0194E}"/>
              </a:ext>
            </a:extLst>
          </p:cNvPr>
          <p:cNvSpPr/>
          <p:nvPr/>
        </p:nvSpPr>
        <p:spPr bwMode="auto">
          <a:xfrm>
            <a:off x="4127863" y="3834689"/>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Understand the personal situation of each employee in order to identify potential barrier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Find solutions to address these barriers</a:t>
            </a:r>
          </a:p>
        </p:txBody>
      </p:sp>
      <p:sp>
        <p:nvSpPr>
          <p:cNvPr id="11" name="Rounded Rectangle 12">
            <a:extLst>
              <a:ext uri="{FF2B5EF4-FFF2-40B4-BE49-F238E27FC236}">
                <a16:creationId xmlns:a16="http://schemas.microsoft.com/office/drawing/2014/main" id="{1B492E54-F03E-4BA2-88C6-0C347B9BB01B}"/>
              </a:ext>
            </a:extLst>
          </p:cNvPr>
          <p:cNvSpPr/>
          <p:nvPr/>
        </p:nvSpPr>
        <p:spPr bwMode="auto">
          <a:xfrm>
            <a:off x="8014063" y="2008171"/>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Avoid debating or arguing with employees</a:t>
            </a:r>
          </a:p>
        </p:txBody>
      </p:sp>
      <p:sp>
        <p:nvSpPr>
          <p:cNvPr id="23" name="Rounded Rectangle 14">
            <a:extLst>
              <a:ext uri="{FF2B5EF4-FFF2-40B4-BE49-F238E27FC236}">
                <a16:creationId xmlns:a16="http://schemas.microsoft.com/office/drawing/2014/main" id="{AAD0811F-8105-41E7-A2D5-F5989BE39EBB}"/>
              </a:ext>
            </a:extLst>
          </p:cNvPr>
          <p:cNvSpPr>
            <a:spLocks noChangeArrowheads="1"/>
          </p:cNvSpPr>
          <p:nvPr>
            <p:custDataLst>
              <p:tags r:id="rId4"/>
            </p:custDataLst>
          </p:nvPr>
        </p:nvSpPr>
        <p:spPr bwMode="auto">
          <a:xfrm>
            <a:off x="8014063" y="1544948"/>
            <a:ext cx="2460890" cy="407759"/>
          </a:xfrm>
          <a:prstGeom prst="roundRect">
            <a:avLst/>
          </a:prstGeom>
          <a:solidFill>
            <a:schemeClr val="tx2"/>
          </a:solidFill>
          <a:ln w="9525" algn="ctr">
            <a:solidFill>
              <a:schemeClr val="accent1"/>
            </a:solid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Comment</a:t>
            </a:r>
          </a:p>
        </p:txBody>
      </p:sp>
      <p:sp>
        <p:nvSpPr>
          <p:cNvPr id="31" name="Rounded Rectangle 17">
            <a:extLst>
              <a:ext uri="{FF2B5EF4-FFF2-40B4-BE49-F238E27FC236}">
                <a16:creationId xmlns:a16="http://schemas.microsoft.com/office/drawing/2014/main" id="{3773D34F-B748-4EF8-966E-1E9F31BF6668}"/>
              </a:ext>
            </a:extLst>
          </p:cNvPr>
          <p:cNvSpPr/>
          <p:nvPr/>
        </p:nvSpPr>
        <p:spPr bwMode="auto">
          <a:xfrm>
            <a:off x="8014063" y="2921430"/>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This action is useful in small groups and departments in which the change has little or no impact on other groups</a:t>
            </a:r>
          </a:p>
        </p:txBody>
      </p:sp>
      <p:sp>
        <p:nvSpPr>
          <p:cNvPr id="33" name="Rounded Rectangle 18">
            <a:extLst>
              <a:ext uri="{FF2B5EF4-FFF2-40B4-BE49-F238E27FC236}">
                <a16:creationId xmlns:a16="http://schemas.microsoft.com/office/drawing/2014/main" id="{4223B6FE-4447-46E0-8DDE-2F9160E82ECC}"/>
              </a:ext>
            </a:extLst>
          </p:cNvPr>
          <p:cNvSpPr/>
          <p:nvPr/>
        </p:nvSpPr>
        <p:spPr bwMode="auto">
          <a:xfrm>
            <a:off x="8014063" y="3834689"/>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Barriers could be family issue</a:t>
            </a:r>
            <a:r>
              <a:rPr lang="en-US" sz="1050" dirty="0">
                <a:solidFill>
                  <a:srgbClr val="FF0000"/>
                </a:solidFill>
                <a:latin typeface="Arial" charset="0"/>
                <a:cs typeface="Times New Roman" pitchFamily="18" charset="0"/>
              </a:rPr>
              <a:t>s</a:t>
            </a:r>
            <a:r>
              <a:rPr lang="en-US" sz="1050" dirty="0">
                <a:solidFill>
                  <a:srgbClr val="0C2870"/>
                </a:solidFill>
                <a:latin typeface="Arial" charset="0"/>
                <a:cs typeface="Times New Roman" pitchFamily="18" charset="0"/>
              </a:rPr>
              <a:t>, health or money</a:t>
            </a:r>
          </a:p>
        </p:txBody>
      </p:sp>
      <p:sp>
        <p:nvSpPr>
          <p:cNvPr id="35" name="Rounded Rectangle 19">
            <a:extLst>
              <a:ext uri="{FF2B5EF4-FFF2-40B4-BE49-F238E27FC236}">
                <a16:creationId xmlns:a16="http://schemas.microsoft.com/office/drawing/2014/main" id="{E3FEC998-1A8B-4940-8167-088FAD222FD1}"/>
              </a:ext>
            </a:extLst>
          </p:cNvPr>
          <p:cNvSpPr/>
          <p:nvPr/>
        </p:nvSpPr>
        <p:spPr bwMode="auto">
          <a:xfrm>
            <a:off x="2052282" y="4747948"/>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Provide simple, clear choices and consequences</a:t>
            </a:r>
          </a:p>
        </p:txBody>
      </p:sp>
      <p:sp>
        <p:nvSpPr>
          <p:cNvPr id="37" name="Rounded Rectangle 20">
            <a:extLst>
              <a:ext uri="{FF2B5EF4-FFF2-40B4-BE49-F238E27FC236}">
                <a16:creationId xmlns:a16="http://schemas.microsoft.com/office/drawing/2014/main" id="{7339AC27-556D-4E03-880B-D0CE97754EE6}"/>
              </a:ext>
            </a:extLst>
          </p:cNvPr>
          <p:cNvSpPr/>
          <p:nvPr/>
        </p:nvSpPr>
        <p:spPr bwMode="auto">
          <a:xfrm>
            <a:off x="4127863" y="4747948"/>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Communicate in simple and clear terms what the choices and consequences are for each employee</a:t>
            </a:r>
          </a:p>
        </p:txBody>
      </p:sp>
      <p:sp>
        <p:nvSpPr>
          <p:cNvPr id="39" name="Rounded Rectangle 21">
            <a:extLst>
              <a:ext uri="{FF2B5EF4-FFF2-40B4-BE49-F238E27FC236}">
                <a16:creationId xmlns:a16="http://schemas.microsoft.com/office/drawing/2014/main" id="{AD1C895F-AC43-4E99-B3EE-7E710ABEFB05}"/>
              </a:ext>
            </a:extLst>
          </p:cNvPr>
          <p:cNvSpPr/>
          <p:nvPr/>
        </p:nvSpPr>
        <p:spPr bwMode="auto">
          <a:xfrm>
            <a:off x="2052282" y="5661206"/>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Create hope</a:t>
            </a:r>
          </a:p>
        </p:txBody>
      </p:sp>
      <p:sp>
        <p:nvSpPr>
          <p:cNvPr id="41" name="Rounded Rectangle 22">
            <a:extLst>
              <a:ext uri="{FF2B5EF4-FFF2-40B4-BE49-F238E27FC236}">
                <a16:creationId xmlns:a16="http://schemas.microsoft.com/office/drawing/2014/main" id="{5B7FFDCA-69F1-4EFF-B631-A81BDEEEA329}"/>
              </a:ext>
            </a:extLst>
          </p:cNvPr>
          <p:cNvSpPr/>
          <p:nvPr/>
        </p:nvSpPr>
        <p:spPr bwMode="auto">
          <a:xfrm>
            <a:off x="4127863" y="5661206"/>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Create desire to change by sharing your hope that the future will be better both for employees and the organization</a:t>
            </a:r>
          </a:p>
        </p:txBody>
      </p:sp>
      <p:sp>
        <p:nvSpPr>
          <p:cNvPr id="43" name="Rounded Rectangle 24">
            <a:extLst>
              <a:ext uri="{FF2B5EF4-FFF2-40B4-BE49-F238E27FC236}">
                <a16:creationId xmlns:a16="http://schemas.microsoft.com/office/drawing/2014/main" id="{237F90B0-DAFB-4437-965B-FD24277D7C95}"/>
              </a:ext>
            </a:extLst>
          </p:cNvPr>
          <p:cNvSpPr/>
          <p:nvPr/>
        </p:nvSpPr>
        <p:spPr bwMode="auto">
          <a:xfrm>
            <a:off x="8014063" y="5661206"/>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The executive must have excellent leadership skills to create hope among employees</a:t>
            </a:r>
          </a:p>
        </p:txBody>
      </p:sp>
      <p:sp>
        <p:nvSpPr>
          <p:cNvPr id="45" name="Rounded Rectangle 23">
            <a:extLst>
              <a:ext uri="{FF2B5EF4-FFF2-40B4-BE49-F238E27FC236}">
                <a16:creationId xmlns:a16="http://schemas.microsoft.com/office/drawing/2014/main" id="{EDC334EB-4E44-4AC3-91C0-0C3AE3E17DEC}"/>
              </a:ext>
            </a:extLst>
          </p:cNvPr>
          <p:cNvSpPr/>
          <p:nvPr/>
        </p:nvSpPr>
        <p:spPr bwMode="auto">
          <a:xfrm>
            <a:off x="8014063" y="4747948"/>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Providing clear choices and their consequences put the control back into the hands of employees</a:t>
            </a:r>
          </a:p>
        </p:txBody>
      </p:sp>
      <p:sp>
        <p:nvSpPr>
          <p:cNvPr id="46" name="TextBox 45">
            <a:extLst>
              <a:ext uri="{FF2B5EF4-FFF2-40B4-BE49-F238E27FC236}">
                <a16:creationId xmlns:a16="http://schemas.microsoft.com/office/drawing/2014/main" id="{0349CF90-668C-428C-BD37-6E20E81D16B8}"/>
              </a:ext>
            </a:extLst>
          </p:cNvPr>
          <p:cNvSpPr txBox="1"/>
          <p:nvPr/>
        </p:nvSpPr>
        <p:spPr>
          <a:xfrm>
            <a:off x="231462" y="6377459"/>
            <a:ext cx="1114697" cy="230832"/>
          </a:xfrm>
          <a:prstGeom prst="rect">
            <a:avLst/>
          </a:prstGeom>
          <a:noFill/>
        </p:spPr>
        <p:txBody>
          <a:bodyPr wrap="square" rtlCol="0">
            <a:spAutoFit/>
          </a:bodyPr>
          <a:lstStyle/>
          <a:p>
            <a:r>
              <a:rPr lang="en-GB" sz="900" i="1" dirty="0"/>
              <a:t>Source: </a:t>
            </a:r>
            <a:r>
              <a:rPr lang="en-GB" sz="900" i="1" dirty="0" err="1"/>
              <a:t>Prosci</a:t>
            </a:r>
            <a:endParaRPr lang="en-AU" sz="900" i="1" dirty="0"/>
          </a:p>
        </p:txBody>
      </p:sp>
      <p:sp>
        <p:nvSpPr>
          <p:cNvPr id="10" name="Rectangle: Rounded Corners 9">
            <a:extLst>
              <a:ext uri="{FF2B5EF4-FFF2-40B4-BE49-F238E27FC236}">
                <a16:creationId xmlns:a16="http://schemas.microsoft.com/office/drawing/2014/main" id="{4F222C56-2925-6B52-345C-9385DF527D4C}"/>
              </a:ext>
            </a:extLst>
          </p:cNvPr>
          <p:cNvSpPr/>
          <p:nvPr/>
        </p:nvSpPr>
        <p:spPr>
          <a:xfrm>
            <a:off x="10360653" y="365125"/>
            <a:ext cx="1449442"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 to help you define your plans</a:t>
            </a:r>
          </a:p>
        </p:txBody>
      </p:sp>
    </p:spTree>
    <p:extLst>
      <p:ext uri="{BB962C8B-B14F-4D97-AF65-F5344CB8AC3E}">
        <p14:creationId xmlns:p14="http://schemas.microsoft.com/office/powerpoint/2010/main" val="22530969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AU" sz="2400" kern="0" dirty="0"/>
              <a:t>Example of actions to create </a:t>
            </a:r>
            <a:r>
              <a:rPr lang="en-GB" sz="2400" kern="0" dirty="0"/>
              <a:t>the desire to change (2/2)</a:t>
            </a:r>
            <a:endParaRPr lang="fr-FR" sz="2400" kern="0" dirty="0"/>
          </a:p>
        </p:txBody>
      </p:sp>
      <p:sp>
        <p:nvSpPr>
          <p:cNvPr id="2" name="Rounded Rectangle 4">
            <a:extLst>
              <a:ext uri="{FF2B5EF4-FFF2-40B4-BE49-F238E27FC236}">
                <a16:creationId xmlns:a16="http://schemas.microsoft.com/office/drawing/2014/main" id="{62912352-684B-473E-98BD-DBB8E7840A26}"/>
              </a:ext>
            </a:extLst>
          </p:cNvPr>
          <p:cNvSpPr/>
          <p:nvPr/>
        </p:nvSpPr>
        <p:spPr bwMode="auto">
          <a:xfrm>
            <a:off x="2052282" y="2008171"/>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Show the benefits in a real and tangible way</a:t>
            </a:r>
          </a:p>
        </p:txBody>
      </p:sp>
      <p:sp>
        <p:nvSpPr>
          <p:cNvPr id="3" name="Rounded Rectangle 5">
            <a:extLst>
              <a:ext uri="{FF2B5EF4-FFF2-40B4-BE49-F238E27FC236}">
                <a16:creationId xmlns:a16="http://schemas.microsoft.com/office/drawing/2014/main" id="{640D5A11-F727-4C14-B097-3786404B2374}"/>
              </a:ext>
            </a:extLst>
          </p:cNvPr>
          <p:cNvSpPr>
            <a:spLocks noChangeArrowheads="1"/>
          </p:cNvSpPr>
          <p:nvPr>
            <p:custDataLst>
              <p:tags r:id="rId2"/>
            </p:custDataLst>
          </p:nvPr>
        </p:nvSpPr>
        <p:spPr bwMode="auto">
          <a:xfrm>
            <a:off x="2052282" y="1544948"/>
            <a:ext cx="1999381" cy="407759"/>
          </a:xfrm>
          <a:prstGeom prst="roundRect">
            <a:avLst/>
          </a:prstGeom>
          <a:solidFill>
            <a:schemeClr val="tx2"/>
          </a:solidFill>
          <a:ln w="9525" algn="ctr">
            <a:solidFill>
              <a:schemeClr val="accent1"/>
            </a:solid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Action title</a:t>
            </a:r>
          </a:p>
        </p:txBody>
      </p:sp>
      <p:sp>
        <p:nvSpPr>
          <p:cNvPr id="4" name="Rounded Rectangle 6">
            <a:extLst>
              <a:ext uri="{FF2B5EF4-FFF2-40B4-BE49-F238E27FC236}">
                <a16:creationId xmlns:a16="http://schemas.microsoft.com/office/drawing/2014/main" id="{BEAA5481-CF12-4A8E-B904-A0DA1F0C4FBE}"/>
              </a:ext>
            </a:extLst>
          </p:cNvPr>
          <p:cNvSpPr/>
          <p:nvPr/>
        </p:nvSpPr>
        <p:spPr bwMode="auto">
          <a:xfrm>
            <a:off x="4127863" y="2008171"/>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Share case studies of similar companies who have successfully competed a similar change</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Invite guests to provide personal testimonial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Demonstrate the success of pilot program within you own organization</a:t>
            </a:r>
          </a:p>
        </p:txBody>
      </p:sp>
      <p:sp>
        <p:nvSpPr>
          <p:cNvPr id="5" name="Rounded Rectangle 7">
            <a:extLst>
              <a:ext uri="{FF2B5EF4-FFF2-40B4-BE49-F238E27FC236}">
                <a16:creationId xmlns:a16="http://schemas.microsoft.com/office/drawing/2014/main" id="{11C8B0E7-A1CC-4EE2-884D-0A35D016C9EB}"/>
              </a:ext>
            </a:extLst>
          </p:cNvPr>
          <p:cNvSpPr>
            <a:spLocks noChangeArrowheads="1"/>
          </p:cNvSpPr>
          <p:nvPr>
            <p:custDataLst>
              <p:tags r:id="rId3"/>
            </p:custDataLst>
          </p:nvPr>
        </p:nvSpPr>
        <p:spPr bwMode="auto">
          <a:xfrm>
            <a:off x="4127863" y="1544948"/>
            <a:ext cx="3809999" cy="407759"/>
          </a:xfrm>
          <a:prstGeom prst="roundRect">
            <a:avLst/>
          </a:prstGeom>
          <a:solidFill>
            <a:schemeClr val="tx2"/>
          </a:solidFill>
          <a:ln w="9525" algn="ctr">
            <a:solidFill>
              <a:schemeClr val="accent1"/>
            </a:solid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Action description</a:t>
            </a:r>
          </a:p>
        </p:txBody>
      </p:sp>
      <p:sp>
        <p:nvSpPr>
          <p:cNvPr id="6" name="Rounded Rectangle 8">
            <a:extLst>
              <a:ext uri="{FF2B5EF4-FFF2-40B4-BE49-F238E27FC236}">
                <a16:creationId xmlns:a16="http://schemas.microsoft.com/office/drawing/2014/main" id="{83696F85-C0C7-4B61-85FE-6C21C788BC39}"/>
              </a:ext>
            </a:extLst>
          </p:cNvPr>
          <p:cNvSpPr/>
          <p:nvPr/>
        </p:nvSpPr>
        <p:spPr bwMode="auto">
          <a:xfrm>
            <a:off x="2052282" y="2921430"/>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Make a personal appeal</a:t>
            </a:r>
          </a:p>
        </p:txBody>
      </p:sp>
      <p:sp>
        <p:nvSpPr>
          <p:cNvPr id="7" name="Rounded Rectangle 9">
            <a:extLst>
              <a:ext uri="{FF2B5EF4-FFF2-40B4-BE49-F238E27FC236}">
                <a16:creationId xmlns:a16="http://schemas.microsoft.com/office/drawing/2014/main" id="{C3C13106-10FB-49D1-BDE6-BD308CFF3356}"/>
              </a:ext>
            </a:extLst>
          </p:cNvPr>
          <p:cNvSpPr/>
          <p:nvPr/>
        </p:nvSpPr>
        <p:spPr bwMode="auto">
          <a:xfrm>
            <a:off x="4127863" y="2921430"/>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Use a personal appeal such as “I believe in this change”, “It is important to me” or “I want your support”, </a:t>
            </a:r>
          </a:p>
        </p:txBody>
      </p:sp>
      <p:sp>
        <p:nvSpPr>
          <p:cNvPr id="8" name="Rounded Rectangle 10">
            <a:extLst>
              <a:ext uri="{FF2B5EF4-FFF2-40B4-BE49-F238E27FC236}">
                <a16:creationId xmlns:a16="http://schemas.microsoft.com/office/drawing/2014/main" id="{F457F4BB-30C5-47F9-96F7-D8889B481CD7}"/>
              </a:ext>
            </a:extLst>
          </p:cNvPr>
          <p:cNvSpPr/>
          <p:nvPr/>
        </p:nvSpPr>
        <p:spPr bwMode="auto">
          <a:xfrm>
            <a:off x="2052282" y="3834689"/>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Convert the strongest dissenters</a:t>
            </a:r>
          </a:p>
        </p:txBody>
      </p:sp>
      <p:sp>
        <p:nvSpPr>
          <p:cNvPr id="9" name="Rounded Rectangle 11">
            <a:extLst>
              <a:ext uri="{FF2B5EF4-FFF2-40B4-BE49-F238E27FC236}">
                <a16:creationId xmlns:a16="http://schemas.microsoft.com/office/drawing/2014/main" id="{AB8C9770-409C-42A8-B9A0-9268A7A0194E}"/>
              </a:ext>
            </a:extLst>
          </p:cNvPr>
          <p:cNvSpPr/>
          <p:nvPr/>
        </p:nvSpPr>
        <p:spPr bwMode="auto">
          <a:xfrm>
            <a:off x="4127863" y="3834689"/>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Use special tactics and interventions to convert the strongest dissenters. By doing so, the strongest dissenters can become your strongest advocates</a:t>
            </a:r>
          </a:p>
        </p:txBody>
      </p:sp>
      <p:sp>
        <p:nvSpPr>
          <p:cNvPr id="11" name="Rounded Rectangle 12">
            <a:extLst>
              <a:ext uri="{FF2B5EF4-FFF2-40B4-BE49-F238E27FC236}">
                <a16:creationId xmlns:a16="http://schemas.microsoft.com/office/drawing/2014/main" id="{1B492E54-F03E-4BA2-88C6-0C347B9BB01B}"/>
              </a:ext>
            </a:extLst>
          </p:cNvPr>
          <p:cNvSpPr/>
          <p:nvPr/>
        </p:nvSpPr>
        <p:spPr bwMode="auto">
          <a:xfrm>
            <a:off x="8014063" y="2008171"/>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Making the change real and demonstrating that success is possible can remove doubts and fears that some employees feel about change</a:t>
            </a:r>
          </a:p>
        </p:txBody>
      </p:sp>
      <p:sp>
        <p:nvSpPr>
          <p:cNvPr id="23" name="Rounded Rectangle 14">
            <a:extLst>
              <a:ext uri="{FF2B5EF4-FFF2-40B4-BE49-F238E27FC236}">
                <a16:creationId xmlns:a16="http://schemas.microsoft.com/office/drawing/2014/main" id="{AAD0811F-8105-41E7-A2D5-F5989BE39EBB}"/>
              </a:ext>
            </a:extLst>
          </p:cNvPr>
          <p:cNvSpPr>
            <a:spLocks noChangeArrowheads="1"/>
          </p:cNvSpPr>
          <p:nvPr>
            <p:custDataLst>
              <p:tags r:id="rId4"/>
            </p:custDataLst>
          </p:nvPr>
        </p:nvSpPr>
        <p:spPr bwMode="auto">
          <a:xfrm>
            <a:off x="8014063" y="1544948"/>
            <a:ext cx="2460890" cy="407759"/>
          </a:xfrm>
          <a:prstGeom prst="roundRect">
            <a:avLst/>
          </a:prstGeom>
          <a:solidFill>
            <a:schemeClr val="tx2"/>
          </a:solidFill>
          <a:ln w="9525" algn="ctr">
            <a:solidFill>
              <a:schemeClr val="accent1"/>
            </a:solid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Comment</a:t>
            </a:r>
          </a:p>
        </p:txBody>
      </p:sp>
      <p:sp>
        <p:nvSpPr>
          <p:cNvPr id="31" name="Rounded Rectangle 17">
            <a:extLst>
              <a:ext uri="{FF2B5EF4-FFF2-40B4-BE49-F238E27FC236}">
                <a16:creationId xmlns:a16="http://schemas.microsoft.com/office/drawing/2014/main" id="{3773D34F-B748-4EF8-966E-1E9F31BF6668}"/>
              </a:ext>
            </a:extLst>
          </p:cNvPr>
          <p:cNvSpPr/>
          <p:nvPr/>
        </p:nvSpPr>
        <p:spPr bwMode="auto">
          <a:xfrm>
            <a:off x="8014063" y="2921430"/>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A personal appeal must come from a trusted and respected manager</a:t>
            </a:r>
          </a:p>
        </p:txBody>
      </p:sp>
      <p:sp>
        <p:nvSpPr>
          <p:cNvPr id="33" name="Rounded Rectangle 18">
            <a:extLst>
              <a:ext uri="{FF2B5EF4-FFF2-40B4-BE49-F238E27FC236}">
                <a16:creationId xmlns:a16="http://schemas.microsoft.com/office/drawing/2014/main" id="{4223B6FE-4447-46E0-8DDE-2F9160E82ECC}"/>
              </a:ext>
            </a:extLst>
          </p:cNvPr>
          <p:cNvSpPr/>
          <p:nvPr/>
        </p:nvSpPr>
        <p:spPr bwMode="auto">
          <a:xfrm>
            <a:off x="8014063" y="3834689"/>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If you are not successful in converting the strongest dissenters, then the next action may be a viable option</a:t>
            </a:r>
          </a:p>
        </p:txBody>
      </p:sp>
      <p:sp>
        <p:nvSpPr>
          <p:cNvPr id="35" name="Rounded Rectangle 19">
            <a:extLst>
              <a:ext uri="{FF2B5EF4-FFF2-40B4-BE49-F238E27FC236}">
                <a16:creationId xmlns:a16="http://schemas.microsoft.com/office/drawing/2014/main" id="{E3FEC998-1A8B-4940-8167-088FAD222FD1}"/>
              </a:ext>
            </a:extLst>
          </p:cNvPr>
          <p:cNvSpPr/>
          <p:nvPr/>
        </p:nvSpPr>
        <p:spPr bwMode="auto">
          <a:xfrm>
            <a:off x="2052282" y="4747948"/>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buClr>
                <a:srgbClr val="000000"/>
              </a:buClr>
            </a:pPr>
            <a:r>
              <a:rPr lang="en-US" sz="1100" b="1" dirty="0">
                <a:solidFill>
                  <a:srgbClr val="0C2870"/>
                </a:solidFill>
                <a:latin typeface="Arial" charset="0"/>
                <a:cs typeface="Times New Roman" pitchFamily="18" charset="0"/>
              </a:rPr>
              <a:t>Create a sacrifice </a:t>
            </a:r>
          </a:p>
          <a:p>
            <a:pPr algn="ctr" defTabSz="623853" fontAlgn="base">
              <a:buClr>
                <a:srgbClr val="000000"/>
              </a:buClr>
            </a:pPr>
            <a:r>
              <a:rPr lang="en-US" sz="1100" i="1" dirty="0">
                <a:solidFill>
                  <a:srgbClr val="0C2870"/>
                </a:solidFill>
                <a:latin typeface="Arial" charset="0"/>
                <a:cs typeface="Times New Roman" pitchFamily="18" charset="0"/>
              </a:rPr>
              <a:t>(After other actions have failed)</a:t>
            </a:r>
          </a:p>
        </p:txBody>
      </p:sp>
      <p:sp>
        <p:nvSpPr>
          <p:cNvPr id="37" name="Rounded Rectangle 20">
            <a:extLst>
              <a:ext uri="{FF2B5EF4-FFF2-40B4-BE49-F238E27FC236}">
                <a16:creationId xmlns:a16="http://schemas.microsoft.com/office/drawing/2014/main" id="{7339AC27-556D-4E03-880B-D0CE97754EE6}"/>
              </a:ext>
            </a:extLst>
          </p:cNvPr>
          <p:cNvSpPr/>
          <p:nvPr/>
        </p:nvSpPr>
        <p:spPr bwMode="auto">
          <a:xfrm>
            <a:off x="4127863" y="4747948"/>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Send a powerful signal to the organization as a whole by removing a key manager that is demonstrating resistance to change  </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Target a “Group 3” employee that was supposed to leave the organization soon anyway</a:t>
            </a:r>
          </a:p>
        </p:txBody>
      </p:sp>
      <p:sp>
        <p:nvSpPr>
          <p:cNvPr id="39" name="Rounded Rectangle 21">
            <a:extLst>
              <a:ext uri="{FF2B5EF4-FFF2-40B4-BE49-F238E27FC236}">
                <a16:creationId xmlns:a16="http://schemas.microsoft.com/office/drawing/2014/main" id="{AD1C895F-AC43-4E99-B3EE-7E710ABEFB05}"/>
              </a:ext>
            </a:extLst>
          </p:cNvPr>
          <p:cNvSpPr/>
          <p:nvPr/>
        </p:nvSpPr>
        <p:spPr bwMode="auto">
          <a:xfrm>
            <a:off x="2052282" y="5661206"/>
            <a:ext cx="1999381" cy="822960"/>
          </a:xfrm>
          <a:prstGeom prst="roundRect">
            <a:avLst>
              <a:gd name="adj" fmla="val 8225"/>
            </a:avLst>
          </a:prstGeom>
          <a:solidFill>
            <a:schemeClr val="bg1">
              <a:lumMod val="85000"/>
            </a:schemeClr>
          </a:solidFill>
          <a:ln>
            <a:solidFill>
              <a:srgbClr val="FFFFFF">
                <a:lumMod val="75000"/>
              </a:srgbClr>
            </a:solidFill>
          </a:ln>
          <a:effectLst/>
        </p:spPr>
        <p:txBody>
          <a:bodyPr wrap="square" lIns="91428" tIns="45715" rIns="91428" bIns="45715" rtlCol="0" anchor="ctr">
            <a:noAutofit/>
          </a:bodyPr>
          <a:lstStyle/>
          <a:p>
            <a:pPr algn="ctr" defTabSz="623853" fontAlgn="base">
              <a:buClr>
                <a:srgbClr val="000000"/>
              </a:buClr>
            </a:pPr>
            <a:r>
              <a:rPr lang="en-US" sz="1100" b="1" dirty="0">
                <a:solidFill>
                  <a:srgbClr val="0C2870"/>
                </a:solidFill>
                <a:latin typeface="Arial" charset="0"/>
                <a:cs typeface="Times New Roman" pitchFamily="18" charset="0"/>
              </a:rPr>
              <a:t>Use money or power</a:t>
            </a:r>
          </a:p>
          <a:p>
            <a:pPr algn="ctr" defTabSz="623853" fontAlgn="base">
              <a:buClr>
                <a:srgbClr val="000000"/>
              </a:buClr>
            </a:pPr>
            <a:r>
              <a:rPr lang="en-US" sz="1100" i="1" dirty="0">
                <a:solidFill>
                  <a:srgbClr val="0C2870"/>
                </a:solidFill>
                <a:latin typeface="Arial" charset="0"/>
                <a:cs typeface="Times New Roman" pitchFamily="18" charset="0"/>
              </a:rPr>
              <a:t>(After other actions have failed)</a:t>
            </a:r>
          </a:p>
        </p:txBody>
      </p:sp>
      <p:sp>
        <p:nvSpPr>
          <p:cNvPr id="41" name="Rounded Rectangle 22">
            <a:extLst>
              <a:ext uri="{FF2B5EF4-FFF2-40B4-BE49-F238E27FC236}">
                <a16:creationId xmlns:a16="http://schemas.microsoft.com/office/drawing/2014/main" id="{5B7FFDCA-69F1-4EFF-B631-A81BDEEEA329}"/>
              </a:ext>
            </a:extLst>
          </p:cNvPr>
          <p:cNvSpPr/>
          <p:nvPr/>
        </p:nvSpPr>
        <p:spPr bwMode="auto">
          <a:xfrm>
            <a:off x="4127863" y="5661206"/>
            <a:ext cx="3809999"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chemeClr val="tx2"/>
                </a:solidFill>
                <a:latin typeface="Arial" charset="0"/>
                <a:cs typeface="Times New Roman" pitchFamily="18" charset="0"/>
              </a:rPr>
              <a:t>If a senior manager is resistant to the change but critical of the success of the change, you can give him an incentive (e.g. bonus program, new position) on the successful completion of the change</a:t>
            </a:r>
          </a:p>
        </p:txBody>
      </p:sp>
      <p:sp>
        <p:nvSpPr>
          <p:cNvPr id="43" name="Rounded Rectangle 24">
            <a:extLst>
              <a:ext uri="{FF2B5EF4-FFF2-40B4-BE49-F238E27FC236}">
                <a16:creationId xmlns:a16="http://schemas.microsoft.com/office/drawing/2014/main" id="{237F90B0-DAFB-4437-965B-FD24277D7C95}"/>
              </a:ext>
            </a:extLst>
          </p:cNvPr>
          <p:cNvSpPr/>
          <p:nvPr/>
        </p:nvSpPr>
        <p:spPr bwMode="auto">
          <a:xfrm>
            <a:off x="8014063" y="5661206"/>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It is important to assess what the manager’s contribution to the change is worth to the business</a:t>
            </a:r>
          </a:p>
        </p:txBody>
      </p:sp>
      <p:sp>
        <p:nvSpPr>
          <p:cNvPr id="45" name="Rounded Rectangle 23">
            <a:extLst>
              <a:ext uri="{FF2B5EF4-FFF2-40B4-BE49-F238E27FC236}">
                <a16:creationId xmlns:a16="http://schemas.microsoft.com/office/drawing/2014/main" id="{EDC334EB-4E44-4AC3-91C0-0C3AE3E17DEC}"/>
              </a:ext>
            </a:extLst>
          </p:cNvPr>
          <p:cNvSpPr/>
          <p:nvPr/>
        </p:nvSpPr>
        <p:spPr bwMode="auto">
          <a:xfrm>
            <a:off x="8014063" y="4747948"/>
            <a:ext cx="2460890" cy="822960"/>
          </a:xfrm>
          <a:prstGeom prst="roundRect">
            <a:avLst>
              <a:gd name="adj" fmla="val 6817"/>
            </a:avLst>
          </a:prstGeom>
          <a:solidFill>
            <a:schemeClr val="bg1"/>
          </a:solidFill>
          <a:ln>
            <a:solidFill>
              <a:srgbClr val="FFFFFF">
                <a:lumMod val="75000"/>
              </a:srgbClr>
            </a:solid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Try to create a win-win situation where you send a powerful message to the organization and the manager who is leaving gets a good termination package</a:t>
            </a:r>
          </a:p>
        </p:txBody>
      </p:sp>
      <p:sp>
        <p:nvSpPr>
          <p:cNvPr id="46" name="TextBox 45">
            <a:extLst>
              <a:ext uri="{FF2B5EF4-FFF2-40B4-BE49-F238E27FC236}">
                <a16:creationId xmlns:a16="http://schemas.microsoft.com/office/drawing/2014/main" id="{0349CF90-668C-428C-BD37-6E20E81D16B8}"/>
              </a:ext>
            </a:extLst>
          </p:cNvPr>
          <p:cNvSpPr txBox="1"/>
          <p:nvPr/>
        </p:nvSpPr>
        <p:spPr>
          <a:xfrm>
            <a:off x="231462" y="6377459"/>
            <a:ext cx="1114697" cy="230832"/>
          </a:xfrm>
          <a:prstGeom prst="rect">
            <a:avLst/>
          </a:prstGeom>
          <a:noFill/>
        </p:spPr>
        <p:txBody>
          <a:bodyPr wrap="square" rtlCol="0">
            <a:spAutoFit/>
          </a:bodyPr>
          <a:lstStyle/>
          <a:p>
            <a:r>
              <a:rPr lang="en-GB" sz="900" i="1" dirty="0"/>
              <a:t>Source: </a:t>
            </a:r>
            <a:r>
              <a:rPr lang="en-GB" sz="900" i="1" dirty="0" err="1"/>
              <a:t>Prosci</a:t>
            </a:r>
            <a:endParaRPr lang="en-AU" sz="900" i="1" dirty="0"/>
          </a:p>
        </p:txBody>
      </p:sp>
      <p:sp>
        <p:nvSpPr>
          <p:cNvPr id="14" name="Rectangle: Rounded Corners 13">
            <a:extLst>
              <a:ext uri="{FF2B5EF4-FFF2-40B4-BE49-F238E27FC236}">
                <a16:creationId xmlns:a16="http://schemas.microsoft.com/office/drawing/2014/main" id="{FB0984E7-644F-3FC9-47E7-92909DA74CEC}"/>
              </a:ext>
            </a:extLst>
          </p:cNvPr>
          <p:cNvSpPr/>
          <p:nvPr/>
        </p:nvSpPr>
        <p:spPr>
          <a:xfrm>
            <a:off x="10360653" y="365125"/>
            <a:ext cx="1449442"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 to help you define your plans</a:t>
            </a:r>
          </a:p>
        </p:txBody>
      </p:sp>
    </p:spTree>
    <p:extLst>
      <p:ext uri="{BB962C8B-B14F-4D97-AF65-F5344CB8AC3E}">
        <p14:creationId xmlns:p14="http://schemas.microsoft.com/office/powerpoint/2010/main" val="3675307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302F4AE-CE77-436B-A364-9D9FC8BC6C5A}"/>
              </a:ext>
            </a:extLst>
          </p:cNvPr>
          <p:cNvSpPr/>
          <p:nvPr/>
        </p:nvSpPr>
        <p:spPr bwMode="auto">
          <a:xfrm>
            <a:off x="4271506" y="2465210"/>
            <a:ext cx="2952000" cy="288000"/>
          </a:xfrm>
          <a:prstGeom prst="rect">
            <a:avLst/>
          </a:prstGeom>
          <a:solidFill>
            <a:schemeClr val="tx1">
              <a:lumMod val="10000"/>
              <a:lumOff val="90000"/>
              <a:alpha val="20000"/>
            </a:schemeClr>
          </a:solidFill>
          <a:ln w="12700">
            <a:solidFill>
              <a:schemeClr val="tx1"/>
            </a:solidFill>
            <a:prstDash val="lgDash"/>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dirty="0">
                <a:solidFill>
                  <a:srgbClr val="002776"/>
                </a:solidFill>
              </a:rPr>
              <a:t>Table of content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2" name="Chevron 17">
            <a:extLst>
              <a:ext uri="{FF2B5EF4-FFF2-40B4-BE49-F238E27FC236}">
                <a16:creationId xmlns:a16="http://schemas.microsoft.com/office/drawing/2014/main" id="{5D0013F7-EF7F-04FE-EC80-11B72ECC0D7A}"/>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3" name="Chevron 17">
            <a:extLst>
              <a:ext uri="{FF2B5EF4-FFF2-40B4-BE49-F238E27FC236}">
                <a16:creationId xmlns:a16="http://schemas.microsoft.com/office/drawing/2014/main" id="{451A0F3C-FD72-DB0C-A9BB-2B5ECF9DEDB6}"/>
              </a:ext>
            </a:extLst>
          </p:cNvPr>
          <p:cNvSpPr/>
          <p:nvPr/>
        </p:nvSpPr>
        <p:spPr bwMode="auto">
          <a:xfrm>
            <a:off x="7877047"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4" name="Rectangle 3">
            <a:extLst>
              <a:ext uri="{FF2B5EF4-FFF2-40B4-BE49-F238E27FC236}">
                <a16:creationId xmlns:a16="http://schemas.microsoft.com/office/drawing/2014/main" id="{4E3A6C91-55A7-ADC5-A381-0CE4C0866FBD}"/>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5" name="Rectangle 14">
            <a:extLst>
              <a:ext uri="{FF2B5EF4-FFF2-40B4-BE49-F238E27FC236}">
                <a16:creationId xmlns:a16="http://schemas.microsoft.com/office/drawing/2014/main" id="{6A6E9FAF-E8B5-D9DF-92AD-59BCB44D41EA}"/>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8" name="Rectangle 17">
            <a:extLst>
              <a:ext uri="{FF2B5EF4-FFF2-40B4-BE49-F238E27FC236}">
                <a16:creationId xmlns:a16="http://schemas.microsoft.com/office/drawing/2014/main" id="{487E4BAB-4E8A-7470-0753-9FD77FAAB3B5}"/>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9" name="Straight Connector 18">
            <a:extLst>
              <a:ext uri="{FF2B5EF4-FFF2-40B4-BE49-F238E27FC236}">
                <a16:creationId xmlns:a16="http://schemas.microsoft.com/office/drawing/2014/main" id="{859962B3-B67D-00CE-64E4-0D10DC7EB883}"/>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Chevron 17">
            <a:extLst>
              <a:ext uri="{FF2B5EF4-FFF2-40B4-BE49-F238E27FC236}">
                <a16:creationId xmlns:a16="http://schemas.microsoft.com/office/drawing/2014/main" id="{0C607D86-F533-3BD0-D6E4-9E0271907242}"/>
              </a:ext>
            </a:extLst>
          </p:cNvPr>
          <p:cNvSpPr/>
          <p:nvPr/>
        </p:nvSpPr>
        <p:spPr bwMode="auto">
          <a:xfrm>
            <a:off x="4235024"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1" name="Straight Connector 20">
            <a:extLst>
              <a:ext uri="{FF2B5EF4-FFF2-40B4-BE49-F238E27FC236}">
                <a16:creationId xmlns:a16="http://schemas.microsoft.com/office/drawing/2014/main" id="{9B523359-B2FF-4E79-2A75-0E47351DE678}"/>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BF5BD295-0ACD-B0AE-AA66-73ED7B379754}"/>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3" name="Rectangle: Rounded Corners 22">
            <a:extLst>
              <a:ext uri="{FF2B5EF4-FFF2-40B4-BE49-F238E27FC236}">
                <a16:creationId xmlns:a16="http://schemas.microsoft.com/office/drawing/2014/main" id="{E9D1F1D5-A6E2-2B82-45F4-23EF4D814ABF}"/>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4" name="Rectangle: Rounded Corners 23">
            <a:extLst>
              <a:ext uri="{FF2B5EF4-FFF2-40B4-BE49-F238E27FC236}">
                <a16:creationId xmlns:a16="http://schemas.microsoft.com/office/drawing/2014/main" id="{3571F289-1E89-F16E-1AED-8C437E12AB0D}"/>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5" name="Rectangle: Rounded Corners 24">
            <a:extLst>
              <a:ext uri="{FF2B5EF4-FFF2-40B4-BE49-F238E27FC236}">
                <a16:creationId xmlns:a16="http://schemas.microsoft.com/office/drawing/2014/main" id="{1A88289D-32D2-4595-B10B-8DAF8922D4CE}"/>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30B6D0A9-E6A3-B367-5DD4-93B94FB333BD}"/>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637CCC2E-9FAF-1401-1B62-3B8B063DF582}"/>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602E80CB-A469-9FAA-2DB8-FCB6358DDAE3}"/>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89E8783D-0CEC-AE53-92A1-4CBBBC380FD6}"/>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0" name="Rectangle: Rounded Corners 29">
            <a:extLst>
              <a:ext uri="{FF2B5EF4-FFF2-40B4-BE49-F238E27FC236}">
                <a16:creationId xmlns:a16="http://schemas.microsoft.com/office/drawing/2014/main" id="{08FB663E-FD9B-09CD-0DF4-1C88D599311D}"/>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1" name="Rectangle: Rounded Corners 30">
            <a:extLst>
              <a:ext uri="{FF2B5EF4-FFF2-40B4-BE49-F238E27FC236}">
                <a16:creationId xmlns:a16="http://schemas.microsoft.com/office/drawing/2014/main" id="{74F9C3F2-96CD-E0E2-5283-47282F446ED0}"/>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EE739D0C-1D8A-0C54-74CA-E7F671882C55}"/>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3" name="Rectangle: Rounded Corners 32">
            <a:extLst>
              <a:ext uri="{FF2B5EF4-FFF2-40B4-BE49-F238E27FC236}">
                <a16:creationId xmlns:a16="http://schemas.microsoft.com/office/drawing/2014/main" id="{C5E721A6-5F25-17DB-9417-9B7E6C948B56}"/>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4" name="Rectangle: Rounded Corners 33">
            <a:extLst>
              <a:ext uri="{FF2B5EF4-FFF2-40B4-BE49-F238E27FC236}">
                <a16:creationId xmlns:a16="http://schemas.microsoft.com/office/drawing/2014/main" id="{2450E9E3-28CA-FC75-CF68-FCA97D19BD48}"/>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35" name="Graphic 34" descr="Blueprint outline">
            <a:extLst>
              <a:ext uri="{FF2B5EF4-FFF2-40B4-BE49-F238E27FC236}">
                <a16:creationId xmlns:a16="http://schemas.microsoft.com/office/drawing/2014/main" id="{366E577C-7704-1273-DFEF-3B75D78032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36" name="Graphic 35" descr="Target outline">
            <a:extLst>
              <a:ext uri="{FF2B5EF4-FFF2-40B4-BE49-F238E27FC236}">
                <a16:creationId xmlns:a16="http://schemas.microsoft.com/office/drawing/2014/main" id="{6A9B682C-1741-2AA6-B98F-1F808FE925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37" name="Graphic 36" descr="Clipboard Partially Checked outline">
            <a:extLst>
              <a:ext uri="{FF2B5EF4-FFF2-40B4-BE49-F238E27FC236}">
                <a16:creationId xmlns:a16="http://schemas.microsoft.com/office/drawing/2014/main" id="{67445EE8-2DCA-3260-D0AA-CEFBDCD3D8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
        <p:nvSpPr>
          <p:cNvPr id="6" name="Rounded Rectangular Callout 19">
            <a:extLst>
              <a:ext uri="{FF2B5EF4-FFF2-40B4-BE49-F238E27FC236}">
                <a16:creationId xmlns:a16="http://schemas.microsoft.com/office/drawing/2014/main" id="{67502F91-58F1-1DE6-22B5-37DFE00DD495}"/>
              </a:ext>
            </a:extLst>
          </p:cNvPr>
          <p:cNvSpPr/>
          <p:nvPr/>
        </p:nvSpPr>
        <p:spPr bwMode="auto">
          <a:xfrm>
            <a:off x="6268276" y="3404266"/>
            <a:ext cx="3718040" cy="1593393"/>
          </a:xfrm>
          <a:prstGeom prst="wedgeRoundRectCallout">
            <a:avLst>
              <a:gd name="adj1" fmla="val -31919"/>
              <a:gd name="adj2" fmla="val -9815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For each plan, we suggest to have a one or two-page summary in </a:t>
            </a:r>
            <a:r>
              <a:rPr lang="en-US" sz="1050" b="1" dirty="0" err="1">
                <a:solidFill>
                  <a:srgbClr val="0C2870"/>
                </a:solidFill>
                <a:latin typeface="Arial" charset="0"/>
                <a:cs typeface="Times New Roman" pitchFamily="18" charset="0"/>
              </a:rPr>
              <a:t>Powerpoint</a:t>
            </a:r>
            <a:r>
              <a:rPr lang="en-US" sz="1050" b="1" dirty="0">
                <a:solidFill>
                  <a:srgbClr val="0C2870"/>
                </a:solidFill>
                <a:latin typeface="Arial" charset="0"/>
                <a:cs typeface="Times New Roman" pitchFamily="18" charset="0"/>
              </a:rPr>
              <a:t> and a more detailed version in Excel. The </a:t>
            </a:r>
            <a:r>
              <a:rPr lang="en-US" sz="1050" b="1" dirty="0" err="1">
                <a:solidFill>
                  <a:srgbClr val="0C2870"/>
                </a:solidFill>
                <a:latin typeface="Arial" charset="0"/>
                <a:cs typeface="Times New Roman" pitchFamily="18" charset="0"/>
              </a:rPr>
              <a:t>Powerpoint</a:t>
            </a:r>
            <a:r>
              <a:rPr lang="en-US" sz="1050" b="1" dirty="0">
                <a:solidFill>
                  <a:srgbClr val="0C2870"/>
                </a:solidFill>
                <a:latin typeface="Arial" charset="0"/>
                <a:cs typeface="Times New Roman" pitchFamily="18" charset="0"/>
              </a:rPr>
              <a:t> version is ideal when you present to the CEO or executive committee, who usually don’t have much time. The Excel version is ideal to “do the work” (as opposed to giving a high-level view of what’s going on to decision makers).</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Excel version of each plan was part of your purchase.</a:t>
            </a:r>
          </a:p>
        </p:txBody>
      </p:sp>
      <p:sp>
        <p:nvSpPr>
          <p:cNvPr id="7" name="Rectangle: Rounded Corners 6">
            <a:extLst>
              <a:ext uri="{FF2B5EF4-FFF2-40B4-BE49-F238E27FC236}">
                <a16:creationId xmlns:a16="http://schemas.microsoft.com/office/drawing/2014/main" id="{CCA7E536-0091-F417-1505-62F6E48117D1}"/>
              </a:ext>
            </a:extLst>
          </p:cNvPr>
          <p:cNvSpPr/>
          <p:nvPr/>
        </p:nvSpPr>
        <p:spPr>
          <a:xfrm>
            <a:off x="10191750" y="341632"/>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14409653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are the key questions people ask in a period of change</a:t>
            </a:r>
            <a:r>
              <a:rPr lang="en-AU" sz="2400" kern="0" dirty="0"/>
              <a:t>?</a:t>
            </a:r>
            <a:endParaRPr lang="fr-FR" sz="2400" kern="0" dirty="0"/>
          </a:p>
        </p:txBody>
      </p:sp>
      <p:sp>
        <p:nvSpPr>
          <p:cNvPr id="4" name="Rectangle 3">
            <a:extLst>
              <a:ext uri="{FF2B5EF4-FFF2-40B4-BE49-F238E27FC236}">
                <a16:creationId xmlns:a16="http://schemas.microsoft.com/office/drawing/2014/main" id="{1228688A-5078-423B-BCB3-9F28244CF841}"/>
              </a:ext>
            </a:extLst>
          </p:cNvPr>
          <p:cNvSpPr/>
          <p:nvPr/>
        </p:nvSpPr>
        <p:spPr bwMode="ltGray">
          <a:xfrm>
            <a:off x="1713140" y="5389545"/>
            <a:ext cx="8174181" cy="906632"/>
          </a:xfrm>
          <a:prstGeom prst="rect">
            <a:avLst/>
          </a:prstGeom>
          <a:solidFill>
            <a:srgbClr val="968C6D"/>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GB" dirty="0" err="1">
              <a:solidFill>
                <a:schemeClr val="bg1"/>
              </a:solidFill>
              <a:latin typeface="Georgia" pitchFamily="18" charset="0"/>
            </a:endParaRPr>
          </a:p>
        </p:txBody>
      </p:sp>
      <p:sp>
        <p:nvSpPr>
          <p:cNvPr id="5" name="Freeform 728">
            <a:extLst>
              <a:ext uri="{FF2B5EF4-FFF2-40B4-BE49-F238E27FC236}">
                <a16:creationId xmlns:a16="http://schemas.microsoft.com/office/drawing/2014/main" id="{F8A2546C-635A-4154-9B7E-3FB10BF7136D}"/>
              </a:ext>
            </a:extLst>
          </p:cNvPr>
          <p:cNvSpPr>
            <a:spLocks noEditPoints="1"/>
          </p:cNvSpPr>
          <p:nvPr/>
        </p:nvSpPr>
        <p:spPr bwMode="auto">
          <a:xfrm>
            <a:off x="1921035" y="4642895"/>
            <a:ext cx="1993082" cy="756594"/>
          </a:xfrm>
          <a:custGeom>
            <a:avLst/>
            <a:gdLst>
              <a:gd name="T0" fmla="*/ 238 w 380"/>
              <a:gd name="T1" fmla="*/ 6 h 136"/>
              <a:gd name="T2" fmla="*/ 270 w 380"/>
              <a:gd name="T3" fmla="*/ 30 h 136"/>
              <a:gd name="T4" fmla="*/ 176 w 380"/>
              <a:gd name="T5" fmla="*/ 6 h 136"/>
              <a:gd name="T6" fmla="*/ 358 w 380"/>
              <a:gd name="T7" fmla="*/ 70 h 136"/>
              <a:gd name="T8" fmla="*/ 12 w 380"/>
              <a:gd name="T9" fmla="*/ 134 h 136"/>
              <a:gd name="T10" fmla="*/ 166 w 380"/>
              <a:gd name="T11" fmla="*/ 4 h 136"/>
              <a:gd name="T12" fmla="*/ 286 w 380"/>
              <a:gd name="T13" fmla="*/ 50 h 136"/>
              <a:gd name="T14" fmla="*/ 36 w 380"/>
              <a:gd name="T15" fmla="*/ 54 h 136"/>
              <a:gd name="T16" fmla="*/ 4 w 380"/>
              <a:gd name="T17" fmla="*/ 122 h 136"/>
              <a:gd name="T18" fmla="*/ 156 w 380"/>
              <a:gd name="T19" fmla="*/ 12 h 136"/>
              <a:gd name="T20" fmla="*/ 356 w 380"/>
              <a:gd name="T21" fmla="*/ 92 h 136"/>
              <a:gd name="T22" fmla="*/ 342 w 380"/>
              <a:gd name="T23" fmla="*/ 104 h 136"/>
              <a:gd name="T24" fmla="*/ 342 w 380"/>
              <a:gd name="T25" fmla="*/ 84 h 136"/>
              <a:gd name="T26" fmla="*/ 326 w 380"/>
              <a:gd name="T27" fmla="*/ 84 h 136"/>
              <a:gd name="T28" fmla="*/ 318 w 380"/>
              <a:gd name="T29" fmla="*/ 84 h 136"/>
              <a:gd name="T30" fmla="*/ 330 w 380"/>
              <a:gd name="T31" fmla="*/ 72 h 136"/>
              <a:gd name="T32" fmla="*/ 328 w 380"/>
              <a:gd name="T33" fmla="*/ 62 h 136"/>
              <a:gd name="T34" fmla="*/ 308 w 380"/>
              <a:gd name="T35" fmla="*/ 74 h 136"/>
              <a:gd name="T36" fmla="*/ 310 w 380"/>
              <a:gd name="T37" fmla="*/ 58 h 136"/>
              <a:gd name="T38" fmla="*/ 286 w 380"/>
              <a:gd name="T39" fmla="*/ 52 h 136"/>
              <a:gd name="T40" fmla="*/ 274 w 380"/>
              <a:gd name="T41" fmla="*/ 60 h 136"/>
              <a:gd name="T42" fmla="*/ 268 w 380"/>
              <a:gd name="T43" fmla="*/ 52 h 136"/>
              <a:gd name="T44" fmla="*/ 254 w 380"/>
              <a:gd name="T45" fmla="*/ 52 h 136"/>
              <a:gd name="T46" fmla="*/ 250 w 380"/>
              <a:gd name="T47" fmla="*/ 50 h 136"/>
              <a:gd name="T48" fmla="*/ 254 w 380"/>
              <a:gd name="T49" fmla="*/ 38 h 136"/>
              <a:gd name="T50" fmla="*/ 240 w 380"/>
              <a:gd name="T51" fmla="*/ 40 h 136"/>
              <a:gd name="T52" fmla="*/ 230 w 380"/>
              <a:gd name="T53" fmla="*/ 38 h 136"/>
              <a:gd name="T54" fmla="*/ 244 w 380"/>
              <a:gd name="T55" fmla="*/ 28 h 136"/>
              <a:gd name="T56" fmla="*/ 240 w 380"/>
              <a:gd name="T57" fmla="*/ 18 h 136"/>
              <a:gd name="T58" fmla="*/ 218 w 380"/>
              <a:gd name="T59" fmla="*/ 26 h 136"/>
              <a:gd name="T60" fmla="*/ 224 w 380"/>
              <a:gd name="T61" fmla="*/ 12 h 136"/>
              <a:gd name="T62" fmla="*/ 200 w 380"/>
              <a:gd name="T63" fmla="*/ 6 h 136"/>
              <a:gd name="T64" fmla="*/ 198 w 380"/>
              <a:gd name="T65" fmla="*/ 18 h 136"/>
              <a:gd name="T66" fmla="*/ 166 w 380"/>
              <a:gd name="T67" fmla="*/ 12 h 136"/>
              <a:gd name="T68" fmla="*/ 166 w 380"/>
              <a:gd name="T69" fmla="*/ 28 h 136"/>
              <a:gd name="T70" fmla="*/ 156 w 380"/>
              <a:gd name="T71" fmla="*/ 40 h 136"/>
              <a:gd name="T72" fmla="*/ 152 w 380"/>
              <a:gd name="T73" fmla="*/ 68 h 136"/>
              <a:gd name="T74" fmla="*/ 124 w 380"/>
              <a:gd name="T75" fmla="*/ 78 h 136"/>
              <a:gd name="T76" fmla="*/ 116 w 380"/>
              <a:gd name="T77" fmla="*/ 68 h 136"/>
              <a:gd name="T78" fmla="*/ 126 w 380"/>
              <a:gd name="T79" fmla="*/ 60 h 136"/>
              <a:gd name="T80" fmla="*/ 112 w 380"/>
              <a:gd name="T81" fmla="*/ 64 h 136"/>
              <a:gd name="T82" fmla="*/ 102 w 380"/>
              <a:gd name="T83" fmla="*/ 56 h 136"/>
              <a:gd name="T84" fmla="*/ 100 w 380"/>
              <a:gd name="T85" fmla="*/ 48 h 136"/>
              <a:gd name="T86" fmla="*/ 92 w 380"/>
              <a:gd name="T87" fmla="*/ 58 h 136"/>
              <a:gd name="T88" fmla="*/ 74 w 380"/>
              <a:gd name="T89" fmla="*/ 66 h 136"/>
              <a:gd name="T90" fmla="*/ 54 w 380"/>
              <a:gd name="T91" fmla="*/ 60 h 136"/>
              <a:gd name="T92" fmla="*/ 58 w 380"/>
              <a:gd name="T93" fmla="*/ 80 h 136"/>
              <a:gd name="T94" fmla="*/ 44 w 380"/>
              <a:gd name="T95" fmla="*/ 90 h 136"/>
              <a:gd name="T96" fmla="*/ 30 w 380"/>
              <a:gd name="T97" fmla="*/ 108 h 136"/>
              <a:gd name="T98" fmla="*/ 18 w 380"/>
              <a:gd name="T99" fmla="*/ 126 h 136"/>
              <a:gd name="T100" fmla="*/ 372 w 380"/>
              <a:gd name="T101" fmla="*/ 124 h 136"/>
              <a:gd name="T102" fmla="*/ 374 w 380"/>
              <a:gd name="T103" fmla="*/ 100 h 136"/>
              <a:gd name="T104" fmla="*/ 116 w 380"/>
              <a:gd name="T105" fmla="*/ 80 h 136"/>
              <a:gd name="T106" fmla="*/ 134 w 380"/>
              <a:gd name="T107" fmla="*/ 86 h 136"/>
              <a:gd name="T108" fmla="*/ 280 w 380"/>
              <a:gd name="T109" fmla="*/ 68 h 136"/>
              <a:gd name="T110" fmla="*/ 286 w 380"/>
              <a:gd name="T111" fmla="*/ 62 h 136"/>
              <a:gd name="T112" fmla="*/ 62 w 380"/>
              <a:gd name="T113" fmla="*/ 48 h 136"/>
              <a:gd name="T114" fmla="*/ 124 w 380"/>
              <a:gd name="T115" fmla="*/ 48 h 136"/>
              <a:gd name="T116" fmla="*/ 74 w 380"/>
              <a:gd name="T117" fmla="*/ 52 h 136"/>
              <a:gd name="T118" fmla="*/ 82 w 380"/>
              <a:gd name="T119" fmla="*/ 5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0" h="136">
                <a:moveTo>
                  <a:pt x="198" y="4"/>
                </a:moveTo>
                <a:lnTo>
                  <a:pt x="198" y="4"/>
                </a:lnTo>
                <a:lnTo>
                  <a:pt x="198" y="2"/>
                </a:lnTo>
                <a:lnTo>
                  <a:pt x="198" y="0"/>
                </a:lnTo>
                <a:lnTo>
                  <a:pt x="196" y="0"/>
                </a:lnTo>
                <a:lnTo>
                  <a:pt x="196" y="0"/>
                </a:lnTo>
                <a:lnTo>
                  <a:pt x="196" y="4"/>
                </a:lnTo>
                <a:lnTo>
                  <a:pt x="196" y="4"/>
                </a:lnTo>
                <a:lnTo>
                  <a:pt x="198" y="4"/>
                </a:lnTo>
                <a:lnTo>
                  <a:pt x="198" y="4"/>
                </a:lnTo>
                <a:close/>
                <a:moveTo>
                  <a:pt x="238" y="6"/>
                </a:moveTo>
                <a:lnTo>
                  <a:pt x="238" y="6"/>
                </a:lnTo>
                <a:lnTo>
                  <a:pt x="238" y="10"/>
                </a:lnTo>
                <a:lnTo>
                  <a:pt x="238" y="10"/>
                </a:lnTo>
                <a:lnTo>
                  <a:pt x="242" y="10"/>
                </a:lnTo>
                <a:lnTo>
                  <a:pt x="242" y="10"/>
                </a:lnTo>
                <a:lnTo>
                  <a:pt x="242" y="8"/>
                </a:lnTo>
                <a:lnTo>
                  <a:pt x="238" y="6"/>
                </a:lnTo>
                <a:lnTo>
                  <a:pt x="238" y="6"/>
                </a:lnTo>
                <a:close/>
                <a:moveTo>
                  <a:pt x="278" y="36"/>
                </a:moveTo>
                <a:lnTo>
                  <a:pt x="278" y="36"/>
                </a:lnTo>
                <a:lnTo>
                  <a:pt x="274" y="36"/>
                </a:lnTo>
                <a:lnTo>
                  <a:pt x="274" y="36"/>
                </a:lnTo>
                <a:lnTo>
                  <a:pt x="272" y="38"/>
                </a:lnTo>
                <a:lnTo>
                  <a:pt x="272" y="38"/>
                </a:lnTo>
                <a:lnTo>
                  <a:pt x="276" y="38"/>
                </a:lnTo>
                <a:lnTo>
                  <a:pt x="278" y="36"/>
                </a:lnTo>
                <a:lnTo>
                  <a:pt x="278" y="36"/>
                </a:lnTo>
                <a:close/>
                <a:moveTo>
                  <a:pt x="270" y="30"/>
                </a:moveTo>
                <a:lnTo>
                  <a:pt x="270" y="30"/>
                </a:lnTo>
                <a:lnTo>
                  <a:pt x="270" y="24"/>
                </a:lnTo>
                <a:lnTo>
                  <a:pt x="270" y="20"/>
                </a:lnTo>
                <a:lnTo>
                  <a:pt x="268" y="20"/>
                </a:lnTo>
                <a:lnTo>
                  <a:pt x="268" y="20"/>
                </a:lnTo>
                <a:lnTo>
                  <a:pt x="266" y="26"/>
                </a:lnTo>
                <a:lnTo>
                  <a:pt x="266" y="28"/>
                </a:lnTo>
                <a:lnTo>
                  <a:pt x="270" y="30"/>
                </a:lnTo>
                <a:lnTo>
                  <a:pt x="270" y="30"/>
                </a:lnTo>
                <a:close/>
                <a:moveTo>
                  <a:pt x="194" y="10"/>
                </a:moveTo>
                <a:lnTo>
                  <a:pt x="194" y="10"/>
                </a:lnTo>
                <a:lnTo>
                  <a:pt x="196" y="12"/>
                </a:lnTo>
                <a:lnTo>
                  <a:pt x="198" y="12"/>
                </a:lnTo>
                <a:lnTo>
                  <a:pt x="198" y="12"/>
                </a:lnTo>
                <a:lnTo>
                  <a:pt x="198" y="10"/>
                </a:lnTo>
                <a:lnTo>
                  <a:pt x="196" y="8"/>
                </a:lnTo>
                <a:lnTo>
                  <a:pt x="194" y="8"/>
                </a:lnTo>
                <a:lnTo>
                  <a:pt x="194" y="10"/>
                </a:lnTo>
                <a:lnTo>
                  <a:pt x="194" y="10"/>
                </a:lnTo>
                <a:close/>
                <a:moveTo>
                  <a:pt x="176" y="6"/>
                </a:moveTo>
                <a:lnTo>
                  <a:pt x="176" y="6"/>
                </a:lnTo>
                <a:lnTo>
                  <a:pt x="172" y="6"/>
                </a:lnTo>
                <a:lnTo>
                  <a:pt x="170" y="6"/>
                </a:lnTo>
                <a:lnTo>
                  <a:pt x="170" y="8"/>
                </a:lnTo>
                <a:lnTo>
                  <a:pt x="170" y="8"/>
                </a:lnTo>
                <a:lnTo>
                  <a:pt x="174" y="10"/>
                </a:lnTo>
                <a:lnTo>
                  <a:pt x="176" y="8"/>
                </a:lnTo>
                <a:lnTo>
                  <a:pt x="176" y="6"/>
                </a:lnTo>
                <a:lnTo>
                  <a:pt x="176" y="6"/>
                </a:lnTo>
                <a:close/>
                <a:moveTo>
                  <a:pt x="190" y="14"/>
                </a:moveTo>
                <a:lnTo>
                  <a:pt x="190" y="14"/>
                </a:lnTo>
                <a:lnTo>
                  <a:pt x="190" y="10"/>
                </a:lnTo>
                <a:lnTo>
                  <a:pt x="190" y="8"/>
                </a:lnTo>
                <a:lnTo>
                  <a:pt x="190" y="6"/>
                </a:lnTo>
                <a:lnTo>
                  <a:pt x="190" y="6"/>
                </a:lnTo>
                <a:lnTo>
                  <a:pt x="186" y="6"/>
                </a:lnTo>
                <a:lnTo>
                  <a:pt x="182" y="6"/>
                </a:lnTo>
                <a:lnTo>
                  <a:pt x="182" y="8"/>
                </a:lnTo>
                <a:lnTo>
                  <a:pt x="182" y="8"/>
                </a:lnTo>
                <a:lnTo>
                  <a:pt x="186" y="10"/>
                </a:lnTo>
                <a:lnTo>
                  <a:pt x="186" y="12"/>
                </a:lnTo>
                <a:lnTo>
                  <a:pt x="188" y="14"/>
                </a:lnTo>
                <a:lnTo>
                  <a:pt x="190" y="14"/>
                </a:lnTo>
                <a:lnTo>
                  <a:pt x="190" y="14"/>
                </a:lnTo>
                <a:close/>
                <a:moveTo>
                  <a:pt x="356" y="74"/>
                </a:moveTo>
                <a:lnTo>
                  <a:pt x="356" y="74"/>
                </a:lnTo>
                <a:lnTo>
                  <a:pt x="358" y="70"/>
                </a:lnTo>
                <a:lnTo>
                  <a:pt x="358" y="66"/>
                </a:lnTo>
                <a:lnTo>
                  <a:pt x="354" y="66"/>
                </a:lnTo>
                <a:lnTo>
                  <a:pt x="354" y="66"/>
                </a:lnTo>
                <a:lnTo>
                  <a:pt x="354" y="72"/>
                </a:lnTo>
                <a:lnTo>
                  <a:pt x="354" y="74"/>
                </a:lnTo>
                <a:lnTo>
                  <a:pt x="356" y="74"/>
                </a:lnTo>
                <a:lnTo>
                  <a:pt x="356" y="74"/>
                </a:lnTo>
                <a:close/>
                <a:moveTo>
                  <a:pt x="378" y="136"/>
                </a:moveTo>
                <a:lnTo>
                  <a:pt x="380" y="136"/>
                </a:lnTo>
                <a:lnTo>
                  <a:pt x="380" y="136"/>
                </a:lnTo>
                <a:lnTo>
                  <a:pt x="380" y="134"/>
                </a:lnTo>
                <a:lnTo>
                  <a:pt x="380" y="134"/>
                </a:lnTo>
                <a:lnTo>
                  <a:pt x="378" y="136"/>
                </a:lnTo>
                <a:lnTo>
                  <a:pt x="378" y="136"/>
                </a:lnTo>
                <a:close/>
                <a:moveTo>
                  <a:pt x="12" y="136"/>
                </a:moveTo>
                <a:lnTo>
                  <a:pt x="16" y="136"/>
                </a:lnTo>
                <a:lnTo>
                  <a:pt x="16" y="136"/>
                </a:lnTo>
                <a:lnTo>
                  <a:pt x="12" y="134"/>
                </a:lnTo>
                <a:lnTo>
                  <a:pt x="12" y="134"/>
                </a:lnTo>
                <a:lnTo>
                  <a:pt x="12" y="136"/>
                </a:lnTo>
                <a:lnTo>
                  <a:pt x="12" y="136"/>
                </a:lnTo>
                <a:close/>
                <a:moveTo>
                  <a:pt x="364" y="82"/>
                </a:moveTo>
                <a:lnTo>
                  <a:pt x="364" y="82"/>
                </a:lnTo>
                <a:lnTo>
                  <a:pt x="362" y="82"/>
                </a:lnTo>
                <a:lnTo>
                  <a:pt x="360" y="82"/>
                </a:lnTo>
                <a:lnTo>
                  <a:pt x="360" y="82"/>
                </a:lnTo>
                <a:lnTo>
                  <a:pt x="360" y="82"/>
                </a:lnTo>
                <a:lnTo>
                  <a:pt x="362" y="84"/>
                </a:lnTo>
                <a:lnTo>
                  <a:pt x="364" y="82"/>
                </a:lnTo>
                <a:lnTo>
                  <a:pt x="364" y="82"/>
                </a:lnTo>
                <a:close/>
                <a:moveTo>
                  <a:pt x="166" y="4"/>
                </a:moveTo>
                <a:lnTo>
                  <a:pt x="166" y="4"/>
                </a:lnTo>
                <a:lnTo>
                  <a:pt x="166" y="2"/>
                </a:lnTo>
                <a:lnTo>
                  <a:pt x="162" y="0"/>
                </a:lnTo>
                <a:lnTo>
                  <a:pt x="162" y="0"/>
                </a:lnTo>
                <a:lnTo>
                  <a:pt x="162" y="4"/>
                </a:lnTo>
                <a:lnTo>
                  <a:pt x="164" y="4"/>
                </a:lnTo>
                <a:lnTo>
                  <a:pt x="166" y="4"/>
                </a:lnTo>
                <a:lnTo>
                  <a:pt x="166" y="4"/>
                </a:lnTo>
                <a:close/>
                <a:moveTo>
                  <a:pt x="326" y="52"/>
                </a:moveTo>
                <a:lnTo>
                  <a:pt x="326" y="52"/>
                </a:lnTo>
                <a:lnTo>
                  <a:pt x="324" y="56"/>
                </a:lnTo>
                <a:lnTo>
                  <a:pt x="324" y="56"/>
                </a:lnTo>
                <a:lnTo>
                  <a:pt x="328" y="56"/>
                </a:lnTo>
                <a:lnTo>
                  <a:pt x="328" y="56"/>
                </a:lnTo>
                <a:lnTo>
                  <a:pt x="328" y="54"/>
                </a:lnTo>
                <a:lnTo>
                  <a:pt x="326" y="52"/>
                </a:lnTo>
                <a:lnTo>
                  <a:pt x="326" y="52"/>
                </a:lnTo>
                <a:close/>
                <a:moveTo>
                  <a:pt x="286" y="50"/>
                </a:moveTo>
                <a:lnTo>
                  <a:pt x="286" y="50"/>
                </a:lnTo>
                <a:lnTo>
                  <a:pt x="286" y="48"/>
                </a:lnTo>
                <a:lnTo>
                  <a:pt x="286" y="46"/>
                </a:lnTo>
                <a:lnTo>
                  <a:pt x="284" y="46"/>
                </a:lnTo>
                <a:lnTo>
                  <a:pt x="284" y="46"/>
                </a:lnTo>
                <a:lnTo>
                  <a:pt x="284" y="48"/>
                </a:lnTo>
                <a:lnTo>
                  <a:pt x="284" y="50"/>
                </a:lnTo>
                <a:lnTo>
                  <a:pt x="286" y="50"/>
                </a:lnTo>
                <a:lnTo>
                  <a:pt x="286" y="50"/>
                </a:lnTo>
                <a:close/>
                <a:moveTo>
                  <a:pt x="34" y="82"/>
                </a:moveTo>
                <a:lnTo>
                  <a:pt x="34" y="82"/>
                </a:lnTo>
                <a:lnTo>
                  <a:pt x="30" y="82"/>
                </a:lnTo>
                <a:lnTo>
                  <a:pt x="28" y="84"/>
                </a:lnTo>
                <a:lnTo>
                  <a:pt x="30" y="86"/>
                </a:lnTo>
                <a:lnTo>
                  <a:pt x="30" y="86"/>
                </a:lnTo>
                <a:lnTo>
                  <a:pt x="32" y="84"/>
                </a:lnTo>
                <a:lnTo>
                  <a:pt x="34" y="82"/>
                </a:lnTo>
                <a:lnTo>
                  <a:pt x="34" y="82"/>
                </a:lnTo>
                <a:close/>
                <a:moveTo>
                  <a:pt x="22" y="98"/>
                </a:moveTo>
                <a:lnTo>
                  <a:pt x="22" y="100"/>
                </a:lnTo>
                <a:lnTo>
                  <a:pt x="28" y="100"/>
                </a:lnTo>
                <a:lnTo>
                  <a:pt x="28" y="100"/>
                </a:lnTo>
                <a:lnTo>
                  <a:pt x="26" y="98"/>
                </a:lnTo>
                <a:lnTo>
                  <a:pt x="22" y="98"/>
                </a:lnTo>
                <a:lnTo>
                  <a:pt x="22" y="98"/>
                </a:lnTo>
                <a:close/>
                <a:moveTo>
                  <a:pt x="40" y="54"/>
                </a:moveTo>
                <a:lnTo>
                  <a:pt x="36" y="54"/>
                </a:lnTo>
                <a:lnTo>
                  <a:pt x="36" y="54"/>
                </a:lnTo>
                <a:lnTo>
                  <a:pt x="36" y="56"/>
                </a:lnTo>
                <a:lnTo>
                  <a:pt x="36" y="58"/>
                </a:lnTo>
                <a:lnTo>
                  <a:pt x="36" y="58"/>
                </a:lnTo>
                <a:lnTo>
                  <a:pt x="40" y="56"/>
                </a:lnTo>
                <a:lnTo>
                  <a:pt x="40" y="54"/>
                </a:lnTo>
                <a:lnTo>
                  <a:pt x="40" y="54"/>
                </a:lnTo>
                <a:close/>
                <a:moveTo>
                  <a:pt x="50" y="46"/>
                </a:moveTo>
                <a:lnTo>
                  <a:pt x="50" y="46"/>
                </a:lnTo>
                <a:lnTo>
                  <a:pt x="50" y="44"/>
                </a:lnTo>
                <a:lnTo>
                  <a:pt x="48" y="42"/>
                </a:lnTo>
                <a:lnTo>
                  <a:pt x="48" y="42"/>
                </a:lnTo>
                <a:lnTo>
                  <a:pt x="48" y="46"/>
                </a:lnTo>
                <a:lnTo>
                  <a:pt x="48" y="46"/>
                </a:lnTo>
                <a:lnTo>
                  <a:pt x="50" y="46"/>
                </a:lnTo>
                <a:lnTo>
                  <a:pt x="50" y="46"/>
                </a:lnTo>
                <a:close/>
                <a:moveTo>
                  <a:pt x="0" y="120"/>
                </a:moveTo>
                <a:lnTo>
                  <a:pt x="0" y="120"/>
                </a:lnTo>
                <a:lnTo>
                  <a:pt x="4" y="122"/>
                </a:lnTo>
                <a:lnTo>
                  <a:pt x="4" y="124"/>
                </a:lnTo>
                <a:lnTo>
                  <a:pt x="6" y="126"/>
                </a:lnTo>
                <a:lnTo>
                  <a:pt x="8" y="126"/>
                </a:lnTo>
                <a:lnTo>
                  <a:pt x="8" y="126"/>
                </a:lnTo>
                <a:lnTo>
                  <a:pt x="8" y="122"/>
                </a:lnTo>
                <a:lnTo>
                  <a:pt x="6" y="120"/>
                </a:lnTo>
                <a:lnTo>
                  <a:pt x="6" y="120"/>
                </a:lnTo>
                <a:lnTo>
                  <a:pt x="2" y="120"/>
                </a:lnTo>
                <a:lnTo>
                  <a:pt x="2" y="120"/>
                </a:lnTo>
                <a:lnTo>
                  <a:pt x="0" y="120"/>
                </a:lnTo>
                <a:lnTo>
                  <a:pt x="0" y="120"/>
                </a:lnTo>
                <a:close/>
                <a:moveTo>
                  <a:pt x="156" y="12"/>
                </a:moveTo>
                <a:lnTo>
                  <a:pt x="152" y="12"/>
                </a:lnTo>
                <a:lnTo>
                  <a:pt x="152" y="12"/>
                </a:lnTo>
                <a:lnTo>
                  <a:pt x="152" y="14"/>
                </a:lnTo>
                <a:lnTo>
                  <a:pt x="152" y="16"/>
                </a:lnTo>
                <a:lnTo>
                  <a:pt x="152" y="16"/>
                </a:lnTo>
                <a:lnTo>
                  <a:pt x="154" y="16"/>
                </a:lnTo>
                <a:lnTo>
                  <a:pt x="156" y="12"/>
                </a:lnTo>
                <a:lnTo>
                  <a:pt x="156" y="12"/>
                </a:lnTo>
                <a:close/>
                <a:moveTo>
                  <a:pt x="370" y="104"/>
                </a:moveTo>
                <a:lnTo>
                  <a:pt x="370" y="104"/>
                </a:lnTo>
                <a:lnTo>
                  <a:pt x="368" y="108"/>
                </a:lnTo>
                <a:lnTo>
                  <a:pt x="362" y="108"/>
                </a:lnTo>
                <a:lnTo>
                  <a:pt x="362" y="108"/>
                </a:lnTo>
                <a:lnTo>
                  <a:pt x="360" y="106"/>
                </a:lnTo>
                <a:lnTo>
                  <a:pt x="362" y="102"/>
                </a:lnTo>
                <a:lnTo>
                  <a:pt x="362" y="94"/>
                </a:lnTo>
                <a:lnTo>
                  <a:pt x="362" y="94"/>
                </a:lnTo>
                <a:lnTo>
                  <a:pt x="360" y="96"/>
                </a:lnTo>
                <a:lnTo>
                  <a:pt x="358" y="96"/>
                </a:lnTo>
                <a:lnTo>
                  <a:pt x="356" y="98"/>
                </a:lnTo>
                <a:lnTo>
                  <a:pt x="354" y="98"/>
                </a:lnTo>
                <a:lnTo>
                  <a:pt x="354" y="98"/>
                </a:lnTo>
                <a:lnTo>
                  <a:pt x="352" y="94"/>
                </a:lnTo>
                <a:lnTo>
                  <a:pt x="352" y="90"/>
                </a:lnTo>
                <a:lnTo>
                  <a:pt x="352" y="90"/>
                </a:lnTo>
                <a:lnTo>
                  <a:pt x="356" y="92"/>
                </a:lnTo>
                <a:lnTo>
                  <a:pt x="358" y="90"/>
                </a:lnTo>
                <a:lnTo>
                  <a:pt x="362" y="90"/>
                </a:lnTo>
                <a:lnTo>
                  <a:pt x="362" y="88"/>
                </a:lnTo>
                <a:lnTo>
                  <a:pt x="362" y="88"/>
                </a:lnTo>
                <a:lnTo>
                  <a:pt x="360" y="88"/>
                </a:lnTo>
                <a:lnTo>
                  <a:pt x="358" y="88"/>
                </a:lnTo>
                <a:lnTo>
                  <a:pt x="352" y="86"/>
                </a:lnTo>
                <a:lnTo>
                  <a:pt x="352" y="86"/>
                </a:lnTo>
                <a:lnTo>
                  <a:pt x="352" y="88"/>
                </a:lnTo>
                <a:lnTo>
                  <a:pt x="350" y="90"/>
                </a:lnTo>
                <a:lnTo>
                  <a:pt x="350" y="90"/>
                </a:lnTo>
                <a:lnTo>
                  <a:pt x="344" y="92"/>
                </a:lnTo>
                <a:lnTo>
                  <a:pt x="342" y="94"/>
                </a:lnTo>
                <a:lnTo>
                  <a:pt x="340" y="98"/>
                </a:lnTo>
                <a:lnTo>
                  <a:pt x="340" y="98"/>
                </a:lnTo>
                <a:lnTo>
                  <a:pt x="342" y="100"/>
                </a:lnTo>
                <a:lnTo>
                  <a:pt x="344" y="102"/>
                </a:lnTo>
                <a:lnTo>
                  <a:pt x="344" y="102"/>
                </a:lnTo>
                <a:lnTo>
                  <a:pt x="342" y="104"/>
                </a:lnTo>
                <a:lnTo>
                  <a:pt x="336" y="104"/>
                </a:lnTo>
                <a:lnTo>
                  <a:pt x="334" y="102"/>
                </a:lnTo>
                <a:lnTo>
                  <a:pt x="332" y="98"/>
                </a:lnTo>
                <a:lnTo>
                  <a:pt x="332" y="98"/>
                </a:lnTo>
                <a:lnTo>
                  <a:pt x="336" y="96"/>
                </a:lnTo>
                <a:lnTo>
                  <a:pt x="336" y="96"/>
                </a:lnTo>
                <a:lnTo>
                  <a:pt x="336" y="92"/>
                </a:lnTo>
                <a:lnTo>
                  <a:pt x="336" y="90"/>
                </a:lnTo>
                <a:lnTo>
                  <a:pt x="336" y="88"/>
                </a:lnTo>
                <a:lnTo>
                  <a:pt x="336" y="88"/>
                </a:lnTo>
                <a:lnTo>
                  <a:pt x="338" y="88"/>
                </a:lnTo>
                <a:lnTo>
                  <a:pt x="338" y="90"/>
                </a:lnTo>
                <a:lnTo>
                  <a:pt x="340" y="90"/>
                </a:lnTo>
                <a:lnTo>
                  <a:pt x="340" y="90"/>
                </a:lnTo>
                <a:lnTo>
                  <a:pt x="340" y="90"/>
                </a:lnTo>
                <a:lnTo>
                  <a:pt x="344" y="88"/>
                </a:lnTo>
                <a:lnTo>
                  <a:pt x="344" y="88"/>
                </a:lnTo>
                <a:lnTo>
                  <a:pt x="344" y="86"/>
                </a:lnTo>
                <a:lnTo>
                  <a:pt x="342" y="84"/>
                </a:lnTo>
                <a:lnTo>
                  <a:pt x="342" y="84"/>
                </a:lnTo>
                <a:lnTo>
                  <a:pt x="342" y="82"/>
                </a:lnTo>
                <a:lnTo>
                  <a:pt x="342" y="82"/>
                </a:lnTo>
                <a:lnTo>
                  <a:pt x="344" y="80"/>
                </a:lnTo>
                <a:lnTo>
                  <a:pt x="346" y="78"/>
                </a:lnTo>
                <a:lnTo>
                  <a:pt x="346" y="78"/>
                </a:lnTo>
                <a:lnTo>
                  <a:pt x="340" y="74"/>
                </a:lnTo>
                <a:lnTo>
                  <a:pt x="340" y="74"/>
                </a:lnTo>
                <a:lnTo>
                  <a:pt x="338" y="76"/>
                </a:lnTo>
                <a:lnTo>
                  <a:pt x="336" y="76"/>
                </a:lnTo>
                <a:lnTo>
                  <a:pt x="336" y="76"/>
                </a:lnTo>
                <a:lnTo>
                  <a:pt x="334" y="76"/>
                </a:lnTo>
                <a:lnTo>
                  <a:pt x="332" y="76"/>
                </a:lnTo>
                <a:lnTo>
                  <a:pt x="328" y="78"/>
                </a:lnTo>
                <a:lnTo>
                  <a:pt x="328" y="78"/>
                </a:lnTo>
                <a:lnTo>
                  <a:pt x="328" y="80"/>
                </a:lnTo>
                <a:lnTo>
                  <a:pt x="326" y="82"/>
                </a:lnTo>
                <a:lnTo>
                  <a:pt x="326" y="82"/>
                </a:lnTo>
                <a:lnTo>
                  <a:pt x="326" y="84"/>
                </a:lnTo>
                <a:lnTo>
                  <a:pt x="326" y="86"/>
                </a:lnTo>
                <a:lnTo>
                  <a:pt x="326" y="86"/>
                </a:lnTo>
                <a:lnTo>
                  <a:pt x="320" y="88"/>
                </a:lnTo>
                <a:lnTo>
                  <a:pt x="316" y="88"/>
                </a:lnTo>
                <a:lnTo>
                  <a:pt x="312" y="88"/>
                </a:lnTo>
                <a:lnTo>
                  <a:pt x="312" y="88"/>
                </a:lnTo>
                <a:lnTo>
                  <a:pt x="312" y="90"/>
                </a:lnTo>
                <a:lnTo>
                  <a:pt x="310" y="92"/>
                </a:lnTo>
                <a:lnTo>
                  <a:pt x="310" y="92"/>
                </a:lnTo>
                <a:lnTo>
                  <a:pt x="308" y="90"/>
                </a:lnTo>
                <a:lnTo>
                  <a:pt x="306" y="88"/>
                </a:lnTo>
                <a:lnTo>
                  <a:pt x="306" y="88"/>
                </a:lnTo>
                <a:lnTo>
                  <a:pt x="304" y="88"/>
                </a:lnTo>
                <a:lnTo>
                  <a:pt x="302" y="86"/>
                </a:lnTo>
                <a:lnTo>
                  <a:pt x="302" y="86"/>
                </a:lnTo>
                <a:lnTo>
                  <a:pt x="302" y="84"/>
                </a:lnTo>
                <a:lnTo>
                  <a:pt x="302" y="84"/>
                </a:lnTo>
                <a:lnTo>
                  <a:pt x="310" y="86"/>
                </a:lnTo>
                <a:lnTo>
                  <a:pt x="318" y="84"/>
                </a:lnTo>
                <a:lnTo>
                  <a:pt x="318" y="84"/>
                </a:lnTo>
                <a:lnTo>
                  <a:pt x="318" y="82"/>
                </a:lnTo>
                <a:lnTo>
                  <a:pt x="320" y="80"/>
                </a:lnTo>
                <a:lnTo>
                  <a:pt x="320" y="80"/>
                </a:lnTo>
                <a:lnTo>
                  <a:pt x="326" y="78"/>
                </a:lnTo>
                <a:lnTo>
                  <a:pt x="326" y="78"/>
                </a:lnTo>
                <a:lnTo>
                  <a:pt x="328" y="76"/>
                </a:lnTo>
                <a:lnTo>
                  <a:pt x="328" y="76"/>
                </a:lnTo>
                <a:lnTo>
                  <a:pt x="322" y="74"/>
                </a:lnTo>
                <a:lnTo>
                  <a:pt x="318" y="72"/>
                </a:lnTo>
                <a:lnTo>
                  <a:pt x="318" y="72"/>
                </a:lnTo>
                <a:lnTo>
                  <a:pt x="320" y="66"/>
                </a:lnTo>
                <a:lnTo>
                  <a:pt x="324" y="66"/>
                </a:lnTo>
                <a:lnTo>
                  <a:pt x="324" y="66"/>
                </a:lnTo>
                <a:lnTo>
                  <a:pt x="324" y="66"/>
                </a:lnTo>
                <a:lnTo>
                  <a:pt x="324" y="68"/>
                </a:lnTo>
                <a:lnTo>
                  <a:pt x="324" y="68"/>
                </a:lnTo>
                <a:lnTo>
                  <a:pt x="328" y="70"/>
                </a:lnTo>
                <a:lnTo>
                  <a:pt x="330" y="72"/>
                </a:lnTo>
                <a:lnTo>
                  <a:pt x="330" y="72"/>
                </a:lnTo>
                <a:lnTo>
                  <a:pt x="332" y="74"/>
                </a:lnTo>
                <a:lnTo>
                  <a:pt x="332" y="74"/>
                </a:lnTo>
                <a:lnTo>
                  <a:pt x="334" y="72"/>
                </a:lnTo>
                <a:lnTo>
                  <a:pt x="336" y="70"/>
                </a:lnTo>
                <a:lnTo>
                  <a:pt x="336" y="70"/>
                </a:lnTo>
                <a:lnTo>
                  <a:pt x="330" y="68"/>
                </a:lnTo>
                <a:lnTo>
                  <a:pt x="328" y="64"/>
                </a:lnTo>
                <a:lnTo>
                  <a:pt x="328" y="64"/>
                </a:lnTo>
                <a:lnTo>
                  <a:pt x="328" y="64"/>
                </a:lnTo>
                <a:lnTo>
                  <a:pt x="330" y="64"/>
                </a:lnTo>
                <a:lnTo>
                  <a:pt x="330" y="64"/>
                </a:lnTo>
                <a:lnTo>
                  <a:pt x="330" y="62"/>
                </a:lnTo>
                <a:lnTo>
                  <a:pt x="330" y="62"/>
                </a:lnTo>
                <a:lnTo>
                  <a:pt x="330" y="60"/>
                </a:lnTo>
                <a:lnTo>
                  <a:pt x="328" y="58"/>
                </a:lnTo>
                <a:lnTo>
                  <a:pt x="328" y="60"/>
                </a:lnTo>
                <a:lnTo>
                  <a:pt x="328" y="60"/>
                </a:lnTo>
                <a:lnTo>
                  <a:pt x="328" y="62"/>
                </a:lnTo>
                <a:lnTo>
                  <a:pt x="328" y="64"/>
                </a:lnTo>
                <a:lnTo>
                  <a:pt x="328" y="64"/>
                </a:lnTo>
                <a:lnTo>
                  <a:pt x="326" y="62"/>
                </a:lnTo>
                <a:lnTo>
                  <a:pt x="324" y="62"/>
                </a:lnTo>
                <a:lnTo>
                  <a:pt x="324" y="58"/>
                </a:lnTo>
                <a:lnTo>
                  <a:pt x="324" y="58"/>
                </a:lnTo>
                <a:lnTo>
                  <a:pt x="320" y="62"/>
                </a:lnTo>
                <a:lnTo>
                  <a:pt x="314" y="66"/>
                </a:lnTo>
                <a:lnTo>
                  <a:pt x="314" y="66"/>
                </a:lnTo>
                <a:lnTo>
                  <a:pt x="310" y="64"/>
                </a:lnTo>
                <a:lnTo>
                  <a:pt x="308" y="64"/>
                </a:lnTo>
                <a:lnTo>
                  <a:pt x="306" y="64"/>
                </a:lnTo>
                <a:lnTo>
                  <a:pt x="306" y="64"/>
                </a:lnTo>
                <a:lnTo>
                  <a:pt x="306" y="66"/>
                </a:lnTo>
                <a:lnTo>
                  <a:pt x="308" y="68"/>
                </a:lnTo>
                <a:lnTo>
                  <a:pt x="310" y="72"/>
                </a:lnTo>
                <a:lnTo>
                  <a:pt x="310" y="72"/>
                </a:lnTo>
                <a:lnTo>
                  <a:pt x="308" y="74"/>
                </a:lnTo>
                <a:lnTo>
                  <a:pt x="308" y="74"/>
                </a:lnTo>
                <a:lnTo>
                  <a:pt x="304" y="72"/>
                </a:lnTo>
                <a:lnTo>
                  <a:pt x="302" y="70"/>
                </a:lnTo>
                <a:lnTo>
                  <a:pt x="302" y="68"/>
                </a:lnTo>
                <a:lnTo>
                  <a:pt x="302" y="68"/>
                </a:lnTo>
                <a:lnTo>
                  <a:pt x="304" y="66"/>
                </a:lnTo>
                <a:lnTo>
                  <a:pt x="304" y="62"/>
                </a:lnTo>
                <a:lnTo>
                  <a:pt x="304" y="62"/>
                </a:lnTo>
                <a:lnTo>
                  <a:pt x="302" y="60"/>
                </a:lnTo>
                <a:lnTo>
                  <a:pt x="304" y="58"/>
                </a:lnTo>
                <a:lnTo>
                  <a:pt x="304" y="58"/>
                </a:lnTo>
                <a:lnTo>
                  <a:pt x="306" y="58"/>
                </a:lnTo>
                <a:lnTo>
                  <a:pt x="306" y="60"/>
                </a:lnTo>
                <a:lnTo>
                  <a:pt x="310" y="60"/>
                </a:lnTo>
                <a:lnTo>
                  <a:pt x="310" y="60"/>
                </a:lnTo>
                <a:lnTo>
                  <a:pt x="314" y="62"/>
                </a:lnTo>
                <a:lnTo>
                  <a:pt x="316" y="58"/>
                </a:lnTo>
                <a:lnTo>
                  <a:pt x="316" y="58"/>
                </a:lnTo>
                <a:lnTo>
                  <a:pt x="314" y="58"/>
                </a:lnTo>
                <a:lnTo>
                  <a:pt x="310" y="58"/>
                </a:lnTo>
                <a:lnTo>
                  <a:pt x="310" y="58"/>
                </a:lnTo>
                <a:lnTo>
                  <a:pt x="310" y="56"/>
                </a:lnTo>
                <a:lnTo>
                  <a:pt x="310" y="56"/>
                </a:lnTo>
                <a:lnTo>
                  <a:pt x="306" y="58"/>
                </a:lnTo>
                <a:lnTo>
                  <a:pt x="306" y="58"/>
                </a:lnTo>
                <a:lnTo>
                  <a:pt x="304" y="54"/>
                </a:lnTo>
                <a:lnTo>
                  <a:pt x="302" y="52"/>
                </a:lnTo>
                <a:lnTo>
                  <a:pt x="300" y="50"/>
                </a:lnTo>
                <a:lnTo>
                  <a:pt x="300" y="50"/>
                </a:lnTo>
                <a:lnTo>
                  <a:pt x="300" y="52"/>
                </a:lnTo>
                <a:lnTo>
                  <a:pt x="298" y="52"/>
                </a:lnTo>
                <a:lnTo>
                  <a:pt x="296" y="56"/>
                </a:lnTo>
                <a:lnTo>
                  <a:pt x="296" y="56"/>
                </a:lnTo>
                <a:lnTo>
                  <a:pt x="296" y="56"/>
                </a:lnTo>
                <a:lnTo>
                  <a:pt x="294" y="56"/>
                </a:lnTo>
                <a:lnTo>
                  <a:pt x="294" y="56"/>
                </a:lnTo>
                <a:lnTo>
                  <a:pt x="290" y="54"/>
                </a:lnTo>
                <a:lnTo>
                  <a:pt x="288" y="52"/>
                </a:lnTo>
                <a:lnTo>
                  <a:pt x="286" y="52"/>
                </a:lnTo>
                <a:lnTo>
                  <a:pt x="286" y="52"/>
                </a:lnTo>
                <a:lnTo>
                  <a:pt x="286" y="54"/>
                </a:lnTo>
                <a:lnTo>
                  <a:pt x="286" y="54"/>
                </a:lnTo>
                <a:lnTo>
                  <a:pt x="284" y="58"/>
                </a:lnTo>
                <a:lnTo>
                  <a:pt x="284" y="58"/>
                </a:lnTo>
                <a:lnTo>
                  <a:pt x="284" y="56"/>
                </a:lnTo>
                <a:lnTo>
                  <a:pt x="284" y="54"/>
                </a:lnTo>
                <a:lnTo>
                  <a:pt x="282" y="54"/>
                </a:lnTo>
                <a:lnTo>
                  <a:pt x="280" y="56"/>
                </a:lnTo>
                <a:lnTo>
                  <a:pt x="280" y="56"/>
                </a:lnTo>
                <a:lnTo>
                  <a:pt x="282" y="56"/>
                </a:lnTo>
                <a:lnTo>
                  <a:pt x="284" y="58"/>
                </a:lnTo>
                <a:lnTo>
                  <a:pt x="284" y="58"/>
                </a:lnTo>
                <a:lnTo>
                  <a:pt x="284" y="58"/>
                </a:lnTo>
                <a:lnTo>
                  <a:pt x="284" y="58"/>
                </a:lnTo>
                <a:lnTo>
                  <a:pt x="280" y="62"/>
                </a:lnTo>
                <a:lnTo>
                  <a:pt x="276" y="64"/>
                </a:lnTo>
                <a:lnTo>
                  <a:pt x="276" y="64"/>
                </a:lnTo>
                <a:lnTo>
                  <a:pt x="274" y="60"/>
                </a:lnTo>
                <a:lnTo>
                  <a:pt x="274" y="58"/>
                </a:lnTo>
                <a:lnTo>
                  <a:pt x="274" y="58"/>
                </a:lnTo>
                <a:lnTo>
                  <a:pt x="276" y="60"/>
                </a:lnTo>
                <a:lnTo>
                  <a:pt x="278" y="60"/>
                </a:lnTo>
                <a:lnTo>
                  <a:pt x="278" y="60"/>
                </a:lnTo>
                <a:lnTo>
                  <a:pt x="276" y="56"/>
                </a:lnTo>
                <a:lnTo>
                  <a:pt x="276" y="54"/>
                </a:lnTo>
                <a:lnTo>
                  <a:pt x="276" y="52"/>
                </a:lnTo>
                <a:lnTo>
                  <a:pt x="276" y="52"/>
                </a:lnTo>
                <a:lnTo>
                  <a:pt x="276" y="52"/>
                </a:lnTo>
                <a:lnTo>
                  <a:pt x="276" y="52"/>
                </a:lnTo>
                <a:lnTo>
                  <a:pt x="276" y="50"/>
                </a:lnTo>
                <a:lnTo>
                  <a:pt x="276" y="50"/>
                </a:lnTo>
                <a:lnTo>
                  <a:pt x="272" y="50"/>
                </a:lnTo>
                <a:lnTo>
                  <a:pt x="272" y="50"/>
                </a:lnTo>
                <a:lnTo>
                  <a:pt x="270" y="52"/>
                </a:lnTo>
                <a:lnTo>
                  <a:pt x="270" y="52"/>
                </a:lnTo>
                <a:lnTo>
                  <a:pt x="270" y="52"/>
                </a:lnTo>
                <a:lnTo>
                  <a:pt x="268" y="52"/>
                </a:lnTo>
                <a:lnTo>
                  <a:pt x="268" y="52"/>
                </a:lnTo>
                <a:lnTo>
                  <a:pt x="266" y="50"/>
                </a:lnTo>
                <a:lnTo>
                  <a:pt x="266" y="44"/>
                </a:lnTo>
                <a:lnTo>
                  <a:pt x="266" y="44"/>
                </a:lnTo>
                <a:lnTo>
                  <a:pt x="268" y="46"/>
                </a:lnTo>
                <a:lnTo>
                  <a:pt x="272" y="46"/>
                </a:lnTo>
                <a:lnTo>
                  <a:pt x="274" y="44"/>
                </a:lnTo>
                <a:lnTo>
                  <a:pt x="276" y="42"/>
                </a:lnTo>
                <a:lnTo>
                  <a:pt x="276" y="42"/>
                </a:lnTo>
                <a:lnTo>
                  <a:pt x="272" y="42"/>
                </a:lnTo>
                <a:lnTo>
                  <a:pt x="270" y="42"/>
                </a:lnTo>
                <a:lnTo>
                  <a:pt x="264" y="40"/>
                </a:lnTo>
                <a:lnTo>
                  <a:pt x="264" y="40"/>
                </a:lnTo>
                <a:lnTo>
                  <a:pt x="264" y="42"/>
                </a:lnTo>
                <a:lnTo>
                  <a:pt x="264" y="44"/>
                </a:lnTo>
                <a:lnTo>
                  <a:pt x="264" y="44"/>
                </a:lnTo>
                <a:lnTo>
                  <a:pt x="258" y="46"/>
                </a:lnTo>
                <a:lnTo>
                  <a:pt x="254" y="48"/>
                </a:lnTo>
                <a:lnTo>
                  <a:pt x="254" y="52"/>
                </a:lnTo>
                <a:lnTo>
                  <a:pt x="254" y="52"/>
                </a:lnTo>
                <a:lnTo>
                  <a:pt x="256" y="54"/>
                </a:lnTo>
                <a:lnTo>
                  <a:pt x="256" y="56"/>
                </a:lnTo>
                <a:lnTo>
                  <a:pt x="256" y="56"/>
                </a:lnTo>
                <a:lnTo>
                  <a:pt x="256" y="58"/>
                </a:lnTo>
                <a:lnTo>
                  <a:pt x="256" y="58"/>
                </a:lnTo>
                <a:lnTo>
                  <a:pt x="252" y="56"/>
                </a:lnTo>
                <a:lnTo>
                  <a:pt x="252" y="56"/>
                </a:lnTo>
                <a:lnTo>
                  <a:pt x="252" y="58"/>
                </a:lnTo>
                <a:lnTo>
                  <a:pt x="254" y="58"/>
                </a:lnTo>
                <a:lnTo>
                  <a:pt x="254" y="58"/>
                </a:lnTo>
                <a:lnTo>
                  <a:pt x="248" y="56"/>
                </a:lnTo>
                <a:lnTo>
                  <a:pt x="246" y="54"/>
                </a:lnTo>
                <a:lnTo>
                  <a:pt x="244" y="52"/>
                </a:lnTo>
                <a:lnTo>
                  <a:pt x="244" y="52"/>
                </a:lnTo>
                <a:lnTo>
                  <a:pt x="250" y="50"/>
                </a:lnTo>
                <a:lnTo>
                  <a:pt x="250" y="50"/>
                </a:lnTo>
                <a:lnTo>
                  <a:pt x="250" y="50"/>
                </a:lnTo>
                <a:lnTo>
                  <a:pt x="250" y="50"/>
                </a:lnTo>
                <a:lnTo>
                  <a:pt x="250" y="50"/>
                </a:lnTo>
                <a:lnTo>
                  <a:pt x="252" y="50"/>
                </a:lnTo>
                <a:lnTo>
                  <a:pt x="252" y="50"/>
                </a:lnTo>
                <a:lnTo>
                  <a:pt x="252" y="48"/>
                </a:lnTo>
                <a:lnTo>
                  <a:pt x="250" y="46"/>
                </a:lnTo>
                <a:lnTo>
                  <a:pt x="250" y="46"/>
                </a:lnTo>
                <a:lnTo>
                  <a:pt x="250" y="48"/>
                </a:lnTo>
                <a:lnTo>
                  <a:pt x="250" y="48"/>
                </a:lnTo>
                <a:lnTo>
                  <a:pt x="248" y="46"/>
                </a:lnTo>
                <a:lnTo>
                  <a:pt x="250" y="44"/>
                </a:lnTo>
                <a:lnTo>
                  <a:pt x="250" y="44"/>
                </a:lnTo>
                <a:lnTo>
                  <a:pt x="252" y="44"/>
                </a:lnTo>
                <a:lnTo>
                  <a:pt x="254" y="44"/>
                </a:lnTo>
                <a:lnTo>
                  <a:pt x="254" y="44"/>
                </a:lnTo>
                <a:lnTo>
                  <a:pt x="256" y="42"/>
                </a:lnTo>
                <a:lnTo>
                  <a:pt x="256" y="42"/>
                </a:lnTo>
                <a:lnTo>
                  <a:pt x="256" y="40"/>
                </a:lnTo>
                <a:lnTo>
                  <a:pt x="256" y="38"/>
                </a:lnTo>
                <a:lnTo>
                  <a:pt x="254" y="38"/>
                </a:lnTo>
                <a:lnTo>
                  <a:pt x="254" y="36"/>
                </a:lnTo>
                <a:lnTo>
                  <a:pt x="254" y="36"/>
                </a:lnTo>
                <a:lnTo>
                  <a:pt x="256" y="34"/>
                </a:lnTo>
                <a:lnTo>
                  <a:pt x="258" y="32"/>
                </a:lnTo>
                <a:lnTo>
                  <a:pt x="258" y="32"/>
                </a:lnTo>
                <a:lnTo>
                  <a:pt x="254" y="28"/>
                </a:lnTo>
                <a:lnTo>
                  <a:pt x="254" y="28"/>
                </a:lnTo>
                <a:lnTo>
                  <a:pt x="252" y="30"/>
                </a:lnTo>
                <a:lnTo>
                  <a:pt x="250" y="30"/>
                </a:lnTo>
                <a:lnTo>
                  <a:pt x="250" y="30"/>
                </a:lnTo>
                <a:lnTo>
                  <a:pt x="248" y="30"/>
                </a:lnTo>
                <a:lnTo>
                  <a:pt x="246" y="32"/>
                </a:lnTo>
                <a:lnTo>
                  <a:pt x="242" y="32"/>
                </a:lnTo>
                <a:lnTo>
                  <a:pt x="242" y="32"/>
                </a:lnTo>
                <a:lnTo>
                  <a:pt x="240" y="36"/>
                </a:lnTo>
                <a:lnTo>
                  <a:pt x="238" y="36"/>
                </a:lnTo>
                <a:lnTo>
                  <a:pt x="238" y="36"/>
                </a:lnTo>
                <a:lnTo>
                  <a:pt x="238" y="38"/>
                </a:lnTo>
                <a:lnTo>
                  <a:pt x="240" y="40"/>
                </a:lnTo>
                <a:lnTo>
                  <a:pt x="240" y="40"/>
                </a:lnTo>
                <a:lnTo>
                  <a:pt x="232" y="42"/>
                </a:lnTo>
                <a:lnTo>
                  <a:pt x="228" y="42"/>
                </a:lnTo>
                <a:lnTo>
                  <a:pt x="226" y="42"/>
                </a:lnTo>
                <a:lnTo>
                  <a:pt x="226" y="42"/>
                </a:lnTo>
                <a:lnTo>
                  <a:pt x="224" y="46"/>
                </a:lnTo>
                <a:lnTo>
                  <a:pt x="222" y="46"/>
                </a:lnTo>
                <a:lnTo>
                  <a:pt x="222" y="46"/>
                </a:lnTo>
                <a:lnTo>
                  <a:pt x="220" y="44"/>
                </a:lnTo>
                <a:lnTo>
                  <a:pt x="218" y="42"/>
                </a:lnTo>
                <a:lnTo>
                  <a:pt x="218" y="42"/>
                </a:lnTo>
                <a:lnTo>
                  <a:pt x="216" y="42"/>
                </a:lnTo>
                <a:lnTo>
                  <a:pt x="214" y="42"/>
                </a:lnTo>
                <a:lnTo>
                  <a:pt x="214" y="40"/>
                </a:lnTo>
                <a:lnTo>
                  <a:pt x="216" y="38"/>
                </a:lnTo>
                <a:lnTo>
                  <a:pt x="216" y="38"/>
                </a:lnTo>
                <a:lnTo>
                  <a:pt x="222" y="40"/>
                </a:lnTo>
                <a:lnTo>
                  <a:pt x="230" y="38"/>
                </a:lnTo>
                <a:lnTo>
                  <a:pt x="230" y="38"/>
                </a:lnTo>
                <a:lnTo>
                  <a:pt x="232" y="36"/>
                </a:lnTo>
                <a:lnTo>
                  <a:pt x="234" y="34"/>
                </a:lnTo>
                <a:lnTo>
                  <a:pt x="234" y="34"/>
                </a:lnTo>
                <a:lnTo>
                  <a:pt x="238" y="34"/>
                </a:lnTo>
                <a:lnTo>
                  <a:pt x="240" y="32"/>
                </a:lnTo>
                <a:lnTo>
                  <a:pt x="240" y="30"/>
                </a:lnTo>
                <a:lnTo>
                  <a:pt x="240" y="30"/>
                </a:lnTo>
                <a:lnTo>
                  <a:pt x="236" y="28"/>
                </a:lnTo>
                <a:lnTo>
                  <a:pt x="232" y="26"/>
                </a:lnTo>
                <a:lnTo>
                  <a:pt x="232" y="26"/>
                </a:lnTo>
                <a:lnTo>
                  <a:pt x="232" y="22"/>
                </a:lnTo>
                <a:lnTo>
                  <a:pt x="236" y="20"/>
                </a:lnTo>
                <a:lnTo>
                  <a:pt x="236" y="20"/>
                </a:lnTo>
                <a:lnTo>
                  <a:pt x="238" y="22"/>
                </a:lnTo>
                <a:lnTo>
                  <a:pt x="238" y="24"/>
                </a:lnTo>
                <a:lnTo>
                  <a:pt x="238" y="24"/>
                </a:lnTo>
                <a:lnTo>
                  <a:pt x="240" y="24"/>
                </a:lnTo>
                <a:lnTo>
                  <a:pt x="242" y="26"/>
                </a:lnTo>
                <a:lnTo>
                  <a:pt x="244" y="28"/>
                </a:lnTo>
                <a:lnTo>
                  <a:pt x="246" y="28"/>
                </a:lnTo>
                <a:lnTo>
                  <a:pt x="246" y="28"/>
                </a:lnTo>
                <a:lnTo>
                  <a:pt x="248" y="28"/>
                </a:lnTo>
                <a:lnTo>
                  <a:pt x="248" y="24"/>
                </a:lnTo>
                <a:lnTo>
                  <a:pt x="248" y="24"/>
                </a:lnTo>
                <a:lnTo>
                  <a:pt x="244" y="22"/>
                </a:lnTo>
                <a:lnTo>
                  <a:pt x="240" y="18"/>
                </a:lnTo>
                <a:lnTo>
                  <a:pt x="240" y="18"/>
                </a:lnTo>
                <a:lnTo>
                  <a:pt x="242" y="18"/>
                </a:lnTo>
                <a:lnTo>
                  <a:pt x="242" y="18"/>
                </a:lnTo>
                <a:lnTo>
                  <a:pt x="244" y="18"/>
                </a:lnTo>
                <a:lnTo>
                  <a:pt x="244" y="18"/>
                </a:lnTo>
                <a:lnTo>
                  <a:pt x="244" y="18"/>
                </a:lnTo>
                <a:lnTo>
                  <a:pt x="242" y="14"/>
                </a:lnTo>
                <a:lnTo>
                  <a:pt x="242" y="14"/>
                </a:lnTo>
                <a:lnTo>
                  <a:pt x="240" y="14"/>
                </a:lnTo>
                <a:lnTo>
                  <a:pt x="240" y="14"/>
                </a:lnTo>
                <a:lnTo>
                  <a:pt x="242" y="16"/>
                </a:lnTo>
                <a:lnTo>
                  <a:pt x="240" y="18"/>
                </a:lnTo>
                <a:lnTo>
                  <a:pt x="240" y="18"/>
                </a:lnTo>
                <a:lnTo>
                  <a:pt x="238" y="16"/>
                </a:lnTo>
                <a:lnTo>
                  <a:pt x="238" y="16"/>
                </a:lnTo>
                <a:lnTo>
                  <a:pt x="238" y="12"/>
                </a:lnTo>
                <a:lnTo>
                  <a:pt x="238" y="12"/>
                </a:lnTo>
                <a:lnTo>
                  <a:pt x="232" y="18"/>
                </a:lnTo>
                <a:lnTo>
                  <a:pt x="228" y="22"/>
                </a:lnTo>
                <a:lnTo>
                  <a:pt x="228" y="22"/>
                </a:lnTo>
                <a:lnTo>
                  <a:pt x="224" y="18"/>
                </a:lnTo>
                <a:lnTo>
                  <a:pt x="222" y="18"/>
                </a:lnTo>
                <a:lnTo>
                  <a:pt x="220" y="18"/>
                </a:lnTo>
                <a:lnTo>
                  <a:pt x="220" y="18"/>
                </a:lnTo>
                <a:lnTo>
                  <a:pt x="220" y="20"/>
                </a:lnTo>
                <a:lnTo>
                  <a:pt x="220" y="22"/>
                </a:lnTo>
                <a:lnTo>
                  <a:pt x="222" y="26"/>
                </a:lnTo>
                <a:lnTo>
                  <a:pt x="222" y="26"/>
                </a:lnTo>
                <a:lnTo>
                  <a:pt x="220" y="28"/>
                </a:lnTo>
                <a:lnTo>
                  <a:pt x="220" y="28"/>
                </a:lnTo>
                <a:lnTo>
                  <a:pt x="218" y="26"/>
                </a:lnTo>
                <a:lnTo>
                  <a:pt x="216" y="24"/>
                </a:lnTo>
                <a:lnTo>
                  <a:pt x="216" y="22"/>
                </a:lnTo>
                <a:lnTo>
                  <a:pt x="216" y="22"/>
                </a:lnTo>
                <a:lnTo>
                  <a:pt x="216" y="20"/>
                </a:lnTo>
                <a:lnTo>
                  <a:pt x="218" y="18"/>
                </a:lnTo>
                <a:lnTo>
                  <a:pt x="218" y="18"/>
                </a:lnTo>
                <a:lnTo>
                  <a:pt x="216" y="14"/>
                </a:lnTo>
                <a:lnTo>
                  <a:pt x="216" y="12"/>
                </a:lnTo>
                <a:lnTo>
                  <a:pt x="216" y="12"/>
                </a:lnTo>
                <a:lnTo>
                  <a:pt x="218" y="12"/>
                </a:lnTo>
                <a:lnTo>
                  <a:pt x="220" y="14"/>
                </a:lnTo>
                <a:lnTo>
                  <a:pt x="220" y="14"/>
                </a:lnTo>
                <a:lnTo>
                  <a:pt x="222" y="16"/>
                </a:lnTo>
                <a:lnTo>
                  <a:pt x="222" y="16"/>
                </a:lnTo>
                <a:lnTo>
                  <a:pt x="226" y="16"/>
                </a:lnTo>
                <a:lnTo>
                  <a:pt x="230" y="12"/>
                </a:lnTo>
                <a:lnTo>
                  <a:pt x="230" y="12"/>
                </a:lnTo>
                <a:lnTo>
                  <a:pt x="226" y="12"/>
                </a:lnTo>
                <a:lnTo>
                  <a:pt x="224" y="12"/>
                </a:lnTo>
                <a:lnTo>
                  <a:pt x="224" y="12"/>
                </a:lnTo>
                <a:lnTo>
                  <a:pt x="222" y="10"/>
                </a:lnTo>
                <a:lnTo>
                  <a:pt x="222" y="10"/>
                </a:lnTo>
                <a:lnTo>
                  <a:pt x="218" y="12"/>
                </a:lnTo>
                <a:lnTo>
                  <a:pt x="218" y="12"/>
                </a:lnTo>
                <a:lnTo>
                  <a:pt x="216" y="8"/>
                </a:lnTo>
                <a:lnTo>
                  <a:pt x="216" y="6"/>
                </a:lnTo>
                <a:lnTo>
                  <a:pt x="214" y="4"/>
                </a:lnTo>
                <a:lnTo>
                  <a:pt x="214" y="4"/>
                </a:lnTo>
                <a:lnTo>
                  <a:pt x="212" y="6"/>
                </a:lnTo>
                <a:lnTo>
                  <a:pt x="212" y="8"/>
                </a:lnTo>
                <a:lnTo>
                  <a:pt x="210" y="10"/>
                </a:lnTo>
                <a:lnTo>
                  <a:pt x="210" y="10"/>
                </a:lnTo>
                <a:lnTo>
                  <a:pt x="208" y="10"/>
                </a:lnTo>
                <a:lnTo>
                  <a:pt x="206" y="10"/>
                </a:lnTo>
                <a:lnTo>
                  <a:pt x="206" y="10"/>
                </a:lnTo>
                <a:lnTo>
                  <a:pt x="204" y="8"/>
                </a:lnTo>
                <a:lnTo>
                  <a:pt x="202" y="6"/>
                </a:lnTo>
                <a:lnTo>
                  <a:pt x="200" y="6"/>
                </a:lnTo>
                <a:lnTo>
                  <a:pt x="200" y="6"/>
                </a:lnTo>
                <a:lnTo>
                  <a:pt x="200" y="10"/>
                </a:lnTo>
                <a:lnTo>
                  <a:pt x="198" y="12"/>
                </a:lnTo>
                <a:lnTo>
                  <a:pt x="198" y="14"/>
                </a:lnTo>
                <a:lnTo>
                  <a:pt x="198" y="16"/>
                </a:lnTo>
                <a:lnTo>
                  <a:pt x="198" y="16"/>
                </a:lnTo>
                <a:lnTo>
                  <a:pt x="208" y="18"/>
                </a:lnTo>
                <a:lnTo>
                  <a:pt x="208" y="18"/>
                </a:lnTo>
                <a:lnTo>
                  <a:pt x="210" y="14"/>
                </a:lnTo>
                <a:lnTo>
                  <a:pt x="210" y="12"/>
                </a:lnTo>
                <a:lnTo>
                  <a:pt x="214" y="12"/>
                </a:lnTo>
                <a:lnTo>
                  <a:pt x="214" y="12"/>
                </a:lnTo>
                <a:lnTo>
                  <a:pt x="214" y="16"/>
                </a:lnTo>
                <a:lnTo>
                  <a:pt x="212" y="18"/>
                </a:lnTo>
                <a:lnTo>
                  <a:pt x="212" y="18"/>
                </a:lnTo>
                <a:lnTo>
                  <a:pt x="208" y="20"/>
                </a:lnTo>
                <a:lnTo>
                  <a:pt x="202" y="22"/>
                </a:lnTo>
                <a:lnTo>
                  <a:pt x="202" y="22"/>
                </a:lnTo>
                <a:lnTo>
                  <a:pt x="198" y="18"/>
                </a:lnTo>
                <a:lnTo>
                  <a:pt x="192" y="18"/>
                </a:lnTo>
                <a:lnTo>
                  <a:pt x="192" y="18"/>
                </a:lnTo>
                <a:lnTo>
                  <a:pt x="194" y="22"/>
                </a:lnTo>
                <a:lnTo>
                  <a:pt x="198" y="24"/>
                </a:lnTo>
                <a:lnTo>
                  <a:pt x="198" y="24"/>
                </a:lnTo>
                <a:lnTo>
                  <a:pt x="188" y="24"/>
                </a:lnTo>
                <a:lnTo>
                  <a:pt x="188" y="24"/>
                </a:lnTo>
                <a:lnTo>
                  <a:pt x="188" y="22"/>
                </a:lnTo>
                <a:lnTo>
                  <a:pt x="188" y="20"/>
                </a:lnTo>
                <a:lnTo>
                  <a:pt x="188" y="20"/>
                </a:lnTo>
                <a:lnTo>
                  <a:pt x="184" y="20"/>
                </a:lnTo>
                <a:lnTo>
                  <a:pt x="182" y="20"/>
                </a:lnTo>
                <a:lnTo>
                  <a:pt x="176" y="18"/>
                </a:lnTo>
                <a:lnTo>
                  <a:pt x="176" y="18"/>
                </a:lnTo>
                <a:lnTo>
                  <a:pt x="170" y="14"/>
                </a:lnTo>
                <a:lnTo>
                  <a:pt x="168" y="12"/>
                </a:lnTo>
                <a:lnTo>
                  <a:pt x="164" y="10"/>
                </a:lnTo>
                <a:lnTo>
                  <a:pt x="164" y="10"/>
                </a:lnTo>
                <a:lnTo>
                  <a:pt x="166" y="12"/>
                </a:lnTo>
                <a:lnTo>
                  <a:pt x="168" y="14"/>
                </a:lnTo>
                <a:lnTo>
                  <a:pt x="168" y="14"/>
                </a:lnTo>
                <a:lnTo>
                  <a:pt x="168" y="18"/>
                </a:lnTo>
                <a:lnTo>
                  <a:pt x="168" y="18"/>
                </a:lnTo>
                <a:lnTo>
                  <a:pt x="168" y="18"/>
                </a:lnTo>
                <a:lnTo>
                  <a:pt x="168" y="18"/>
                </a:lnTo>
                <a:lnTo>
                  <a:pt x="168" y="18"/>
                </a:lnTo>
                <a:lnTo>
                  <a:pt x="166" y="20"/>
                </a:lnTo>
                <a:lnTo>
                  <a:pt x="166" y="20"/>
                </a:lnTo>
                <a:lnTo>
                  <a:pt x="164" y="18"/>
                </a:lnTo>
                <a:lnTo>
                  <a:pt x="162" y="16"/>
                </a:lnTo>
                <a:lnTo>
                  <a:pt x="162" y="16"/>
                </a:lnTo>
                <a:lnTo>
                  <a:pt x="160" y="18"/>
                </a:lnTo>
                <a:lnTo>
                  <a:pt x="158" y="22"/>
                </a:lnTo>
                <a:lnTo>
                  <a:pt x="158" y="22"/>
                </a:lnTo>
                <a:lnTo>
                  <a:pt x="164" y="24"/>
                </a:lnTo>
                <a:lnTo>
                  <a:pt x="166" y="26"/>
                </a:lnTo>
                <a:lnTo>
                  <a:pt x="166" y="28"/>
                </a:lnTo>
                <a:lnTo>
                  <a:pt x="166" y="28"/>
                </a:lnTo>
                <a:lnTo>
                  <a:pt x="170" y="32"/>
                </a:lnTo>
                <a:lnTo>
                  <a:pt x="170" y="32"/>
                </a:lnTo>
                <a:lnTo>
                  <a:pt x="170" y="34"/>
                </a:lnTo>
                <a:lnTo>
                  <a:pt x="170" y="34"/>
                </a:lnTo>
                <a:lnTo>
                  <a:pt x="172" y="36"/>
                </a:lnTo>
                <a:lnTo>
                  <a:pt x="172" y="36"/>
                </a:lnTo>
                <a:lnTo>
                  <a:pt x="172" y="38"/>
                </a:lnTo>
                <a:lnTo>
                  <a:pt x="172" y="38"/>
                </a:lnTo>
                <a:lnTo>
                  <a:pt x="170" y="38"/>
                </a:lnTo>
                <a:lnTo>
                  <a:pt x="170" y="38"/>
                </a:lnTo>
                <a:lnTo>
                  <a:pt x="168" y="38"/>
                </a:lnTo>
                <a:lnTo>
                  <a:pt x="164" y="36"/>
                </a:lnTo>
                <a:lnTo>
                  <a:pt x="164" y="36"/>
                </a:lnTo>
                <a:lnTo>
                  <a:pt x="164" y="38"/>
                </a:lnTo>
                <a:lnTo>
                  <a:pt x="162" y="38"/>
                </a:lnTo>
                <a:lnTo>
                  <a:pt x="162" y="38"/>
                </a:lnTo>
                <a:lnTo>
                  <a:pt x="158" y="38"/>
                </a:lnTo>
                <a:lnTo>
                  <a:pt x="158" y="38"/>
                </a:lnTo>
                <a:lnTo>
                  <a:pt x="156" y="40"/>
                </a:lnTo>
                <a:lnTo>
                  <a:pt x="156" y="40"/>
                </a:lnTo>
                <a:lnTo>
                  <a:pt x="160" y="42"/>
                </a:lnTo>
                <a:lnTo>
                  <a:pt x="162" y="42"/>
                </a:lnTo>
                <a:lnTo>
                  <a:pt x="162" y="44"/>
                </a:lnTo>
                <a:lnTo>
                  <a:pt x="162" y="44"/>
                </a:lnTo>
                <a:lnTo>
                  <a:pt x="160" y="48"/>
                </a:lnTo>
                <a:lnTo>
                  <a:pt x="158" y="48"/>
                </a:lnTo>
                <a:lnTo>
                  <a:pt x="154" y="52"/>
                </a:lnTo>
                <a:lnTo>
                  <a:pt x="154" y="52"/>
                </a:lnTo>
                <a:lnTo>
                  <a:pt x="148" y="52"/>
                </a:lnTo>
                <a:lnTo>
                  <a:pt x="148" y="52"/>
                </a:lnTo>
                <a:lnTo>
                  <a:pt x="148" y="56"/>
                </a:lnTo>
                <a:lnTo>
                  <a:pt x="150" y="60"/>
                </a:lnTo>
                <a:lnTo>
                  <a:pt x="150" y="60"/>
                </a:lnTo>
                <a:lnTo>
                  <a:pt x="148" y="64"/>
                </a:lnTo>
                <a:lnTo>
                  <a:pt x="148" y="66"/>
                </a:lnTo>
                <a:lnTo>
                  <a:pt x="148" y="66"/>
                </a:lnTo>
                <a:lnTo>
                  <a:pt x="152" y="68"/>
                </a:lnTo>
                <a:lnTo>
                  <a:pt x="152" y="68"/>
                </a:lnTo>
                <a:lnTo>
                  <a:pt x="152" y="70"/>
                </a:lnTo>
                <a:lnTo>
                  <a:pt x="152" y="70"/>
                </a:lnTo>
                <a:lnTo>
                  <a:pt x="150" y="72"/>
                </a:lnTo>
                <a:lnTo>
                  <a:pt x="150" y="72"/>
                </a:lnTo>
                <a:lnTo>
                  <a:pt x="144" y="70"/>
                </a:lnTo>
                <a:lnTo>
                  <a:pt x="144" y="70"/>
                </a:lnTo>
                <a:lnTo>
                  <a:pt x="144" y="68"/>
                </a:lnTo>
                <a:lnTo>
                  <a:pt x="142" y="64"/>
                </a:lnTo>
                <a:lnTo>
                  <a:pt x="142" y="64"/>
                </a:lnTo>
                <a:lnTo>
                  <a:pt x="136" y="68"/>
                </a:lnTo>
                <a:lnTo>
                  <a:pt x="128" y="72"/>
                </a:lnTo>
                <a:lnTo>
                  <a:pt x="128" y="72"/>
                </a:lnTo>
                <a:lnTo>
                  <a:pt x="128" y="74"/>
                </a:lnTo>
                <a:lnTo>
                  <a:pt x="128" y="74"/>
                </a:lnTo>
                <a:lnTo>
                  <a:pt x="126" y="74"/>
                </a:lnTo>
                <a:lnTo>
                  <a:pt x="126" y="74"/>
                </a:lnTo>
                <a:lnTo>
                  <a:pt x="126" y="76"/>
                </a:lnTo>
                <a:lnTo>
                  <a:pt x="124" y="78"/>
                </a:lnTo>
                <a:lnTo>
                  <a:pt x="124" y="78"/>
                </a:lnTo>
                <a:lnTo>
                  <a:pt x="124" y="80"/>
                </a:lnTo>
                <a:lnTo>
                  <a:pt x="124" y="82"/>
                </a:lnTo>
                <a:lnTo>
                  <a:pt x="124" y="82"/>
                </a:lnTo>
                <a:lnTo>
                  <a:pt x="122" y="82"/>
                </a:lnTo>
                <a:lnTo>
                  <a:pt x="122" y="82"/>
                </a:lnTo>
                <a:lnTo>
                  <a:pt x="120" y="78"/>
                </a:lnTo>
                <a:lnTo>
                  <a:pt x="120" y="78"/>
                </a:lnTo>
                <a:lnTo>
                  <a:pt x="116" y="78"/>
                </a:lnTo>
                <a:lnTo>
                  <a:pt x="116" y="78"/>
                </a:lnTo>
                <a:lnTo>
                  <a:pt x="118" y="76"/>
                </a:lnTo>
                <a:lnTo>
                  <a:pt x="118" y="76"/>
                </a:lnTo>
                <a:lnTo>
                  <a:pt x="118" y="76"/>
                </a:lnTo>
                <a:lnTo>
                  <a:pt x="124" y="74"/>
                </a:lnTo>
                <a:lnTo>
                  <a:pt x="126" y="74"/>
                </a:lnTo>
                <a:lnTo>
                  <a:pt x="126" y="72"/>
                </a:lnTo>
                <a:lnTo>
                  <a:pt x="126" y="72"/>
                </a:lnTo>
                <a:lnTo>
                  <a:pt x="120" y="70"/>
                </a:lnTo>
                <a:lnTo>
                  <a:pt x="116" y="68"/>
                </a:lnTo>
                <a:lnTo>
                  <a:pt x="116" y="68"/>
                </a:lnTo>
                <a:lnTo>
                  <a:pt x="118" y="64"/>
                </a:lnTo>
                <a:lnTo>
                  <a:pt x="118" y="64"/>
                </a:lnTo>
                <a:lnTo>
                  <a:pt x="120" y="62"/>
                </a:lnTo>
                <a:lnTo>
                  <a:pt x="120" y="62"/>
                </a:lnTo>
                <a:lnTo>
                  <a:pt x="122" y="62"/>
                </a:lnTo>
                <a:lnTo>
                  <a:pt x="122" y="62"/>
                </a:lnTo>
                <a:lnTo>
                  <a:pt x="122" y="62"/>
                </a:lnTo>
                <a:lnTo>
                  <a:pt x="122" y="64"/>
                </a:lnTo>
                <a:lnTo>
                  <a:pt x="122" y="64"/>
                </a:lnTo>
                <a:lnTo>
                  <a:pt x="126" y="66"/>
                </a:lnTo>
                <a:lnTo>
                  <a:pt x="128" y="68"/>
                </a:lnTo>
                <a:lnTo>
                  <a:pt x="128" y="68"/>
                </a:lnTo>
                <a:lnTo>
                  <a:pt x="130" y="70"/>
                </a:lnTo>
                <a:lnTo>
                  <a:pt x="130" y="70"/>
                </a:lnTo>
                <a:lnTo>
                  <a:pt x="132" y="68"/>
                </a:lnTo>
                <a:lnTo>
                  <a:pt x="134" y="66"/>
                </a:lnTo>
                <a:lnTo>
                  <a:pt x="134" y="66"/>
                </a:lnTo>
                <a:lnTo>
                  <a:pt x="128" y="64"/>
                </a:lnTo>
                <a:lnTo>
                  <a:pt x="126" y="60"/>
                </a:lnTo>
                <a:lnTo>
                  <a:pt x="126" y="60"/>
                </a:lnTo>
                <a:lnTo>
                  <a:pt x="126" y="60"/>
                </a:lnTo>
                <a:lnTo>
                  <a:pt x="128" y="60"/>
                </a:lnTo>
                <a:lnTo>
                  <a:pt x="128" y="60"/>
                </a:lnTo>
                <a:lnTo>
                  <a:pt x="130" y="58"/>
                </a:lnTo>
                <a:lnTo>
                  <a:pt x="130" y="58"/>
                </a:lnTo>
                <a:lnTo>
                  <a:pt x="128" y="56"/>
                </a:lnTo>
                <a:lnTo>
                  <a:pt x="126" y="54"/>
                </a:lnTo>
                <a:lnTo>
                  <a:pt x="126" y="56"/>
                </a:lnTo>
                <a:lnTo>
                  <a:pt x="126" y="56"/>
                </a:lnTo>
                <a:lnTo>
                  <a:pt x="126" y="58"/>
                </a:lnTo>
                <a:lnTo>
                  <a:pt x="126" y="60"/>
                </a:lnTo>
                <a:lnTo>
                  <a:pt x="126" y="60"/>
                </a:lnTo>
                <a:lnTo>
                  <a:pt x="124" y="58"/>
                </a:lnTo>
                <a:lnTo>
                  <a:pt x="122" y="58"/>
                </a:lnTo>
                <a:lnTo>
                  <a:pt x="122" y="54"/>
                </a:lnTo>
                <a:lnTo>
                  <a:pt x="122" y="54"/>
                </a:lnTo>
                <a:lnTo>
                  <a:pt x="118" y="58"/>
                </a:lnTo>
                <a:lnTo>
                  <a:pt x="112" y="64"/>
                </a:lnTo>
                <a:lnTo>
                  <a:pt x="112" y="64"/>
                </a:lnTo>
                <a:lnTo>
                  <a:pt x="108" y="60"/>
                </a:lnTo>
                <a:lnTo>
                  <a:pt x="106" y="60"/>
                </a:lnTo>
                <a:lnTo>
                  <a:pt x="104" y="60"/>
                </a:lnTo>
                <a:lnTo>
                  <a:pt x="104" y="60"/>
                </a:lnTo>
                <a:lnTo>
                  <a:pt x="104" y="62"/>
                </a:lnTo>
                <a:lnTo>
                  <a:pt x="106" y="64"/>
                </a:lnTo>
                <a:lnTo>
                  <a:pt x="108" y="68"/>
                </a:lnTo>
                <a:lnTo>
                  <a:pt x="108" y="68"/>
                </a:lnTo>
                <a:lnTo>
                  <a:pt x="106" y="70"/>
                </a:lnTo>
                <a:lnTo>
                  <a:pt x="106" y="70"/>
                </a:lnTo>
                <a:lnTo>
                  <a:pt x="102" y="68"/>
                </a:lnTo>
                <a:lnTo>
                  <a:pt x="100" y="66"/>
                </a:lnTo>
                <a:lnTo>
                  <a:pt x="100" y="64"/>
                </a:lnTo>
                <a:lnTo>
                  <a:pt x="100" y="64"/>
                </a:lnTo>
                <a:lnTo>
                  <a:pt x="102" y="62"/>
                </a:lnTo>
                <a:lnTo>
                  <a:pt x="102" y="58"/>
                </a:lnTo>
                <a:lnTo>
                  <a:pt x="102" y="58"/>
                </a:lnTo>
                <a:lnTo>
                  <a:pt x="102" y="56"/>
                </a:lnTo>
                <a:lnTo>
                  <a:pt x="102" y="54"/>
                </a:lnTo>
                <a:lnTo>
                  <a:pt x="102" y="54"/>
                </a:lnTo>
                <a:lnTo>
                  <a:pt x="104" y="54"/>
                </a:lnTo>
                <a:lnTo>
                  <a:pt x="104" y="56"/>
                </a:lnTo>
                <a:lnTo>
                  <a:pt x="106" y="56"/>
                </a:lnTo>
                <a:lnTo>
                  <a:pt x="108" y="56"/>
                </a:lnTo>
                <a:lnTo>
                  <a:pt x="108" y="56"/>
                </a:lnTo>
                <a:lnTo>
                  <a:pt x="112" y="58"/>
                </a:lnTo>
                <a:lnTo>
                  <a:pt x="114" y="54"/>
                </a:lnTo>
                <a:lnTo>
                  <a:pt x="114" y="54"/>
                </a:lnTo>
                <a:lnTo>
                  <a:pt x="112" y="54"/>
                </a:lnTo>
                <a:lnTo>
                  <a:pt x="110" y="54"/>
                </a:lnTo>
                <a:lnTo>
                  <a:pt x="110" y="54"/>
                </a:lnTo>
                <a:lnTo>
                  <a:pt x="108" y="52"/>
                </a:lnTo>
                <a:lnTo>
                  <a:pt x="108" y="52"/>
                </a:lnTo>
                <a:lnTo>
                  <a:pt x="104" y="54"/>
                </a:lnTo>
                <a:lnTo>
                  <a:pt x="104" y="54"/>
                </a:lnTo>
                <a:lnTo>
                  <a:pt x="102" y="50"/>
                </a:lnTo>
                <a:lnTo>
                  <a:pt x="100" y="48"/>
                </a:lnTo>
                <a:lnTo>
                  <a:pt x="98" y="46"/>
                </a:lnTo>
                <a:lnTo>
                  <a:pt x="98" y="46"/>
                </a:lnTo>
                <a:lnTo>
                  <a:pt x="98" y="48"/>
                </a:lnTo>
                <a:lnTo>
                  <a:pt x="96" y="48"/>
                </a:lnTo>
                <a:lnTo>
                  <a:pt x="96" y="52"/>
                </a:lnTo>
                <a:lnTo>
                  <a:pt x="96" y="52"/>
                </a:lnTo>
                <a:lnTo>
                  <a:pt x="94" y="52"/>
                </a:lnTo>
                <a:lnTo>
                  <a:pt x="92" y="52"/>
                </a:lnTo>
                <a:lnTo>
                  <a:pt x="92" y="52"/>
                </a:lnTo>
                <a:lnTo>
                  <a:pt x="88" y="50"/>
                </a:lnTo>
                <a:lnTo>
                  <a:pt x="86" y="48"/>
                </a:lnTo>
                <a:lnTo>
                  <a:pt x="84" y="48"/>
                </a:lnTo>
                <a:lnTo>
                  <a:pt x="84" y="48"/>
                </a:lnTo>
                <a:lnTo>
                  <a:pt x="84" y="50"/>
                </a:lnTo>
                <a:lnTo>
                  <a:pt x="84" y="54"/>
                </a:lnTo>
                <a:lnTo>
                  <a:pt x="84" y="56"/>
                </a:lnTo>
                <a:lnTo>
                  <a:pt x="84" y="58"/>
                </a:lnTo>
                <a:lnTo>
                  <a:pt x="84" y="58"/>
                </a:lnTo>
                <a:lnTo>
                  <a:pt x="92" y="58"/>
                </a:lnTo>
                <a:lnTo>
                  <a:pt x="92" y="58"/>
                </a:lnTo>
                <a:lnTo>
                  <a:pt x="94" y="56"/>
                </a:lnTo>
                <a:lnTo>
                  <a:pt x="96" y="54"/>
                </a:lnTo>
                <a:lnTo>
                  <a:pt x="98" y="54"/>
                </a:lnTo>
                <a:lnTo>
                  <a:pt x="98" y="54"/>
                </a:lnTo>
                <a:lnTo>
                  <a:pt x="98" y="58"/>
                </a:lnTo>
                <a:lnTo>
                  <a:pt x="96" y="60"/>
                </a:lnTo>
                <a:lnTo>
                  <a:pt x="96" y="60"/>
                </a:lnTo>
                <a:lnTo>
                  <a:pt x="92" y="62"/>
                </a:lnTo>
                <a:lnTo>
                  <a:pt x="88" y="64"/>
                </a:lnTo>
                <a:lnTo>
                  <a:pt x="88" y="64"/>
                </a:lnTo>
                <a:lnTo>
                  <a:pt x="84" y="60"/>
                </a:lnTo>
                <a:lnTo>
                  <a:pt x="76" y="60"/>
                </a:lnTo>
                <a:lnTo>
                  <a:pt x="76" y="60"/>
                </a:lnTo>
                <a:lnTo>
                  <a:pt x="80" y="64"/>
                </a:lnTo>
                <a:lnTo>
                  <a:pt x="82" y="66"/>
                </a:lnTo>
                <a:lnTo>
                  <a:pt x="82" y="66"/>
                </a:lnTo>
                <a:lnTo>
                  <a:pt x="74" y="66"/>
                </a:lnTo>
                <a:lnTo>
                  <a:pt x="74" y="66"/>
                </a:lnTo>
                <a:lnTo>
                  <a:pt x="72" y="64"/>
                </a:lnTo>
                <a:lnTo>
                  <a:pt x="72" y="62"/>
                </a:lnTo>
                <a:lnTo>
                  <a:pt x="72" y="62"/>
                </a:lnTo>
                <a:lnTo>
                  <a:pt x="70" y="62"/>
                </a:lnTo>
                <a:lnTo>
                  <a:pt x="66" y="62"/>
                </a:lnTo>
                <a:lnTo>
                  <a:pt x="60" y="60"/>
                </a:lnTo>
                <a:lnTo>
                  <a:pt x="60" y="60"/>
                </a:lnTo>
                <a:lnTo>
                  <a:pt x="56" y="56"/>
                </a:lnTo>
                <a:lnTo>
                  <a:pt x="54" y="52"/>
                </a:lnTo>
                <a:lnTo>
                  <a:pt x="50" y="52"/>
                </a:lnTo>
                <a:lnTo>
                  <a:pt x="50" y="52"/>
                </a:lnTo>
                <a:lnTo>
                  <a:pt x="50" y="54"/>
                </a:lnTo>
                <a:lnTo>
                  <a:pt x="52" y="56"/>
                </a:lnTo>
                <a:lnTo>
                  <a:pt x="52" y="56"/>
                </a:lnTo>
                <a:lnTo>
                  <a:pt x="52" y="58"/>
                </a:lnTo>
                <a:lnTo>
                  <a:pt x="52" y="58"/>
                </a:lnTo>
                <a:lnTo>
                  <a:pt x="54" y="60"/>
                </a:lnTo>
                <a:lnTo>
                  <a:pt x="54" y="60"/>
                </a:lnTo>
                <a:lnTo>
                  <a:pt x="54" y="60"/>
                </a:lnTo>
                <a:lnTo>
                  <a:pt x="50" y="62"/>
                </a:lnTo>
                <a:lnTo>
                  <a:pt x="50" y="62"/>
                </a:lnTo>
                <a:lnTo>
                  <a:pt x="48" y="60"/>
                </a:lnTo>
                <a:lnTo>
                  <a:pt x="46" y="58"/>
                </a:lnTo>
                <a:lnTo>
                  <a:pt x="46" y="58"/>
                </a:lnTo>
                <a:lnTo>
                  <a:pt x="44" y="60"/>
                </a:lnTo>
                <a:lnTo>
                  <a:pt x="44" y="64"/>
                </a:lnTo>
                <a:lnTo>
                  <a:pt x="44" y="64"/>
                </a:lnTo>
                <a:lnTo>
                  <a:pt x="48" y="64"/>
                </a:lnTo>
                <a:lnTo>
                  <a:pt x="50" y="66"/>
                </a:lnTo>
                <a:lnTo>
                  <a:pt x="50" y="70"/>
                </a:lnTo>
                <a:lnTo>
                  <a:pt x="50" y="70"/>
                </a:lnTo>
                <a:lnTo>
                  <a:pt x="56" y="74"/>
                </a:lnTo>
                <a:lnTo>
                  <a:pt x="56" y="74"/>
                </a:lnTo>
                <a:lnTo>
                  <a:pt x="56" y="76"/>
                </a:lnTo>
                <a:lnTo>
                  <a:pt x="56" y="76"/>
                </a:lnTo>
                <a:lnTo>
                  <a:pt x="58" y="76"/>
                </a:lnTo>
                <a:lnTo>
                  <a:pt x="58" y="78"/>
                </a:lnTo>
                <a:lnTo>
                  <a:pt x="58" y="80"/>
                </a:lnTo>
                <a:lnTo>
                  <a:pt x="58" y="80"/>
                </a:lnTo>
                <a:lnTo>
                  <a:pt x="56" y="80"/>
                </a:lnTo>
                <a:lnTo>
                  <a:pt x="56" y="80"/>
                </a:lnTo>
                <a:lnTo>
                  <a:pt x="52" y="80"/>
                </a:lnTo>
                <a:lnTo>
                  <a:pt x="50" y="78"/>
                </a:lnTo>
                <a:lnTo>
                  <a:pt x="50" y="78"/>
                </a:lnTo>
                <a:lnTo>
                  <a:pt x="48" y="80"/>
                </a:lnTo>
                <a:lnTo>
                  <a:pt x="48" y="80"/>
                </a:lnTo>
                <a:lnTo>
                  <a:pt x="48" y="80"/>
                </a:lnTo>
                <a:lnTo>
                  <a:pt x="44" y="80"/>
                </a:lnTo>
                <a:lnTo>
                  <a:pt x="42" y="80"/>
                </a:lnTo>
                <a:lnTo>
                  <a:pt x="42" y="82"/>
                </a:lnTo>
                <a:lnTo>
                  <a:pt x="42" y="82"/>
                </a:lnTo>
                <a:lnTo>
                  <a:pt x="46" y="84"/>
                </a:lnTo>
                <a:lnTo>
                  <a:pt x="46" y="84"/>
                </a:lnTo>
                <a:lnTo>
                  <a:pt x="48" y="86"/>
                </a:lnTo>
                <a:lnTo>
                  <a:pt x="48" y="86"/>
                </a:lnTo>
                <a:lnTo>
                  <a:pt x="46" y="88"/>
                </a:lnTo>
                <a:lnTo>
                  <a:pt x="44" y="90"/>
                </a:lnTo>
                <a:lnTo>
                  <a:pt x="40" y="94"/>
                </a:lnTo>
                <a:lnTo>
                  <a:pt x="40" y="94"/>
                </a:lnTo>
                <a:lnTo>
                  <a:pt x="34" y="94"/>
                </a:lnTo>
                <a:lnTo>
                  <a:pt x="34" y="94"/>
                </a:lnTo>
                <a:lnTo>
                  <a:pt x="34" y="98"/>
                </a:lnTo>
                <a:lnTo>
                  <a:pt x="34" y="102"/>
                </a:lnTo>
                <a:lnTo>
                  <a:pt x="34" y="102"/>
                </a:lnTo>
                <a:lnTo>
                  <a:pt x="34" y="106"/>
                </a:lnTo>
                <a:lnTo>
                  <a:pt x="34" y="108"/>
                </a:lnTo>
                <a:lnTo>
                  <a:pt x="34" y="108"/>
                </a:lnTo>
                <a:lnTo>
                  <a:pt x="36" y="110"/>
                </a:lnTo>
                <a:lnTo>
                  <a:pt x="38" y="110"/>
                </a:lnTo>
                <a:lnTo>
                  <a:pt x="38" y="112"/>
                </a:lnTo>
                <a:lnTo>
                  <a:pt x="38" y="112"/>
                </a:lnTo>
                <a:lnTo>
                  <a:pt x="36" y="114"/>
                </a:lnTo>
                <a:lnTo>
                  <a:pt x="34" y="112"/>
                </a:lnTo>
                <a:lnTo>
                  <a:pt x="30" y="112"/>
                </a:lnTo>
                <a:lnTo>
                  <a:pt x="30" y="112"/>
                </a:lnTo>
                <a:lnTo>
                  <a:pt x="30" y="108"/>
                </a:lnTo>
                <a:lnTo>
                  <a:pt x="28" y="106"/>
                </a:lnTo>
                <a:lnTo>
                  <a:pt x="28" y="106"/>
                </a:lnTo>
                <a:lnTo>
                  <a:pt x="20" y="110"/>
                </a:lnTo>
                <a:lnTo>
                  <a:pt x="12" y="114"/>
                </a:lnTo>
                <a:lnTo>
                  <a:pt x="12" y="114"/>
                </a:lnTo>
                <a:lnTo>
                  <a:pt x="14" y="116"/>
                </a:lnTo>
                <a:lnTo>
                  <a:pt x="14" y="118"/>
                </a:lnTo>
                <a:lnTo>
                  <a:pt x="14" y="118"/>
                </a:lnTo>
                <a:lnTo>
                  <a:pt x="14" y="122"/>
                </a:lnTo>
                <a:lnTo>
                  <a:pt x="14" y="126"/>
                </a:lnTo>
                <a:lnTo>
                  <a:pt x="14" y="126"/>
                </a:lnTo>
                <a:lnTo>
                  <a:pt x="12" y="128"/>
                </a:lnTo>
                <a:lnTo>
                  <a:pt x="12" y="130"/>
                </a:lnTo>
                <a:lnTo>
                  <a:pt x="12" y="130"/>
                </a:lnTo>
                <a:lnTo>
                  <a:pt x="14" y="130"/>
                </a:lnTo>
                <a:lnTo>
                  <a:pt x="18" y="130"/>
                </a:lnTo>
                <a:lnTo>
                  <a:pt x="18" y="130"/>
                </a:lnTo>
                <a:lnTo>
                  <a:pt x="18" y="128"/>
                </a:lnTo>
                <a:lnTo>
                  <a:pt x="18" y="126"/>
                </a:lnTo>
                <a:lnTo>
                  <a:pt x="16" y="126"/>
                </a:lnTo>
                <a:lnTo>
                  <a:pt x="16" y="124"/>
                </a:lnTo>
                <a:lnTo>
                  <a:pt x="22" y="124"/>
                </a:lnTo>
                <a:lnTo>
                  <a:pt x="22" y="124"/>
                </a:lnTo>
                <a:lnTo>
                  <a:pt x="24" y="132"/>
                </a:lnTo>
                <a:lnTo>
                  <a:pt x="24" y="132"/>
                </a:lnTo>
                <a:lnTo>
                  <a:pt x="26" y="130"/>
                </a:lnTo>
                <a:lnTo>
                  <a:pt x="30" y="130"/>
                </a:lnTo>
                <a:lnTo>
                  <a:pt x="30" y="130"/>
                </a:lnTo>
                <a:lnTo>
                  <a:pt x="30" y="132"/>
                </a:lnTo>
                <a:lnTo>
                  <a:pt x="30" y="136"/>
                </a:lnTo>
                <a:lnTo>
                  <a:pt x="370" y="136"/>
                </a:lnTo>
                <a:lnTo>
                  <a:pt x="370" y="136"/>
                </a:lnTo>
                <a:lnTo>
                  <a:pt x="368" y="132"/>
                </a:lnTo>
                <a:lnTo>
                  <a:pt x="368" y="132"/>
                </a:lnTo>
                <a:lnTo>
                  <a:pt x="372" y="128"/>
                </a:lnTo>
                <a:lnTo>
                  <a:pt x="372" y="128"/>
                </a:lnTo>
                <a:lnTo>
                  <a:pt x="370" y="126"/>
                </a:lnTo>
                <a:lnTo>
                  <a:pt x="372" y="124"/>
                </a:lnTo>
                <a:lnTo>
                  <a:pt x="372" y="122"/>
                </a:lnTo>
                <a:lnTo>
                  <a:pt x="374" y="118"/>
                </a:lnTo>
                <a:lnTo>
                  <a:pt x="374" y="118"/>
                </a:lnTo>
                <a:lnTo>
                  <a:pt x="370" y="118"/>
                </a:lnTo>
                <a:lnTo>
                  <a:pt x="368" y="118"/>
                </a:lnTo>
                <a:lnTo>
                  <a:pt x="368" y="118"/>
                </a:lnTo>
                <a:lnTo>
                  <a:pt x="368" y="116"/>
                </a:lnTo>
                <a:lnTo>
                  <a:pt x="368" y="114"/>
                </a:lnTo>
                <a:lnTo>
                  <a:pt x="368" y="114"/>
                </a:lnTo>
                <a:lnTo>
                  <a:pt x="370" y="110"/>
                </a:lnTo>
                <a:lnTo>
                  <a:pt x="372" y="108"/>
                </a:lnTo>
                <a:lnTo>
                  <a:pt x="372" y="106"/>
                </a:lnTo>
                <a:lnTo>
                  <a:pt x="372" y="106"/>
                </a:lnTo>
                <a:lnTo>
                  <a:pt x="374" y="106"/>
                </a:lnTo>
                <a:lnTo>
                  <a:pt x="376" y="104"/>
                </a:lnTo>
                <a:lnTo>
                  <a:pt x="378" y="102"/>
                </a:lnTo>
                <a:lnTo>
                  <a:pt x="376" y="100"/>
                </a:lnTo>
                <a:lnTo>
                  <a:pt x="376" y="100"/>
                </a:lnTo>
                <a:lnTo>
                  <a:pt x="374" y="100"/>
                </a:lnTo>
                <a:lnTo>
                  <a:pt x="372" y="100"/>
                </a:lnTo>
                <a:lnTo>
                  <a:pt x="370" y="104"/>
                </a:lnTo>
                <a:lnTo>
                  <a:pt x="370" y="104"/>
                </a:lnTo>
                <a:close/>
                <a:moveTo>
                  <a:pt x="110" y="84"/>
                </a:moveTo>
                <a:lnTo>
                  <a:pt x="110" y="84"/>
                </a:lnTo>
                <a:lnTo>
                  <a:pt x="110" y="86"/>
                </a:lnTo>
                <a:lnTo>
                  <a:pt x="108" y="88"/>
                </a:lnTo>
                <a:lnTo>
                  <a:pt x="108" y="88"/>
                </a:lnTo>
                <a:lnTo>
                  <a:pt x="106" y="86"/>
                </a:lnTo>
                <a:lnTo>
                  <a:pt x="104" y="84"/>
                </a:lnTo>
                <a:lnTo>
                  <a:pt x="104" y="84"/>
                </a:lnTo>
                <a:lnTo>
                  <a:pt x="102" y="84"/>
                </a:lnTo>
                <a:lnTo>
                  <a:pt x="100" y="82"/>
                </a:lnTo>
                <a:lnTo>
                  <a:pt x="100" y="82"/>
                </a:lnTo>
                <a:lnTo>
                  <a:pt x="100" y="80"/>
                </a:lnTo>
                <a:lnTo>
                  <a:pt x="100" y="80"/>
                </a:lnTo>
                <a:lnTo>
                  <a:pt x="108" y="82"/>
                </a:lnTo>
                <a:lnTo>
                  <a:pt x="116" y="80"/>
                </a:lnTo>
                <a:lnTo>
                  <a:pt x="116" y="80"/>
                </a:lnTo>
                <a:lnTo>
                  <a:pt x="116" y="78"/>
                </a:lnTo>
                <a:lnTo>
                  <a:pt x="116" y="78"/>
                </a:lnTo>
                <a:lnTo>
                  <a:pt x="118" y="80"/>
                </a:lnTo>
                <a:lnTo>
                  <a:pt x="120" y="84"/>
                </a:lnTo>
                <a:lnTo>
                  <a:pt x="120" y="84"/>
                </a:lnTo>
                <a:lnTo>
                  <a:pt x="116" y="84"/>
                </a:lnTo>
                <a:lnTo>
                  <a:pt x="110" y="84"/>
                </a:lnTo>
                <a:lnTo>
                  <a:pt x="110" y="84"/>
                </a:lnTo>
                <a:close/>
                <a:moveTo>
                  <a:pt x="142" y="96"/>
                </a:moveTo>
                <a:lnTo>
                  <a:pt x="142" y="96"/>
                </a:lnTo>
                <a:lnTo>
                  <a:pt x="134" y="98"/>
                </a:lnTo>
                <a:lnTo>
                  <a:pt x="134" y="98"/>
                </a:lnTo>
                <a:lnTo>
                  <a:pt x="132" y="96"/>
                </a:lnTo>
                <a:lnTo>
                  <a:pt x="130" y="94"/>
                </a:lnTo>
                <a:lnTo>
                  <a:pt x="130" y="94"/>
                </a:lnTo>
                <a:lnTo>
                  <a:pt x="134" y="92"/>
                </a:lnTo>
                <a:lnTo>
                  <a:pt x="134" y="92"/>
                </a:lnTo>
                <a:lnTo>
                  <a:pt x="134" y="88"/>
                </a:lnTo>
                <a:lnTo>
                  <a:pt x="134" y="86"/>
                </a:lnTo>
                <a:lnTo>
                  <a:pt x="134" y="84"/>
                </a:lnTo>
                <a:lnTo>
                  <a:pt x="134" y="84"/>
                </a:lnTo>
                <a:lnTo>
                  <a:pt x="136" y="86"/>
                </a:lnTo>
                <a:lnTo>
                  <a:pt x="138" y="86"/>
                </a:lnTo>
                <a:lnTo>
                  <a:pt x="138" y="86"/>
                </a:lnTo>
                <a:lnTo>
                  <a:pt x="138" y="90"/>
                </a:lnTo>
                <a:lnTo>
                  <a:pt x="138" y="90"/>
                </a:lnTo>
                <a:lnTo>
                  <a:pt x="140" y="90"/>
                </a:lnTo>
                <a:lnTo>
                  <a:pt x="142" y="88"/>
                </a:lnTo>
                <a:lnTo>
                  <a:pt x="142" y="88"/>
                </a:lnTo>
                <a:lnTo>
                  <a:pt x="140" y="90"/>
                </a:lnTo>
                <a:lnTo>
                  <a:pt x="138" y="94"/>
                </a:lnTo>
                <a:lnTo>
                  <a:pt x="138" y="94"/>
                </a:lnTo>
                <a:lnTo>
                  <a:pt x="142" y="96"/>
                </a:lnTo>
                <a:lnTo>
                  <a:pt x="142" y="96"/>
                </a:lnTo>
                <a:close/>
                <a:moveTo>
                  <a:pt x="282" y="70"/>
                </a:moveTo>
                <a:lnTo>
                  <a:pt x="282" y="70"/>
                </a:lnTo>
                <a:lnTo>
                  <a:pt x="280" y="68"/>
                </a:lnTo>
                <a:lnTo>
                  <a:pt x="280" y="68"/>
                </a:lnTo>
                <a:lnTo>
                  <a:pt x="280" y="68"/>
                </a:lnTo>
                <a:lnTo>
                  <a:pt x="280" y="68"/>
                </a:lnTo>
                <a:lnTo>
                  <a:pt x="284" y="70"/>
                </a:lnTo>
                <a:lnTo>
                  <a:pt x="284" y="70"/>
                </a:lnTo>
                <a:lnTo>
                  <a:pt x="282" y="70"/>
                </a:lnTo>
                <a:lnTo>
                  <a:pt x="282" y="70"/>
                </a:lnTo>
                <a:close/>
                <a:moveTo>
                  <a:pt x="298" y="64"/>
                </a:moveTo>
                <a:lnTo>
                  <a:pt x="298" y="64"/>
                </a:lnTo>
                <a:lnTo>
                  <a:pt x="294" y="66"/>
                </a:lnTo>
                <a:lnTo>
                  <a:pt x="290" y="66"/>
                </a:lnTo>
                <a:lnTo>
                  <a:pt x="290" y="66"/>
                </a:lnTo>
                <a:lnTo>
                  <a:pt x="284" y="64"/>
                </a:lnTo>
                <a:lnTo>
                  <a:pt x="284" y="64"/>
                </a:lnTo>
                <a:lnTo>
                  <a:pt x="284" y="60"/>
                </a:lnTo>
                <a:lnTo>
                  <a:pt x="284" y="60"/>
                </a:lnTo>
                <a:lnTo>
                  <a:pt x="284" y="60"/>
                </a:lnTo>
                <a:lnTo>
                  <a:pt x="284" y="60"/>
                </a:lnTo>
                <a:lnTo>
                  <a:pt x="286" y="62"/>
                </a:lnTo>
                <a:lnTo>
                  <a:pt x="286" y="62"/>
                </a:lnTo>
                <a:lnTo>
                  <a:pt x="294" y="62"/>
                </a:lnTo>
                <a:lnTo>
                  <a:pt x="294" y="62"/>
                </a:lnTo>
                <a:lnTo>
                  <a:pt x="296" y="60"/>
                </a:lnTo>
                <a:lnTo>
                  <a:pt x="298" y="58"/>
                </a:lnTo>
                <a:lnTo>
                  <a:pt x="300" y="58"/>
                </a:lnTo>
                <a:lnTo>
                  <a:pt x="300" y="58"/>
                </a:lnTo>
                <a:lnTo>
                  <a:pt x="300" y="62"/>
                </a:lnTo>
                <a:lnTo>
                  <a:pt x="298" y="64"/>
                </a:lnTo>
                <a:lnTo>
                  <a:pt x="298" y="64"/>
                </a:lnTo>
                <a:close/>
                <a:moveTo>
                  <a:pt x="62" y="48"/>
                </a:moveTo>
                <a:lnTo>
                  <a:pt x="62" y="48"/>
                </a:lnTo>
                <a:lnTo>
                  <a:pt x="58" y="48"/>
                </a:lnTo>
                <a:lnTo>
                  <a:pt x="56" y="48"/>
                </a:lnTo>
                <a:lnTo>
                  <a:pt x="56" y="50"/>
                </a:lnTo>
                <a:lnTo>
                  <a:pt x="56" y="50"/>
                </a:lnTo>
                <a:lnTo>
                  <a:pt x="58" y="50"/>
                </a:lnTo>
                <a:lnTo>
                  <a:pt x="60" y="50"/>
                </a:lnTo>
                <a:lnTo>
                  <a:pt x="62" y="48"/>
                </a:lnTo>
                <a:lnTo>
                  <a:pt x="62" y="48"/>
                </a:lnTo>
                <a:close/>
                <a:moveTo>
                  <a:pt x="4" y="104"/>
                </a:moveTo>
                <a:lnTo>
                  <a:pt x="4" y="104"/>
                </a:lnTo>
                <a:lnTo>
                  <a:pt x="2" y="104"/>
                </a:lnTo>
                <a:lnTo>
                  <a:pt x="0" y="104"/>
                </a:lnTo>
                <a:lnTo>
                  <a:pt x="0" y="104"/>
                </a:lnTo>
                <a:lnTo>
                  <a:pt x="0" y="106"/>
                </a:lnTo>
                <a:lnTo>
                  <a:pt x="2" y="106"/>
                </a:lnTo>
                <a:lnTo>
                  <a:pt x="4" y="104"/>
                </a:lnTo>
                <a:lnTo>
                  <a:pt x="4" y="104"/>
                </a:lnTo>
                <a:lnTo>
                  <a:pt x="4" y="104"/>
                </a:lnTo>
                <a:close/>
                <a:moveTo>
                  <a:pt x="138" y="56"/>
                </a:moveTo>
                <a:lnTo>
                  <a:pt x="138" y="58"/>
                </a:lnTo>
                <a:lnTo>
                  <a:pt x="142" y="58"/>
                </a:lnTo>
                <a:lnTo>
                  <a:pt x="142" y="58"/>
                </a:lnTo>
                <a:lnTo>
                  <a:pt x="142" y="56"/>
                </a:lnTo>
                <a:lnTo>
                  <a:pt x="138" y="56"/>
                </a:lnTo>
                <a:lnTo>
                  <a:pt x="138" y="56"/>
                </a:lnTo>
                <a:close/>
                <a:moveTo>
                  <a:pt x="124" y="48"/>
                </a:moveTo>
                <a:lnTo>
                  <a:pt x="124" y="48"/>
                </a:lnTo>
                <a:lnTo>
                  <a:pt x="122" y="52"/>
                </a:lnTo>
                <a:lnTo>
                  <a:pt x="122" y="52"/>
                </a:lnTo>
                <a:lnTo>
                  <a:pt x="126" y="52"/>
                </a:lnTo>
                <a:lnTo>
                  <a:pt x="126" y="52"/>
                </a:lnTo>
                <a:lnTo>
                  <a:pt x="126" y="50"/>
                </a:lnTo>
                <a:lnTo>
                  <a:pt x="124" y="48"/>
                </a:lnTo>
                <a:lnTo>
                  <a:pt x="124" y="48"/>
                </a:lnTo>
                <a:close/>
                <a:moveTo>
                  <a:pt x="148" y="40"/>
                </a:moveTo>
                <a:lnTo>
                  <a:pt x="148" y="40"/>
                </a:lnTo>
                <a:lnTo>
                  <a:pt x="144" y="40"/>
                </a:lnTo>
                <a:lnTo>
                  <a:pt x="144" y="42"/>
                </a:lnTo>
                <a:lnTo>
                  <a:pt x="144" y="44"/>
                </a:lnTo>
                <a:lnTo>
                  <a:pt x="144" y="44"/>
                </a:lnTo>
                <a:lnTo>
                  <a:pt x="148" y="42"/>
                </a:lnTo>
                <a:lnTo>
                  <a:pt x="148" y="40"/>
                </a:lnTo>
                <a:lnTo>
                  <a:pt x="148" y="40"/>
                </a:lnTo>
                <a:close/>
                <a:moveTo>
                  <a:pt x="76" y="56"/>
                </a:moveTo>
                <a:lnTo>
                  <a:pt x="76" y="56"/>
                </a:lnTo>
                <a:lnTo>
                  <a:pt x="74" y="52"/>
                </a:lnTo>
                <a:lnTo>
                  <a:pt x="74" y="50"/>
                </a:lnTo>
                <a:lnTo>
                  <a:pt x="76" y="48"/>
                </a:lnTo>
                <a:lnTo>
                  <a:pt x="76" y="48"/>
                </a:lnTo>
                <a:lnTo>
                  <a:pt x="72" y="46"/>
                </a:lnTo>
                <a:lnTo>
                  <a:pt x="68" y="48"/>
                </a:lnTo>
                <a:lnTo>
                  <a:pt x="68" y="50"/>
                </a:lnTo>
                <a:lnTo>
                  <a:pt x="68" y="50"/>
                </a:lnTo>
                <a:lnTo>
                  <a:pt x="70" y="52"/>
                </a:lnTo>
                <a:lnTo>
                  <a:pt x="72" y="54"/>
                </a:lnTo>
                <a:lnTo>
                  <a:pt x="74" y="56"/>
                </a:lnTo>
                <a:lnTo>
                  <a:pt x="76" y="56"/>
                </a:lnTo>
                <a:lnTo>
                  <a:pt x="76" y="56"/>
                </a:lnTo>
                <a:close/>
                <a:moveTo>
                  <a:pt x="78" y="52"/>
                </a:moveTo>
                <a:lnTo>
                  <a:pt x="78" y="52"/>
                </a:lnTo>
                <a:lnTo>
                  <a:pt x="80" y="52"/>
                </a:lnTo>
                <a:lnTo>
                  <a:pt x="82" y="54"/>
                </a:lnTo>
                <a:lnTo>
                  <a:pt x="82" y="54"/>
                </a:lnTo>
                <a:lnTo>
                  <a:pt x="82" y="52"/>
                </a:lnTo>
                <a:lnTo>
                  <a:pt x="82" y="50"/>
                </a:lnTo>
                <a:lnTo>
                  <a:pt x="80" y="50"/>
                </a:lnTo>
                <a:lnTo>
                  <a:pt x="78" y="52"/>
                </a:lnTo>
                <a:lnTo>
                  <a:pt x="78" y="52"/>
                </a:lnTo>
                <a:close/>
                <a:moveTo>
                  <a:pt x="84" y="46"/>
                </a:moveTo>
                <a:lnTo>
                  <a:pt x="84" y="46"/>
                </a:lnTo>
                <a:lnTo>
                  <a:pt x="84" y="44"/>
                </a:lnTo>
                <a:lnTo>
                  <a:pt x="84" y="42"/>
                </a:lnTo>
                <a:lnTo>
                  <a:pt x="82" y="42"/>
                </a:lnTo>
                <a:lnTo>
                  <a:pt x="82" y="42"/>
                </a:lnTo>
                <a:lnTo>
                  <a:pt x="82" y="46"/>
                </a:lnTo>
                <a:lnTo>
                  <a:pt x="82" y="46"/>
                </a:lnTo>
                <a:lnTo>
                  <a:pt x="84" y="46"/>
                </a:lnTo>
                <a:lnTo>
                  <a:pt x="84" y="46"/>
                </a:lnTo>
                <a:close/>
              </a:path>
            </a:pathLst>
          </a:custGeom>
          <a:solidFill>
            <a:srgbClr val="C0BAA7"/>
          </a:solidFill>
          <a:ln>
            <a:noFill/>
          </a:ln>
        </p:spPr>
        <p:txBody>
          <a:bodyPr vert="horz" wrap="square" lIns="80147" tIns="40074" rIns="80147" bIns="40074" numCol="1" anchor="t" anchorCtr="0" compatLnSpc="1">
            <a:prstTxWarp prst="textNoShape">
              <a:avLst/>
            </a:prstTxWarp>
          </a:bodyPr>
          <a:lstStyle/>
          <a:p>
            <a:endParaRPr lang="en-GB"/>
          </a:p>
        </p:txBody>
      </p:sp>
      <p:sp>
        <p:nvSpPr>
          <p:cNvPr id="6" name="Freeform 783">
            <a:extLst>
              <a:ext uri="{FF2B5EF4-FFF2-40B4-BE49-F238E27FC236}">
                <a16:creationId xmlns:a16="http://schemas.microsoft.com/office/drawing/2014/main" id="{AA9A64E8-8684-4809-B0F9-2D968B35FA63}"/>
              </a:ext>
            </a:extLst>
          </p:cNvPr>
          <p:cNvSpPr>
            <a:spLocks noEditPoints="1"/>
          </p:cNvSpPr>
          <p:nvPr/>
        </p:nvSpPr>
        <p:spPr bwMode="auto">
          <a:xfrm>
            <a:off x="2647563" y="3436957"/>
            <a:ext cx="1736453" cy="2010787"/>
          </a:xfrm>
          <a:custGeom>
            <a:avLst/>
            <a:gdLst>
              <a:gd name="T0" fmla="*/ 144 w 218"/>
              <a:gd name="T1" fmla="*/ 22 h 238"/>
              <a:gd name="T2" fmla="*/ 124 w 218"/>
              <a:gd name="T3" fmla="*/ 40 h 238"/>
              <a:gd name="T4" fmla="*/ 146 w 218"/>
              <a:gd name="T5" fmla="*/ 36 h 238"/>
              <a:gd name="T6" fmla="*/ 164 w 218"/>
              <a:gd name="T7" fmla="*/ 36 h 238"/>
              <a:gd name="T8" fmla="*/ 152 w 218"/>
              <a:gd name="T9" fmla="*/ 54 h 238"/>
              <a:gd name="T10" fmla="*/ 186 w 218"/>
              <a:gd name="T11" fmla="*/ 42 h 238"/>
              <a:gd name="T12" fmla="*/ 186 w 218"/>
              <a:gd name="T13" fmla="*/ 66 h 238"/>
              <a:gd name="T14" fmla="*/ 194 w 218"/>
              <a:gd name="T15" fmla="*/ 76 h 238"/>
              <a:gd name="T16" fmla="*/ 204 w 218"/>
              <a:gd name="T17" fmla="*/ 108 h 238"/>
              <a:gd name="T18" fmla="*/ 218 w 218"/>
              <a:gd name="T19" fmla="*/ 126 h 238"/>
              <a:gd name="T20" fmla="*/ 204 w 218"/>
              <a:gd name="T21" fmla="*/ 146 h 238"/>
              <a:gd name="T22" fmla="*/ 196 w 218"/>
              <a:gd name="T23" fmla="*/ 154 h 238"/>
              <a:gd name="T24" fmla="*/ 160 w 218"/>
              <a:gd name="T25" fmla="*/ 174 h 238"/>
              <a:gd name="T26" fmla="*/ 154 w 218"/>
              <a:gd name="T27" fmla="*/ 180 h 238"/>
              <a:gd name="T28" fmla="*/ 130 w 218"/>
              <a:gd name="T29" fmla="*/ 176 h 238"/>
              <a:gd name="T30" fmla="*/ 112 w 218"/>
              <a:gd name="T31" fmla="*/ 204 h 238"/>
              <a:gd name="T32" fmla="*/ 48 w 218"/>
              <a:gd name="T33" fmla="*/ 238 h 238"/>
              <a:gd name="T34" fmla="*/ 100 w 218"/>
              <a:gd name="T35" fmla="*/ 184 h 238"/>
              <a:gd name="T36" fmla="*/ 60 w 218"/>
              <a:gd name="T37" fmla="*/ 182 h 238"/>
              <a:gd name="T38" fmla="*/ 56 w 218"/>
              <a:gd name="T39" fmla="*/ 156 h 238"/>
              <a:gd name="T40" fmla="*/ 48 w 218"/>
              <a:gd name="T41" fmla="*/ 160 h 238"/>
              <a:gd name="T42" fmla="*/ 4 w 218"/>
              <a:gd name="T43" fmla="*/ 154 h 238"/>
              <a:gd name="T44" fmla="*/ 16 w 218"/>
              <a:gd name="T45" fmla="*/ 134 h 238"/>
              <a:gd name="T46" fmla="*/ 20 w 218"/>
              <a:gd name="T47" fmla="*/ 124 h 238"/>
              <a:gd name="T48" fmla="*/ 50 w 218"/>
              <a:gd name="T49" fmla="*/ 122 h 238"/>
              <a:gd name="T50" fmla="*/ 18 w 218"/>
              <a:gd name="T51" fmla="*/ 114 h 238"/>
              <a:gd name="T52" fmla="*/ 40 w 218"/>
              <a:gd name="T53" fmla="*/ 102 h 238"/>
              <a:gd name="T54" fmla="*/ 20 w 218"/>
              <a:gd name="T55" fmla="*/ 94 h 238"/>
              <a:gd name="T56" fmla="*/ 48 w 218"/>
              <a:gd name="T57" fmla="*/ 74 h 238"/>
              <a:gd name="T58" fmla="*/ 54 w 218"/>
              <a:gd name="T59" fmla="*/ 40 h 238"/>
              <a:gd name="T60" fmla="*/ 68 w 218"/>
              <a:gd name="T61" fmla="*/ 30 h 238"/>
              <a:gd name="T62" fmla="*/ 66 w 218"/>
              <a:gd name="T63" fmla="*/ 14 h 238"/>
              <a:gd name="T64" fmla="*/ 100 w 218"/>
              <a:gd name="T65" fmla="*/ 24 h 238"/>
              <a:gd name="T66" fmla="*/ 100 w 218"/>
              <a:gd name="T67" fmla="*/ 10 h 238"/>
              <a:gd name="T68" fmla="*/ 124 w 218"/>
              <a:gd name="T69" fmla="*/ 8 h 238"/>
              <a:gd name="T70" fmla="*/ 120 w 218"/>
              <a:gd name="T71" fmla="*/ 10 h 238"/>
              <a:gd name="T72" fmla="*/ 132 w 218"/>
              <a:gd name="T73" fmla="*/ 20 h 238"/>
              <a:gd name="T74" fmla="*/ 152 w 218"/>
              <a:gd name="T75" fmla="*/ 14 h 238"/>
              <a:gd name="T76" fmla="*/ 80 w 218"/>
              <a:gd name="T77" fmla="*/ 28 h 238"/>
              <a:gd name="T78" fmla="*/ 96 w 218"/>
              <a:gd name="T79" fmla="*/ 28 h 238"/>
              <a:gd name="T80" fmla="*/ 136 w 218"/>
              <a:gd name="T81" fmla="*/ 28 h 238"/>
              <a:gd name="T82" fmla="*/ 98 w 218"/>
              <a:gd name="T83" fmla="*/ 38 h 238"/>
              <a:gd name="T84" fmla="*/ 76 w 218"/>
              <a:gd name="T85" fmla="*/ 60 h 238"/>
              <a:gd name="T86" fmla="*/ 172 w 218"/>
              <a:gd name="T87" fmla="*/ 62 h 238"/>
              <a:gd name="T88" fmla="*/ 150 w 218"/>
              <a:gd name="T89" fmla="*/ 64 h 238"/>
              <a:gd name="T90" fmla="*/ 172 w 218"/>
              <a:gd name="T91" fmla="*/ 72 h 238"/>
              <a:gd name="T92" fmla="*/ 34 w 218"/>
              <a:gd name="T93" fmla="*/ 88 h 238"/>
              <a:gd name="T94" fmla="*/ 120 w 218"/>
              <a:gd name="T95" fmla="*/ 96 h 238"/>
              <a:gd name="T96" fmla="*/ 166 w 218"/>
              <a:gd name="T97" fmla="*/ 94 h 238"/>
              <a:gd name="T98" fmla="*/ 84 w 218"/>
              <a:gd name="T99" fmla="*/ 112 h 238"/>
              <a:gd name="T100" fmla="*/ 108 w 218"/>
              <a:gd name="T101" fmla="*/ 118 h 238"/>
              <a:gd name="T102" fmla="*/ 60 w 218"/>
              <a:gd name="T103" fmla="*/ 114 h 238"/>
              <a:gd name="T104" fmla="*/ 150 w 218"/>
              <a:gd name="T105" fmla="*/ 122 h 238"/>
              <a:gd name="T106" fmla="*/ 162 w 218"/>
              <a:gd name="T107" fmla="*/ 118 h 238"/>
              <a:gd name="T108" fmla="*/ 72 w 218"/>
              <a:gd name="T109" fmla="*/ 132 h 238"/>
              <a:gd name="T110" fmla="*/ 162 w 218"/>
              <a:gd name="T111" fmla="*/ 142 h 238"/>
              <a:gd name="T112" fmla="*/ 126 w 218"/>
              <a:gd name="T113" fmla="*/ 146 h 238"/>
              <a:gd name="T114" fmla="*/ 132 w 218"/>
              <a:gd name="T115" fmla="*/ 146 h 238"/>
              <a:gd name="T116" fmla="*/ 148 w 218"/>
              <a:gd name="T117" fmla="*/ 160 h 238"/>
              <a:gd name="T118" fmla="*/ 162 w 218"/>
              <a:gd name="T119" fmla="*/ 158 h 238"/>
              <a:gd name="T120" fmla="*/ 78 w 218"/>
              <a:gd name="T121" fmla="*/ 16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238">
                <a:moveTo>
                  <a:pt x="152" y="14"/>
                </a:moveTo>
                <a:lnTo>
                  <a:pt x="152" y="14"/>
                </a:lnTo>
                <a:lnTo>
                  <a:pt x="152" y="16"/>
                </a:lnTo>
                <a:lnTo>
                  <a:pt x="150" y="16"/>
                </a:lnTo>
                <a:lnTo>
                  <a:pt x="148" y="16"/>
                </a:lnTo>
                <a:lnTo>
                  <a:pt x="148" y="16"/>
                </a:lnTo>
                <a:lnTo>
                  <a:pt x="148" y="16"/>
                </a:lnTo>
                <a:lnTo>
                  <a:pt x="148" y="18"/>
                </a:lnTo>
                <a:lnTo>
                  <a:pt x="150" y="20"/>
                </a:lnTo>
                <a:lnTo>
                  <a:pt x="156" y="24"/>
                </a:lnTo>
                <a:lnTo>
                  <a:pt x="156" y="24"/>
                </a:lnTo>
                <a:lnTo>
                  <a:pt x="156" y="26"/>
                </a:lnTo>
                <a:lnTo>
                  <a:pt x="154" y="28"/>
                </a:lnTo>
                <a:lnTo>
                  <a:pt x="154" y="28"/>
                </a:lnTo>
                <a:lnTo>
                  <a:pt x="150" y="26"/>
                </a:lnTo>
                <a:lnTo>
                  <a:pt x="150" y="24"/>
                </a:lnTo>
                <a:lnTo>
                  <a:pt x="148" y="22"/>
                </a:lnTo>
                <a:lnTo>
                  <a:pt x="144" y="22"/>
                </a:lnTo>
                <a:lnTo>
                  <a:pt x="144" y="22"/>
                </a:lnTo>
                <a:lnTo>
                  <a:pt x="144" y="20"/>
                </a:lnTo>
                <a:lnTo>
                  <a:pt x="142" y="18"/>
                </a:lnTo>
                <a:lnTo>
                  <a:pt x="142" y="18"/>
                </a:lnTo>
                <a:lnTo>
                  <a:pt x="140" y="18"/>
                </a:lnTo>
                <a:lnTo>
                  <a:pt x="138" y="20"/>
                </a:lnTo>
                <a:lnTo>
                  <a:pt x="138" y="24"/>
                </a:lnTo>
                <a:lnTo>
                  <a:pt x="138" y="24"/>
                </a:lnTo>
                <a:lnTo>
                  <a:pt x="142" y="28"/>
                </a:lnTo>
                <a:lnTo>
                  <a:pt x="148" y="30"/>
                </a:lnTo>
                <a:lnTo>
                  <a:pt x="148" y="30"/>
                </a:lnTo>
                <a:lnTo>
                  <a:pt x="146" y="32"/>
                </a:lnTo>
                <a:lnTo>
                  <a:pt x="146" y="32"/>
                </a:lnTo>
                <a:lnTo>
                  <a:pt x="140" y="32"/>
                </a:lnTo>
                <a:lnTo>
                  <a:pt x="140" y="32"/>
                </a:lnTo>
                <a:lnTo>
                  <a:pt x="138" y="36"/>
                </a:lnTo>
                <a:lnTo>
                  <a:pt x="136" y="38"/>
                </a:lnTo>
                <a:lnTo>
                  <a:pt x="136" y="38"/>
                </a:lnTo>
                <a:lnTo>
                  <a:pt x="128" y="40"/>
                </a:lnTo>
                <a:lnTo>
                  <a:pt x="124" y="40"/>
                </a:lnTo>
                <a:lnTo>
                  <a:pt x="120" y="38"/>
                </a:lnTo>
                <a:lnTo>
                  <a:pt x="120" y="38"/>
                </a:lnTo>
                <a:lnTo>
                  <a:pt x="118" y="40"/>
                </a:lnTo>
                <a:lnTo>
                  <a:pt x="118" y="42"/>
                </a:lnTo>
                <a:lnTo>
                  <a:pt x="120" y="42"/>
                </a:lnTo>
                <a:lnTo>
                  <a:pt x="124" y="42"/>
                </a:lnTo>
                <a:lnTo>
                  <a:pt x="124" y="42"/>
                </a:lnTo>
                <a:lnTo>
                  <a:pt x="124" y="46"/>
                </a:lnTo>
                <a:lnTo>
                  <a:pt x="126" y="48"/>
                </a:lnTo>
                <a:lnTo>
                  <a:pt x="126" y="48"/>
                </a:lnTo>
                <a:lnTo>
                  <a:pt x="130" y="46"/>
                </a:lnTo>
                <a:lnTo>
                  <a:pt x="130" y="42"/>
                </a:lnTo>
                <a:lnTo>
                  <a:pt x="130" y="42"/>
                </a:lnTo>
                <a:lnTo>
                  <a:pt x="134" y="44"/>
                </a:lnTo>
                <a:lnTo>
                  <a:pt x="138" y="42"/>
                </a:lnTo>
                <a:lnTo>
                  <a:pt x="146" y="40"/>
                </a:lnTo>
                <a:lnTo>
                  <a:pt x="146" y="40"/>
                </a:lnTo>
                <a:lnTo>
                  <a:pt x="146" y="38"/>
                </a:lnTo>
                <a:lnTo>
                  <a:pt x="146" y="36"/>
                </a:lnTo>
                <a:lnTo>
                  <a:pt x="146" y="36"/>
                </a:lnTo>
                <a:lnTo>
                  <a:pt x="148" y="34"/>
                </a:lnTo>
                <a:lnTo>
                  <a:pt x="148" y="32"/>
                </a:lnTo>
                <a:lnTo>
                  <a:pt x="148" y="32"/>
                </a:lnTo>
                <a:lnTo>
                  <a:pt x="152" y="32"/>
                </a:lnTo>
                <a:lnTo>
                  <a:pt x="154" y="30"/>
                </a:lnTo>
                <a:lnTo>
                  <a:pt x="156" y="30"/>
                </a:lnTo>
                <a:lnTo>
                  <a:pt x="158" y="30"/>
                </a:lnTo>
                <a:lnTo>
                  <a:pt x="158" y="30"/>
                </a:lnTo>
                <a:lnTo>
                  <a:pt x="160" y="28"/>
                </a:lnTo>
                <a:lnTo>
                  <a:pt x="162" y="26"/>
                </a:lnTo>
                <a:lnTo>
                  <a:pt x="162" y="26"/>
                </a:lnTo>
                <a:lnTo>
                  <a:pt x="166" y="28"/>
                </a:lnTo>
                <a:lnTo>
                  <a:pt x="168" y="30"/>
                </a:lnTo>
                <a:lnTo>
                  <a:pt x="168" y="30"/>
                </a:lnTo>
                <a:lnTo>
                  <a:pt x="168" y="32"/>
                </a:lnTo>
                <a:lnTo>
                  <a:pt x="166" y="34"/>
                </a:lnTo>
                <a:lnTo>
                  <a:pt x="164" y="36"/>
                </a:lnTo>
                <a:lnTo>
                  <a:pt x="164" y="36"/>
                </a:lnTo>
                <a:lnTo>
                  <a:pt x="164" y="38"/>
                </a:lnTo>
                <a:lnTo>
                  <a:pt x="164" y="38"/>
                </a:lnTo>
                <a:lnTo>
                  <a:pt x="166" y="40"/>
                </a:lnTo>
                <a:lnTo>
                  <a:pt x="166" y="42"/>
                </a:lnTo>
                <a:lnTo>
                  <a:pt x="166" y="42"/>
                </a:lnTo>
                <a:lnTo>
                  <a:pt x="164" y="44"/>
                </a:lnTo>
                <a:lnTo>
                  <a:pt x="162" y="46"/>
                </a:lnTo>
                <a:lnTo>
                  <a:pt x="162" y="46"/>
                </a:lnTo>
                <a:lnTo>
                  <a:pt x="160" y="46"/>
                </a:lnTo>
                <a:lnTo>
                  <a:pt x="160" y="44"/>
                </a:lnTo>
                <a:lnTo>
                  <a:pt x="158" y="44"/>
                </a:lnTo>
                <a:lnTo>
                  <a:pt x="158" y="44"/>
                </a:lnTo>
                <a:lnTo>
                  <a:pt x="158" y="44"/>
                </a:lnTo>
                <a:lnTo>
                  <a:pt x="156" y="46"/>
                </a:lnTo>
                <a:lnTo>
                  <a:pt x="156" y="48"/>
                </a:lnTo>
                <a:lnTo>
                  <a:pt x="158" y="50"/>
                </a:lnTo>
                <a:lnTo>
                  <a:pt x="158" y="52"/>
                </a:lnTo>
                <a:lnTo>
                  <a:pt x="158" y="52"/>
                </a:lnTo>
                <a:lnTo>
                  <a:pt x="152" y="54"/>
                </a:lnTo>
                <a:lnTo>
                  <a:pt x="152" y="54"/>
                </a:lnTo>
                <a:lnTo>
                  <a:pt x="154" y="58"/>
                </a:lnTo>
                <a:lnTo>
                  <a:pt x="158" y="60"/>
                </a:lnTo>
                <a:lnTo>
                  <a:pt x="162" y="60"/>
                </a:lnTo>
                <a:lnTo>
                  <a:pt x="166" y="58"/>
                </a:lnTo>
                <a:lnTo>
                  <a:pt x="166" y="58"/>
                </a:lnTo>
                <a:lnTo>
                  <a:pt x="164" y="56"/>
                </a:lnTo>
                <a:lnTo>
                  <a:pt x="162" y="54"/>
                </a:lnTo>
                <a:lnTo>
                  <a:pt x="162" y="54"/>
                </a:lnTo>
                <a:lnTo>
                  <a:pt x="164" y="50"/>
                </a:lnTo>
                <a:lnTo>
                  <a:pt x="166" y="48"/>
                </a:lnTo>
                <a:lnTo>
                  <a:pt x="174" y="44"/>
                </a:lnTo>
                <a:lnTo>
                  <a:pt x="174" y="44"/>
                </a:lnTo>
                <a:lnTo>
                  <a:pt x="174" y="44"/>
                </a:lnTo>
                <a:lnTo>
                  <a:pt x="174" y="40"/>
                </a:lnTo>
                <a:lnTo>
                  <a:pt x="174" y="40"/>
                </a:lnTo>
                <a:lnTo>
                  <a:pt x="180" y="42"/>
                </a:lnTo>
                <a:lnTo>
                  <a:pt x="184" y="42"/>
                </a:lnTo>
                <a:lnTo>
                  <a:pt x="186" y="42"/>
                </a:lnTo>
                <a:lnTo>
                  <a:pt x="186" y="42"/>
                </a:lnTo>
                <a:lnTo>
                  <a:pt x="186" y="44"/>
                </a:lnTo>
                <a:lnTo>
                  <a:pt x="182" y="46"/>
                </a:lnTo>
                <a:lnTo>
                  <a:pt x="180" y="46"/>
                </a:lnTo>
                <a:lnTo>
                  <a:pt x="176" y="46"/>
                </a:lnTo>
                <a:lnTo>
                  <a:pt x="176" y="46"/>
                </a:lnTo>
                <a:lnTo>
                  <a:pt x="174" y="48"/>
                </a:lnTo>
                <a:lnTo>
                  <a:pt x="176" y="50"/>
                </a:lnTo>
                <a:lnTo>
                  <a:pt x="178" y="54"/>
                </a:lnTo>
                <a:lnTo>
                  <a:pt x="178" y="54"/>
                </a:lnTo>
                <a:lnTo>
                  <a:pt x="180" y="54"/>
                </a:lnTo>
                <a:lnTo>
                  <a:pt x="182" y="52"/>
                </a:lnTo>
                <a:lnTo>
                  <a:pt x="184" y="50"/>
                </a:lnTo>
                <a:lnTo>
                  <a:pt x="186" y="50"/>
                </a:lnTo>
                <a:lnTo>
                  <a:pt x="186" y="50"/>
                </a:lnTo>
                <a:lnTo>
                  <a:pt x="186" y="58"/>
                </a:lnTo>
                <a:lnTo>
                  <a:pt x="186" y="62"/>
                </a:lnTo>
                <a:lnTo>
                  <a:pt x="186" y="66"/>
                </a:lnTo>
                <a:lnTo>
                  <a:pt x="186" y="66"/>
                </a:lnTo>
                <a:lnTo>
                  <a:pt x="192" y="64"/>
                </a:lnTo>
                <a:lnTo>
                  <a:pt x="196" y="62"/>
                </a:lnTo>
                <a:lnTo>
                  <a:pt x="196" y="62"/>
                </a:lnTo>
                <a:lnTo>
                  <a:pt x="198" y="58"/>
                </a:lnTo>
                <a:lnTo>
                  <a:pt x="200" y="56"/>
                </a:lnTo>
                <a:lnTo>
                  <a:pt x="202" y="56"/>
                </a:lnTo>
                <a:lnTo>
                  <a:pt x="202" y="56"/>
                </a:lnTo>
                <a:lnTo>
                  <a:pt x="204" y="58"/>
                </a:lnTo>
                <a:lnTo>
                  <a:pt x="202" y="60"/>
                </a:lnTo>
                <a:lnTo>
                  <a:pt x="200" y="62"/>
                </a:lnTo>
                <a:lnTo>
                  <a:pt x="198" y="62"/>
                </a:lnTo>
                <a:lnTo>
                  <a:pt x="198" y="62"/>
                </a:lnTo>
                <a:lnTo>
                  <a:pt x="198" y="66"/>
                </a:lnTo>
                <a:lnTo>
                  <a:pt x="196" y="68"/>
                </a:lnTo>
                <a:lnTo>
                  <a:pt x="192" y="72"/>
                </a:lnTo>
                <a:lnTo>
                  <a:pt x="192" y="72"/>
                </a:lnTo>
                <a:lnTo>
                  <a:pt x="194" y="74"/>
                </a:lnTo>
                <a:lnTo>
                  <a:pt x="194" y="76"/>
                </a:lnTo>
                <a:lnTo>
                  <a:pt x="194" y="76"/>
                </a:lnTo>
                <a:lnTo>
                  <a:pt x="196" y="76"/>
                </a:lnTo>
                <a:lnTo>
                  <a:pt x="200" y="76"/>
                </a:lnTo>
                <a:lnTo>
                  <a:pt x="200" y="76"/>
                </a:lnTo>
                <a:lnTo>
                  <a:pt x="198" y="80"/>
                </a:lnTo>
                <a:lnTo>
                  <a:pt x="196" y="82"/>
                </a:lnTo>
                <a:lnTo>
                  <a:pt x="196" y="84"/>
                </a:lnTo>
                <a:lnTo>
                  <a:pt x="198" y="88"/>
                </a:lnTo>
                <a:lnTo>
                  <a:pt x="198" y="88"/>
                </a:lnTo>
                <a:lnTo>
                  <a:pt x="194" y="92"/>
                </a:lnTo>
                <a:lnTo>
                  <a:pt x="194" y="92"/>
                </a:lnTo>
                <a:lnTo>
                  <a:pt x="196" y="96"/>
                </a:lnTo>
                <a:lnTo>
                  <a:pt x="200" y="98"/>
                </a:lnTo>
                <a:lnTo>
                  <a:pt x="200" y="98"/>
                </a:lnTo>
                <a:lnTo>
                  <a:pt x="202" y="98"/>
                </a:lnTo>
                <a:lnTo>
                  <a:pt x="206" y="96"/>
                </a:lnTo>
                <a:lnTo>
                  <a:pt x="206" y="96"/>
                </a:lnTo>
                <a:lnTo>
                  <a:pt x="200" y="104"/>
                </a:lnTo>
                <a:lnTo>
                  <a:pt x="200" y="104"/>
                </a:lnTo>
                <a:lnTo>
                  <a:pt x="204" y="108"/>
                </a:lnTo>
                <a:lnTo>
                  <a:pt x="206" y="112"/>
                </a:lnTo>
                <a:lnTo>
                  <a:pt x="206" y="112"/>
                </a:lnTo>
                <a:lnTo>
                  <a:pt x="210" y="110"/>
                </a:lnTo>
                <a:lnTo>
                  <a:pt x="212" y="108"/>
                </a:lnTo>
                <a:lnTo>
                  <a:pt x="214" y="110"/>
                </a:lnTo>
                <a:lnTo>
                  <a:pt x="214" y="110"/>
                </a:lnTo>
                <a:lnTo>
                  <a:pt x="214" y="114"/>
                </a:lnTo>
                <a:lnTo>
                  <a:pt x="212" y="114"/>
                </a:lnTo>
                <a:lnTo>
                  <a:pt x="210" y="116"/>
                </a:lnTo>
                <a:lnTo>
                  <a:pt x="210" y="116"/>
                </a:lnTo>
                <a:lnTo>
                  <a:pt x="210" y="116"/>
                </a:lnTo>
                <a:lnTo>
                  <a:pt x="210" y="118"/>
                </a:lnTo>
                <a:lnTo>
                  <a:pt x="212" y="120"/>
                </a:lnTo>
                <a:lnTo>
                  <a:pt x="214" y="122"/>
                </a:lnTo>
                <a:lnTo>
                  <a:pt x="214" y="124"/>
                </a:lnTo>
                <a:lnTo>
                  <a:pt x="214" y="124"/>
                </a:lnTo>
                <a:lnTo>
                  <a:pt x="218" y="124"/>
                </a:lnTo>
                <a:lnTo>
                  <a:pt x="218" y="126"/>
                </a:lnTo>
                <a:lnTo>
                  <a:pt x="218" y="126"/>
                </a:lnTo>
                <a:lnTo>
                  <a:pt x="218" y="128"/>
                </a:lnTo>
                <a:lnTo>
                  <a:pt x="216" y="128"/>
                </a:lnTo>
                <a:lnTo>
                  <a:pt x="214" y="128"/>
                </a:lnTo>
                <a:lnTo>
                  <a:pt x="214" y="128"/>
                </a:lnTo>
                <a:lnTo>
                  <a:pt x="214" y="128"/>
                </a:lnTo>
                <a:lnTo>
                  <a:pt x="212" y="134"/>
                </a:lnTo>
                <a:lnTo>
                  <a:pt x="212" y="138"/>
                </a:lnTo>
                <a:lnTo>
                  <a:pt x="212" y="138"/>
                </a:lnTo>
                <a:lnTo>
                  <a:pt x="214" y="140"/>
                </a:lnTo>
                <a:lnTo>
                  <a:pt x="214" y="140"/>
                </a:lnTo>
                <a:lnTo>
                  <a:pt x="212" y="142"/>
                </a:lnTo>
                <a:lnTo>
                  <a:pt x="212" y="148"/>
                </a:lnTo>
                <a:lnTo>
                  <a:pt x="212" y="148"/>
                </a:lnTo>
                <a:lnTo>
                  <a:pt x="208" y="148"/>
                </a:lnTo>
                <a:lnTo>
                  <a:pt x="208" y="146"/>
                </a:lnTo>
                <a:lnTo>
                  <a:pt x="206" y="146"/>
                </a:lnTo>
                <a:lnTo>
                  <a:pt x="204" y="146"/>
                </a:lnTo>
                <a:lnTo>
                  <a:pt x="204" y="146"/>
                </a:lnTo>
                <a:lnTo>
                  <a:pt x="204" y="146"/>
                </a:lnTo>
                <a:lnTo>
                  <a:pt x="204" y="148"/>
                </a:lnTo>
                <a:lnTo>
                  <a:pt x="206" y="150"/>
                </a:lnTo>
                <a:lnTo>
                  <a:pt x="204" y="152"/>
                </a:lnTo>
                <a:lnTo>
                  <a:pt x="204" y="152"/>
                </a:lnTo>
                <a:lnTo>
                  <a:pt x="202" y="150"/>
                </a:lnTo>
                <a:lnTo>
                  <a:pt x="202" y="150"/>
                </a:lnTo>
                <a:lnTo>
                  <a:pt x="200" y="148"/>
                </a:lnTo>
                <a:lnTo>
                  <a:pt x="200" y="148"/>
                </a:lnTo>
                <a:lnTo>
                  <a:pt x="194" y="148"/>
                </a:lnTo>
                <a:lnTo>
                  <a:pt x="190" y="146"/>
                </a:lnTo>
                <a:lnTo>
                  <a:pt x="186" y="146"/>
                </a:lnTo>
                <a:lnTo>
                  <a:pt x="184" y="150"/>
                </a:lnTo>
                <a:lnTo>
                  <a:pt x="184" y="150"/>
                </a:lnTo>
                <a:lnTo>
                  <a:pt x="184" y="150"/>
                </a:lnTo>
                <a:lnTo>
                  <a:pt x="184" y="152"/>
                </a:lnTo>
                <a:lnTo>
                  <a:pt x="186" y="154"/>
                </a:lnTo>
                <a:lnTo>
                  <a:pt x="186" y="154"/>
                </a:lnTo>
                <a:lnTo>
                  <a:pt x="196" y="154"/>
                </a:lnTo>
                <a:lnTo>
                  <a:pt x="196" y="154"/>
                </a:lnTo>
                <a:lnTo>
                  <a:pt x="200" y="158"/>
                </a:lnTo>
                <a:lnTo>
                  <a:pt x="206" y="160"/>
                </a:lnTo>
                <a:lnTo>
                  <a:pt x="206" y="160"/>
                </a:lnTo>
                <a:lnTo>
                  <a:pt x="204" y="160"/>
                </a:lnTo>
                <a:lnTo>
                  <a:pt x="202" y="160"/>
                </a:lnTo>
                <a:lnTo>
                  <a:pt x="202" y="160"/>
                </a:lnTo>
                <a:lnTo>
                  <a:pt x="194" y="168"/>
                </a:lnTo>
                <a:lnTo>
                  <a:pt x="190" y="170"/>
                </a:lnTo>
                <a:lnTo>
                  <a:pt x="182" y="170"/>
                </a:lnTo>
                <a:lnTo>
                  <a:pt x="182" y="170"/>
                </a:lnTo>
                <a:lnTo>
                  <a:pt x="180" y="172"/>
                </a:lnTo>
                <a:lnTo>
                  <a:pt x="180" y="172"/>
                </a:lnTo>
                <a:lnTo>
                  <a:pt x="178" y="174"/>
                </a:lnTo>
                <a:lnTo>
                  <a:pt x="176" y="174"/>
                </a:lnTo>
                <a:lnTo>
                  <a:pt x="176" y="174"/>
                </a:lnTo>
                <a:lnTo>
                  <a:pt x="168" y="172"/>
                </a:lnTo>
                <a:lnTo>
                  <a:pt x="164" y="172"/>
                </a:lnTo>
                <a:lnTo>
                  <a:pt x="160" y="174"/>
                </a:lnTo>
                <a:lnTo>
                  <a:pt x="160" y="174"/>
                </a:lnTo>
                <a:lnTo>
                  <a:pt x="174" y="180"/>
                </a:lnTo>
                <a:lnTo>
                  <a:pt x="174" y="180"/>
                </a:lnTo>
                <a:lnTo>
                  <a:pt x="178" y="178"/>
                </a:lnTo>
                <a:lnTo>
                  <a:pt x="180" y="178"/>
                </a:lnTo>
                <a:lnTo>
                  <a:pt x="180" y="178"/>
                </a:lnTo>
                <a:lnTo>
                  <a:pt x="182" y="180"/>
                </a:lnTo>
                <a:lnTo>
                  <a:pt x="182" y="184"/>
                </a:lnTo>
                <a:lnTo>
                  <a:pt x="182" y="184"/>
                </a:lnTo>
                <a:lnTo>
                  <a:pt x="184" y="186"/>
                </a:lnTo>
                <a:lnTo>
                  <a:pt x="186" y="188"/>
                </a:lnTo>
                <a:lnTo>
                  <a:pt x="186" y="190"/>
                </a:lnTo>
                <a:lnTo>
                  <a:pt x="186" y="190"/>
                </a:lnTo>
                <a:lnTo>
                  <a:pt x="180" y="190"/>
                </a:lnTo>
                <a:lnTo>
                  <a:pt x="176" y="188"/>
                </a:lnTo>
                <a:lnTo>
                  <a:pt x="172" y="186"/>
                </a:lnTo>
                <a:lnTo>
                  <a:pt x="168" y="188"/>
                </a:lnTo>
                <a:lnTo>
                  <a:pt x="168" y="188"/>
                </a:lnTo>
                <a:lnTo>
                  <a:pt x="160" y="184"/>
                </a:lnTo>
                <a:lnTo>
                  <a:pt x="154" y="180"/>
                </a:lnTo>
                <a:lnTo>
                  <a:pt x="154" y="180"/>
                </a:lnTo>
                <a:lnTo>
                  <a:pt x="148" y="182"/>
                </a:lnTo>
                <a:lnTo>
                  <a:pt x="144" y="184"/>
                </a:lnTo>
                <a:lnTo>
                  <a:pt x="144" y="184"/>
                </a:lnTo>
                <a:lnTo>
                  <a:pt x="142" y="182"/>
                </a:lnTo>
                <a:lnTo>
                  <a:pt x="142" y="180"/>
                </a:lnTo>
                <a:lnTo>
                  <a:pt x="144" y="174"/>
                </a:lnTo>
                <a:lnTo>
                  <a:pt x="144" y="174"/>
                </a:lnTo>
                <a:lnTo>
                  <a:pt x="142" y="174"/>
                </a:lnTo>
                <a:lnTo>
                  <a:pt x="140" y="172"/>
                </a:lnTo>
                <a:lnTo>
                  <a:pt x="140" y="172"/>
                </a:lnTo>
                <a:lnTo>
                  <a:pt x="138" y="172"/>
                </a:lnTo>
                <a:lnTo>
                  <a:pt x="138" y="174"/>
                </a:lnTo>
                <a:lnTo>
                  <a:pt x="138" y="176"/>
                </a:lnTo>
                <a:lnTo>
                  <a:pt x="138" y="178"/>
                </a:lnTo>
                <a:lnTo>
                  <a:pt x="138" y="178"/>
                </a:lnTo>
                <a:lnTo>
                  <a:pt x="134" y="176"/>
                </a:lnTo>
                <a:lnTo>
                  <a:pt x="130" y="176"/>
                </a:lnTo>
                <a:lnTo>
                  <a:pt x="130" y="176"/>
                </a:lnTo>
                <a:lnTo>
                  <a:pt x="128" y="176"/>
                </a:lnTo>
                <a:lnTo>
                  <a:pt x="128" y="178"/>
                </a:lnTo>
                <a:lnTo>
                  <a:pt x="126" y="180"/>
                </a:lnTo>
                <a:lnTo>
                  <a:pt x="124" y="180"/>
                </a:lnTo>
                <a:lnTo>
                  <a:pt x="124" y="180"/>
                </a:lnTo>
                <a:lnTo>
                  <a:pt x="122" y="176"/>
                </a:lnTo>
                <a:lnTo>
                  <a:pt x="122" y="174"/>
                </a:lnTo>
                <a:lnTo>
                  <a:pt x="118" y="172"/>
                </a:lnTo>
                <a:lnTo>
                  <a:pt x="118" y="172"/>
                </a:lnTo>
                <a:lnTo>
                  <a:pt x="116" y="174"/>
                </a:lnTo>
                <a:lnTo>
                  <a:pt x="116" y="174"/>
                </a:lnTo>
                <a:lnTo>
                  <a:pt x="118" y="178"/>
                </a:lnTo>
                <a:lnTo>
                  <a:pt x="118" y="180"/>
                </a:lnTo>
                <a:lnTo>
                  <a:pt x="118" y="182"/>
                </a:lnTo>
                <a:lnTo>
                  <a:pt x="118" y="182"/>
                </a:lnTo>
                <a:lnTo>
                  <a:pt x="114" y="184"/>
                </a:lnTo>
                <a:lnTo>
                  <a:pt x="110" y="184"/>
                </a:lnTo>
                <a:lnTo>
                  <a:pt x="110" y="184"/>
                </a:lnTo>
                <a:lnTo>
                  <a:pt x="112" y="204"/>
                </a:lnTo>
                <a:lnTo>
                  <a:pt x="114" y="226"/>
                </a:lnTo>
                <a:lnTo>
                  <a:pt x="114" y="226"/>
                </a:lnTo>
                <a:lnTo>
                  <a:pt x="118" y="228"/>
                </a:lnTo>
                <a:lnTo>
                  <a:pt x="122" y="230"/>
                </a:lnTo>
                <a:lnTo>
                  <a:pt x="122" y="230"/>
                </a:lnTo>
                <a:lnTo>
                  <a:pt x="128" y="232"/>
                </a:lnTo>
                <a:lnTo>
                  <a:pt x="128" y="232"/>
                </a:lnTo>
                <a:lnTo>
                  <a:pt x="140" y="232"/>
                </a:lnTo>
                <a:lnTo>
                  <a:pt x="154" y="232"/>
                </a:lnTo>
                <a:lnTo>
                  <a:pt x="154" y="232"/>
                </a:lnTo>
                <a:lnTo>
                  <a:pt x="164" y="234"/>
                </a:lnTo>
                <a:lnTo>
                  <a:pt x="172" y="236"/>
                </a:lnTo>
                <a:lnTo>
                  <a:pt x="172" y="236"/>
                </a:lnTo>
                <a:lnTo>
                  <a:pt x="170" y="238"/>
                </a:lnTo>
                <a:lnTo>
                  <a:pt x="170" y="238"/>
                </a:lnTo>
                <a:lnTo>
                  <a:pt x="166" y="238"/>
                </a:lnTo>
                <a:lnTo>
                  <a:pt x="166" y="238"/>
                </a:lnTo>
                <a:lnTo>
                  <a:pt x="108" y="238"/>
                </a:lnTo>
                <a:lnTo>
                  <a:pt x="48" y="238"/>
                </a:lnTo>
                <a:lnTo>
                  <a:pt x="48" y="238"/>
                </a:lnTo>
                <a:lnTo>
                  <a:pt x="50" y="236"/>
                </a:lnTo>
                <a:lnTo>
                  <a:pt x="54" y="234"/>
                </a:lnTo>
                <a:lnTo>
                  <a:pt x="62" y="232"/>
                </a:lnTo>
                <a:lnTo>
                  <a:pt x="62" y="232"/>
                </a:lnTo>
                <a:lnTo>
                  <a:pt x="76" y="232"/>
                </a:lnTo>
                <a:lnTo>
                  <a:pt x="76" y="232"/>
                </a:lnTo>
                <a:lnTo>
                  <a:pt x="80" y="230"/>
                </a:lnTo>
                <a:lnTo>
                  <a:pt x="80" y="230"/>
                </a:lnTo>
                <a:lnTo>
                  <a:pt x="94" y="232"/>
                </a:lnTo>
                <a:lnTo>
                  <a:pt x="100" y="232"/>
                </a:lnTo>
                <a:lnTo>
                  <a:pt x="104" y="228"/>
                </a:lnTo>
                <a:lnTo>
                  <a:pt x="104" y="228"/>
                </a:lnTo>
                <a:lnTo>
                  <a:pt x="104" y="212"/>
                </a:lnTo>
                <a:lnTo>
                  <a:pt x="104" y="212"/>
                </a:lnTo>
                <a:lnTo>
                  <a:pt x="104" y="198"/>
                </a:lnTo>
                <a:lnTo>
                  <a:pt x="104" y="188"/>
                </a:lnTo>
                <a:lnTo>
                  <a:pt x="104" y="188"/>
                </a:lnTo>
                <a:lnTo>
                  <a:pt x="100" y="184"/>
                </a:lnTo>
                <a:lnTo>
                  <a:pt x="96" y="180"/>
                </a:lnTo>
                <a:lnTo>
                  <a:pt x="96" y="180"/>
                </a:lnTo>
                <a:lnTo>
                  <a:pt x="92" y="182"/>
                </a:lnTo>
                <a:lnTo>
                  <a:pt x="88" y="180"/>
                </a:lnTo>
                <a:lnTo>
                  <a:pt x="78" y="180"/>
                </a:lnTo>
                <a:lnTo>
                  <a:pt x="78" y="180"/>
                </a:lnTo>
                <a:lnTo>
                  <a:pt x="76" y="180"/>
                </a:lnTo>
                <a:lnTo>
                  <a:pt x="74" y="178"/>
                </a:lnTo>
                <a:lnTo>
                  <a:pt x="72" y="176"/>
                </a:lnTo>
                <a:lnTo>
                  <a:pt x="72" y="176"/>
                </a:lnTo>
                <a:lnTo>
                  <a:pt x="70" y="178"/>
                </a:lnTo>
                <a:lnTo>
                  <a:pt x="70" y="182"/>
                </a:lnTo>
                <a:lnTo>
                  <a:pt x="70" y="182"/>
                </a:lnTo>
                <a:lnTo>
                  <a:pt x="66" y="182"/>
                </a:lnTo>
                <a:lnTo>
                  <a:pt x="64" y="182"/>
                </a:lnTo>
                <a:lnTo>
                  <a:pt x="62" y="184"/>
                </a:lnTo>
                <a:lnTo>
                  <a:pt x="60" y="186"/>
                </a:lnTo>
                <a:lnTo>
                  <a:pt x="60" y="186"/>
                </a:lnTo>
                <a:lnTo>
                  <a:pt x="60" y="182"/>
                </a:lnTo>
                <a:lnTo>
                  <a:pt x="62" y="178"/>
                </a:lnTo>
                <a:lnTo>
                  <a:pt x="66" y="176"/>
                </a:lnTo>
                <a:lnTo>
                  <a:pt x="68" y="172"/>
                </a:lnTo>
                <a:lnTo>
                  <a:pt x="68" y="172"/>
                </a:lnTo>
                <a:lnTo>
                  <a:pt x="68" y="172"/>
                </a:lnTo>
                <a:lnTo>
                  <a:pt x="66" y="170"/>
                </a:lnTo>
                <a:lnTo>
                  <a:pt x="64" y="170"/>
                </a:lnTo>
                <a:lnTo>
                  <a:pt x="64" y="170"/>
                </a:lnTo>
                <a:lnTo>
                  <a:pt x="66" y="164"/>
                </a:lnTo>
                <a:lnTo>
                  <a:pt x="70" y="160"/>
                </a:lnTo>
                <a:lnTo>
                  <a:pt x="70" y="160"/>
                </a:lnTo>
                <a:lnTo>
                  <a:pt x="68" y="156"/>
                </a:lnTo>
                <a:lnTo>
                  <a:pt x="68" y="156"/>
                </a:lnTo>
                <a:lnTo>
                  <a:pt x="64" y="156"/>
                </a:lnTo>
                <a:lnTo>
                  <a:pt x="60" y="154"/>
                </a:lnTo>
                <a:lnTo>
                  <a:pt x="58" y="152"/>
                </a:lnTo>
                <a:lnTo>
                  <a:pt x="54" y="154"/>
                </a:lnTo>
                <a:lnTo>
                  <a:pt x="54" y="154"/>
                </a:lnTo>
                <a:lnTo>
                  <a:pt x="56" y="156"/>
                </a:lnTo>
                <a:lnTo>
                  <a:pt x="58" y="158"/>
                </a:lnTo>
                <a:lnTo>
                  <a:pt x="62" y="158"/>
                </a:lnTo>
                <a:lnTo>
                  <a:pt x="66" y="158"/>
                </a:lnTo>
                <a:lnTo>
                  <a:pt x="66" y="158"/>
                </a:lnTo>
                <a:lnTo>
                  <a:pt x="64" y="162"/>
                </a:lnTo>
                <a:lnTo>
                  <a:pt x="62" y="164"/>
                </a:lnTo>
                <a:lnTo>
                  <a:pt x="60" y="166"/>
                </a:lnTo>
                <a:lnTo>
                  <a:pt x="58" y="168"/>
                </a:lnTo>
                <a:lnTo>
                  <a:pt x="58" y="168"/>
                </a:lnTo>
                <a:lnTo>
                  <a:pt x="56" y="168"/>
                </a:lnTo>
                <a:lnTo>
                  <a:pt x="54" y="168"/>
                </a:lnTo>
                <a:lnTo>
                  <a:pt x="50" y="168"/>
                </a:lnTo>
                <a:lnTo>
                  <a:pt x="48" y="166"/>
                </a:lnTo>
                <a:lnTo>
                  <a:pt x="48" y="166"/>
                </a:lnTo>
                <a:lnTo>
                  <a:pt x="50" y="166"/>
                </a:lnTo>
                <a:lnTo>
                  <a:pt x="52" y="162"/>
                </a:lnTo>
                <a:lnTo>
                  <a:pt x="52" y="162"/>
                </a:lnTo>
                <a:lnTo>
                  <a:pt x="50" y="160"/>
                </a:lnTo>
                <a:lnTo>
                  <a:pt x="48" y="160"/>
                </a:lnTo>
                <a:lnTo>
                  <a:pt x="48" y="160"/>
                </a:lnTo>
                <a:lnTo>
                  <a:pt x="38" y="162"/>
                </a:lnTo>
                <a:lnTo>
                  <a:pt x="38" y="162"/>
                </a:lnTo>
                <a:lnTo>
                  <a:pt x="34" y="162"/>
                </a:lnTo>
                <a:lnTo>
                  <a:pt x="30" y="162"/>
                </a:lnTo>
                <a:lnTo>
                  <a:pt x="22" y="164"/>
                </a:lnTo>
                <a:lnTo>
                  <a:pt x="22" y="164"/>
                </a:lnTo>
                <a:lnTo>
                  <a:pt x="14" y="164"/>
                </a:lnTo>
                <a:lnTo>
                  <a:pt x="4" y="162"/>
                </a:lnTo>
                <a:lnTo>
                  <a:pt x="4" y="162"/>
                </a:lnTo>
                <a:lnTo>
                  <a:pt x="4" y="158"/>
                </a:lnTo>
                <a:lnTo>
                  <a:pt x="4" y="158"/>
                </a:lnTo>
                <a:lnTo>
                  <a:pt x="4" y="156"/>
                </a:lnTo>
                <a:lnTo>
                  <a:pt x="2" y="154"/>
                </a:lnTo>
                <a:lnTo>
                  <a:pt x="0" y="154"/>
                </a:lnTo>
                <a:lnTo>
                  <a:pt x="0" y="152"/>
                </a:lnTo>
                <a:lnTo>
                  <a:pt x="0" y="152"/>
                </a:lnTo>
                <a:lnTo>
                  <a:pt x="2" y="152"/>
                </a:lnTo>
                <a:lnTo>
                  <a:pt x="4" y="154"/>
                </a:lnTo>
                <a:lnTo>
                  <a:pt x="6" y="156"/>
                </a:lnTo>
                <a:lnTo>
                  <a:pt x="6" y="156"/>
                </a:lnTo>
                <a:lnTo>
                  <a:pt x="16" y="156"/>
                </a:lnTo>
                <a:lnTo>
                  <a:pt x="20" y="156"/>
                </a:lnTo>
                <a:lnTo>
                  <a:pt x="22" y="154"/>
                </a:lnTo>
                <a:lnTo>
                  <a:pt x="22" y="154"/>
                </a:lnTo>
                <a:lnTo>
                  <a:pt x="22" y="150"/>
                </a:lnTo>
                <a:lnTo>
                  <a:pt x="20" y="148"/>
                </a:lnTo>
                <a:lnTo>
                  <a:pt x="16" y="146"/>
                </a:lnTo>
                <a:lnTo>
                  <a:pt x="16" y="146"/>
                </a:lnTo>
                <a:lnTo>
                  <a:pt x="18" y="144"/>
                </a:lnTo>
                <a:lnTo>
                  <a:pt x="20" y="140"/>
                </a:lnTo>
                <a:lnTo>
                  <a:pt x="20" y="140"/>
                </a:lnTo>
                <a:lnTo>
                  <a:pt x="18" y="138"/>
                </a:lnTo>
                <a:lnTo>
                  <a:pt x="18" y="138"/>
                </a:lnTo>
                <a:lnTo>
                  <a:pt x="14" y="138"/>
                </a:lnTo>
                <a:lnTo>
                  <a:pt x="14" y="138"/>
                </a:lnTo>
                <a:lnTo>
                  <a:pt x="14" y="136"/>
                </a:lnTo>
                <a:lnTo>
                  <a:pt x="16" y="134"/>
                </a:lnTo>
                <a:lnTo>
                  <a:pt x="18" y="134"/>
                </a:lnTo>
                <a:lnTo>
                  <a:pt x="18" y="132"/>
                </a:lnTo>
                <a:lnTo>
                  <a:pt x="18" y="132"/>
                </a:lnTo>
                <a:lnTo>
                  <a:pt x="22" y="132"/>
                </a:lnTo>
                <a:lnTo>
                  <a:pt x="26" y="132"/>
                </a:lnTo>
                <a:lnTo>
                  <a:pt x="26" y="132"/>
                </a:lnTo>
                <a:lnTo>
                  <a:pt x="26" y="130"/>
                </a:lnTo>
                <a:lnTo>
                  <a:pt x="24" y="130"/>
                </a:lnTo>
                <a:lnTo>
                  <a:pt x="20" y="128"/>
                </a:lnTo>
                <a:lnTo>
                  <a:pt x="20" y="128"/>
                </a:lnTo>
                <a:lnTo>
                  <a:pt x="18" y="130"/>
                </a:lnTo>
                <a:lnTo>
                  <a:pt x="18" y="132"/>
                </a:lnTo>
                <a:lnTo>
                  <a:pt x="18" y="132"/>
                </a:lnTo>
                <a:lnTo>
                  <a:pt x="16" y="130"/>
                </a:lnTo>
                <a:lnTo>
                  <a:pt x="14" y="128"/>
                </a:lnTo>
                <a:lnTo>
                  <a:pt x="12" y="126"/>
                </a:lnTo>
                <a:lnTo>
                  <a:pt x="14" y="122"/>
                </a:lnTo>
                <a:lnTo>
                  <a:pt x="14" y="122"/>
                </a:lnTo>
                <a:lnTo>
                  <a:pt x="20" y="124"/>
                </a:lnTo>
                <a:lnTo>
                  <a:pt x="22" y="124"/>
                </a:lnTo>
                <a:lnTo>
                  <a:pt x="26" y="122"/>
                </a:lnTo>
                <a:lnTo>
                  <a:pt x="26" y="122"/>
                </a:lnTo>
                <a:lnTo>
                  <a:pt x="28" y="126"/>
                </a:lnTo>
                <a:lnTo>
                  <a:pt x="30" y="128"/>
                </a:lnTo>
                <a:lnTo>
                  <a:pt x="30" y="128"/>
                </a:lnTo>
                <a:lnTo>
                  <a:pt x="34" y="128"/>
                </a:lnTo>
                <a:lnTo>
                  <a:pt x="36" y="126"/>
                </a:lnTo>
                <a:lnTo>
                  <a:pt x="36" y="126"/>
                </a:lnTo>
                <a:lnTo>
                  <a:pt x="38" y="128"/>
                </a:lnTo>
                <a:lnTo>
                  <a:pt x="38" y="128"/>
                </a:lnTo>
                <a:lnTo>
                  <a:pt x="38" y="130"/>
                </a:lnTo>
                <a:lnTo>
                  <a:pt x="40" y="130"/>
                </a:lnTo>
                <a:lnTo>
                  <a:pt x="40" y="130"/>
                </a:lnTo>
                <a:lnTo>
                  <a:pt x="48" y="128"/>
                </a:lnTo>
                <a:lnTo>
                  <a:pt x="52" y="122"/>
                </a:lnTo>
                <a:lnTo>
                  <a:pt x="52" y="122"/>
                </a:lnTo>
                <a:lnTo>
                  <a:pt x="50" y="122"/>
                </a:lnTo>
                <a:lnTo>
                  <a:pt x="50" y="122"/>
                </a:lnTo>
                <a:lnTo>
                  <a:pt x="48" y="124"/>
                </a:lnTo>
                <a:lnTo>
                  <a:pt x="44" y="124"/>
                </a:lnTo>
                <a:lnTo>
                  <a:pt x="44" y="124"/>
                </a:lnTo>
                <a:lnTo>
                  <a:pt x="44" y="122"/>
                </a:lnTo>
                <a:lnTo>
                  <a:pt x="46" y="120"/>
                </a:lnTo>
                <a:lnTo>
                  <a:pt x="48" y="120"/>
                </a:lnTo>
                <a:lnTo>
                  <a:pt x="48" y="120"/>
                </a:lnTo>
                <a:lnTo>
                  <a:pt x="48" y="118"/>
                </a:lnTo>
                <a:lnTo>
                  <a:pt x="46" y="116"/>
                </a:lnTo>
                <a:lnTo>
                  <a:pt x="46" y="116"/>
                </a:lnTo>
                <a:lnTo>
                  <a:pt x="42" y="116"/>
                </a:lnTo>
                <a:lnTo>
                  <a:pt x="38" y="120"/>
                </a:lnTo>
                <a:lnTo>
                  <a:pt x="38" y="120"/>
                </a:lnTo>
                <a:lnTo>
                  <a:pt x="34" y="118"/>
                </a:lnTo>
                <a:lnTo>
                  <a:pt x="32" y="114"/>
                </a:lnTo>
                <a:lnTo>
                  <a:pt x="32" y="114"/>
                </a:lnTo>
                <a:lnTo>
                  <a:pt x="24" y="114"/>
                </a:lnTo>
                <a:lnTo>
                  <a:pt x="18" y="114"/>
                </a:lnTo>
                <a:lnTo>
                  <a:pt x="18" y="114"/>
                </a:lnTo>
                <a:lnTo>
                  <a:pt x="16" y="112"/>
                </a:lnTo>
                <a:lnTo>
                  <a:pt x="14" y="110"/>
                </a:lnTo>
                <a:lnTo>
                  <a:pt x="12" y="108"/>
                </a:lnTo>
                <a:lnTo>
                  <a:pt x="10" y="106"/>
                </a:lnTo>
                <a:lnTo>
                  <a:pt x="10" y="106"/>
                </a:lnTo>
                <a:lnTo>
                  <a:pt x="10" y="104"/>
                </a:lnTo>
                <a:lnTo>
                  <a:pt x="12" y="104"/>
                </a:lnTo>
                <a:lnTo>
                  <a:pt x="14" y="104"/>
                </a:lnTo>
                <a:lnTo>
                  <a:pt x="16" y="104"/>
                </a:lnTo>
                <a:lnTo>
                  <a:pt x="16" y="104"/>
                </a:lnTo>
                <a:lnTo>
                  <a:pt x="20" y="100"/>
                </a:lnTo>
                <a:lnTo>
                  <a:pt x="20" y="100"/>
                </a:lnTo>
                <a:lnTo>
                  <a:pt x="24" y="100"/>
                </a:lnTo>
                <a:lnTo>
                  <a:pt x="24" y="102"/>
                </a:lnTo>
                <a:lnTo>
                  <a:pt x="28" y="104"/>
                </a:lnTo>
                <a:lnTo>
                  <a:pt x="28" y="104"/>
                </a:lnTo>
                <a:lnTo>
                  <a:pt x="36" y="104"/>
                </a:lnTo>
                <a:lnTo>
                  <a:pt x="40" y="102"/>
                </a:lnTo>
                <a:lnTo>
                  <a:pt x="40" y="102"/>
                </a:lnTo>
                <a:lnTo>
                  <a:pt x="42" y="98"/>
                </a:lnTo>
                <a:lnTo>
                  <a:pt x="40" y="94"/>
                </a:lnTo>
                <a:lnTo>
                  <a:pt x="40" y="94"/>
                </a:lnTo>
                <a:lnTo>
                  <a:pt x="38" y="94"/>
                </a:lnTo>
                <a:lnTo>
                  <a:pt x="36" y="96"/>
                </a:lnTo>
                <a:lnTo>
                  <a:pt x="34" y="96"/>
                </a:lnTo>
                <a:lnTo>
                  <a:pt x="34" y="96"/>
                </a:lnTo>
                <a:lnTo>
                  <a:pt x="30" y="88"/>
                </a:lnTo>
                <a:lnTo>
                  <a:pt x="30" y="88"/>
                </a:lnTo>
                <a:lnTo>
                  <a:pt x="26" y="88"/>
                </a:lnTo>
                <a:lnTo>
                  <a:pt x="26" y="88"/>
                </a:lnTo>
                <a:lnTo>
                  <a:pt x="24" y="90"/>
                </a:lnTo>
                <a:lnTo>
                  <a:pt x="26" y="90"/>
                </a:lnTo>
                <a:lnTo>
                  <a:pt x="28" y="92"/>
                </a:lnTo>
                <a:lnTo>
                  <a:pt x="26" y="94"/>
                </a:lnTo>
                <a:lnTo>
                  <a:pt x="26" y="94"/>
                </a:lnTo>
                <a:lnTo>
                  <a:pt x="24" y="94"/>
                </a:lnTo>
                <a:lnTo>
                  <a:pt x="20" y="94"/>
                </a:lnTo>
                <a:lnTo>
                  <a:pt x="20" y="94"/>
                </a:lnTo>
                <a:lnTo>
                  <a:pt x="20" y="92"/>
                </a:lnTo>
                <a:lnTo>
                  <a:pt x="24" y="90"/>
                </a:lnTo>
                <a:lnTo>
                  <a:pt x="24" y="90"/>
                </a:lnTo>
                <a:lnTo>
                  <a:pt x="22" y="86"/>
                </a:lnTo>
                <a:lnTo>
                  <a:pt x="24" y="82"/>
                </a:lnTo>
                <a:lnTo>
                  <a:pt x="24" y="82"/>
                </a:lnTo>
                <a:lnTo>
                  <a:pt x="22" y="80"/>
                </a:lnTo>
                <a:lnTo>
                  <a:pt x="20" y="76"/>
                </a:lnTo>
                <a:lnTo>
                  <a:pt x="20" y="76"/>
                </a:lnTo>
                <a:lnTo>
                  <a:pt x="30" y="72"/>
                </a:lnTo>
                <a:lnTo>
                  <a:pt x="38" y="68"/>
                </a:lnTo>
                <a:lnTo>
                  <a:pt x="38" y="68"/>
                </a:lnTo>
                <a:lnTo>
                  <a:pt x="40" y="70"/>
                </a:lnTo>
                <a:lnTo>
                  <a:pt x="40" y="74"/>
                </a:lnTo>
                <a:lnTo>
                  <a:pt x="40" y="74"/>
                </a:lnTo>
                <a:lnTo>
                  <a:pt x="46" y="76"/>
                </a:lnTo>
                <a:lnTo>
                  <a:pt x="48" y="76"/>
                </a:lnTo>
                <a:lnTo>
                  <a:pt x="48" y="74"/>
                </a:lnTo>
                <a:lnTo>
                  <a:pt x="48" y="74"/>
                </a:lnTo>
                <a:lnTo>
                  <a:pt x="48" y="72"/>
                </a:lnTo>
                <a:lnTo>
                  <a:pt x="46" y="72"/>
                </a:lnTo>
                <a:lnTo>
                  <a:pt x="44" y="70"/>
                </a:lnTo>
                <a:lnTo>
                  <a:pt x="44" y="70"/>
                </a:lnTo>
                <a:lnTo>
                  <a:pt x="44" y="66"/>
                </a:lnTo>
                <a:lnTo>
                  <a:pt x="46" y="64"/>
                </a:lnTo>
                <a:lnTo>
                  <a:pt x="46" y="64"/>
                </a:lnTo>
                <a:lnTo>
                  <a:pt x="44" y="60"/>
                </a:lnTo>
                <a:lnTo>
                  <a:pt x="44" y="54"/>
                </a:lnTo>
                <a:lnTo>
                  <a:pt x="44" y="54"/>
                </a:lnTo>
                <a:lnTo>
                  <a:pt x="50" y="54"/>
                </a:lnTo>
                <a:lnTo>
                  <a:pt x="50" y="54"/>
                </a:lnTo>
                <a:lnTo>
                  <a:pt x="56" y="50"/>
                </a:lnTo>
                <a:lnTo>
                  <a:pt x="58" y="48"/>
                </a:lnTo>
                <a:lnTo>
                  <a:pt x="60" y="46"/>
                </a:lnTo>
                <a:lnTo>
                  <a:pt x="60" y="46"/>
                </a:lnTo>
                <a:lnTo>
                  <a:pt x="60" y="44"/>
                </a:lnTo>
                <a:lnTo>
                  <a:pt x="58" y="42"/>
                </a:lnTo>
                <a:lnTo>
                  <a:pt x="54" y="40"/>
                </a:lnTo>
                <a:lnTo>
                  <a:pt x="54" y="40"/>
                </a:lnTo>
                <a:lnTo>
                  <a:pt x="54" y="38"/>
                </a:lnTo>
                <a:lnTo>
                  <a:pt x="56" y="38"/>
                </a:lnTo>
                <a:lnTo>
                  <a:pt x="60" y="38"/>
                </a:lnTo>
                <a:lnTo>
                  <a:pt x="60" y="38"/>
                </a:lnTo>
                <a:lnTo>
                  <a:pt x="60" y="38"/>
                </a:lnTo>
                <a:lnTo>
                  <a:pt x="62" y="36"/>
                </a:lnTo>
                <a:lnTo>
                  <a:pt x="62" y="36"/>
                </a:lnTo>
                <a:lnTo>
                  <a:pt x="62" y="36"/>
                </a:lnTo>
                <a:lnTo>
                  <a:pt x="66" y="38"/>
                </a:lnTo>
                <a:lnTo>
                  <a:pt x="70" y="38"/>
                </a:lnTo>
                <a:lnTo>
                  <a:pt x="70" y="38"/>
                </a:lnTo>
                <a:lnTo>
                  <a:pt x="72" y="38"/>
                </a:lnTo>
                <a:lnTo>
                  <a:pt x="72" y="38"/>
                </a:lnTo>
                <a:lnTo>
                  <a:pt x="72" y="36"/>
                </a:lnTo>
                <a:lnTo>
                  <a:pt x="70" y="34"/>
                </a:lnTo>
                <a:lnTo>
                  <a:pt x="68" y="32"/>
                </a:lnTo>
                <a:lnTo>
                  <a:pt x="68" y="32"/>
                </a:lnTo>
                <a:lnTo>
                  <a:pt x="68" y="30"/>
                </a:lnTo>
                <a:lnTo>
                  <a:pt x="68" y="30"/>
                </a:lnTo>
                <a:lnTo>
                  <a:pt x="64" y="28"/>
                </a:lnTo>
                <a:lnTo>
                  <a:pt x="64" y="28"/>
                </a:lnTo>
                <a:lnTo>
                  <a:pt x="64" y="24"/>
                </a:lnTo>
                <a:lnTo>
                  <a:pt x="62" y="22"/>
                </a:lnTo>
                <a:lnTo>
                  <a:pt x="56" y="20"/>
                </a:lnTo>
                <a:lnTo>
                  <a:pt x="56" y="20"/>
                </a:lnTo>
                <a:lnTo>
                  <a:pt x="56" y="16"/>
                </a:lnTo>
                <a:lnTo>
                  <a:pt x="58" y="14"/>
                </a:lnTo>
                <a:lnTo>
                  <a:pt x="58" y="14"/>
                </a:lnTo>
                <a:lnTo>
                  <a:pt x="62" y="16"/>
                </a:lnTo>
                <a:lnTo>
                  <a:pt x="64" y="18"/>
                </a:lnTo>
                <a:lnTo>
                  <a:pt x="64" y="18"/>
                </a:lnTo>
                <a:lnTo>
                  <a:pt x="68" y="16"/>
                </a:lnTo>
                <a:lnTo>
                  <a:pt x="68" y="16"/>
                </a:lnTo>
                <a:lnTo>
                  <a:pt x="68" y="16"/>
                </a:lnTo>
                <a:lnTo>
                  <a:pt x="66" y="14"/>
                </a:lnTo>
                <a:lnTo>
                  <a:pt x="66" y="14"/>
                </a:lnTo>
                <a:lnTo>
                  <a:pt x="66" y="14"/>
                </a:lnTo>
                <a:lnTo>
                  <a:pt x="66" y="10"/>
                </a:lnTo>
                <a:lnTo>
                  <a:pt x="66" y="10"/>
                </a:lnTo>
                <a:lnTo>
                  <a:pt x="64" y="8"/>
                </a:lnTo>
                <a:lnTo>
                  <a:pt x="62" y="8"/>
                </a:lnTo>
                <a:lnTo>
                  <a:pt x="62" y="6"/>
                </a:lnTo>
                <a:lnTo>
                  <a:pt x="62" y="6"/>
                </a:lnTo>
                <a:lnTo>
                  <a:pt x="66" y="8"/>
                </a:lnTo>
                <a:lnTo>
                  <a:pt x="70" y="10"/>
                </a:lnTo>
                <a:lnTo>
                  <a:pt x="74" y="16"/>
                </a:lnTo>
                <a:lnTo>
                  <a:pt x="74" y="16"/>
                </a:lnTo>
                <a:lnTo>
                  <a:pt x="82" y="18"/>
                </a:lnTo>
                <a:lnTo>
                  <a:pt x="84" y="18"/>
                </a:lnTo>
                <a:lnTo>
                  <a:pt x="88" y="18"/>
                </a:lnTo>
                <a:lnTo>
                  <a:pt x="88" y="18"/>
                </a:lnTo>
                <a:lnTo>
                  <a:pt x="88" y="20"/>
                </a:lnTo>
                <a:lnTo>
                  <a:pt x="88" y="22"/>
                </a:lnTo>
                <a:lnTo>
                  <a:pt x="88" y="22"/>
                </a:lnTo>
                <a:lnTo>
                  <a:pt x="100" y="24"/>
                </a:lnTo>
                <a:lnTo>
                  <a:pt x="100" y="24"/>
                </a:lnTo>
                <a:lnTo>
                  <a:pt x="96" y="20"/>
                </a:lnTo>
                <a:lnTo>
                  <a:pt x="92" y="16"/>
                </a:lnTo>
                <a:lnTo>
                  <a:pt x="92" y="16"/>
                </a:lnTo>
                <a:lnTo>
                  <a:pt x="100" y="16"/>
                </a:lnTo>
                <a:lnTo>
                  <a:pt x="106" y="20"/>
                </a:lnTo>
                <a:lnTo>
                  <a:pt x="106" y="20"/>
                </a:lnTo>
                <a:lnTo>
                  <a:pt x="110" y="18"/>
                </a:lnTo>
                <a:lnTo>
                  <a:pt x="116" y="16"/>
                </a:lnTo>
                <a:lnTo>
                  <a:pt x="116" y="16"/>
                </a:lnTo>
                <a:lnTo>
                  <a:pt x="118" y="12"/>
                </a:lnTo>
                <a:lnTo>
                  <a:pt x="118" y="10"/>
                </a:lnTo>
                <a:lnTo>
                  <a:pt x="118" y="10"/>
                </a:lnTo>
                <a:lnTo>
                  <a:pt x="114" y="10"/>
                </a:lnTo>
                <a:lnTo>
                  <a:pt x="112" y="10"/>
                </a:lnTo>
                <a:lnTo>
                  <a:pt x="110" y="14"/>
                </a:lnTo>
                <a:lnTo>
                  <a:pt x="110" y="14"/>
                </a:lnTo>
                <a:lnTo>
                  <a:pt x="100" y="14"/>
                </a:lnTo>
                <a:lnTo>
                  <a:pt x="100" y="14"/>
                </a:lnTo>
                <a:lnTo>
                  <a:pt x="100" y="10"/>
                </a:lnTo>
                <a:lnTo>
                  <a:pt x="100" y="8"/>
                </a:lnTo>
                <a:lnTo>
                  <a:pt x="102" y="6"/>
                </a:lnTo>
                <a:lnTo>
                  <a:pt x="102" y="2"/>
                </a:lnTo>
                <a:lnTo>
                  <a:pt x="102" y="2"/>
                </a:lnTo>
                <a:lnTo>
                  <a:pt x="104" y="2"/>
                </a:lnTo>
                <a:lnTo>
                  <a:pt x="106" y="4"/>
                </a:lnTo>
                <a:lnTo>
                  <a:pt x="110" y="8"/>
                </a:lnTo>
                <a:lnTo>
                  <a:pt x="110" y="8"/>
                </a:lnTo>
                <a:lnTo>
                  <a:pt x="112" y="6"/>
                </a:lnTo>
                <a:lnTo>
                  <a:pt x="114" y="6"/>
                </a:lnTo>
                <a:lnTo>
                  <a:pt x="114" y="6"/>
                </a:lnTo>
                <a:lnTo>
                  <a:pt x="114" y="4"/>
                </a:lnTo>
                <a:lnTo>
                  <a:pt x="116" y="2"/>
                </a:lnTo>
                <a:lnTo>
                  <a:pt x="118" y="0"/>
                </a:lnTo>
                <a:lnTo>
                  <a:pt x="118" y="0"/>
                </a:lnTo>
                <a:lnTo>
                  <a:pt x="120" y="2"/>
                </a:lnTo>
                <a:lnTo>
                  <a:pt x="120" y="4"/>
                </a:lnTo>
                <a:lnTo>
                  <a:pt x="122" y="6"/>
                </a:lnTo>
                <a:lnTo>
                  <a:pt x="124" y="8"/>
                </a:lnTo>
                <a:lnTo>
                  <a:pt x="124" y="8"/>
                </a:lnTo>
                <a:lnTo>
                  <a:pt x="126" y="6"/>
                </a:lnTo>
                <a:lnTo>
                  <a:pt x="126" y="6"/>
                </a:lnTo>
                <a:lnTo>
                  <a:pt x="128" y="8"/>
                </a:lnTo>
                <a:lnTo>
                  <a:pt x="128" y="8"/>
                </a:lnTo>
                <a:lnTo>
                  <a:pt x="132" y="8"/>
                </a:lnTo>
                <a:lnTo>
                  <a:pt x="134" y="8"/>
                </a:lnTo>
                <a:lnTo>
                  <a:pt x="134" y="10"/>
                </a:lnTo>
                <a:lnTo>
                  <a:pt x="134" y="10"/>
                </a:lnTo>
                <a:lnTo>
                  <a:pt x="132" y="12"/>
                </a:lnTo>
                <a:lnTo>
                  <a:pt x="130" y="14"/>
                </a:lnTo>
                <a:lnTo>
                  <a:pt x="126" y="12"/>
                </a:lnTo>
                <a:lnTo>
                  <a:pt x="126" y="12"/>
                </a:lnTo>
                <a:lnTo>
                  <a:pt x="126" y="12"/>
                </a:lnTo>
                <a:lnTo>
                  <a:pt x="124" y="10"/>
                </a:lnTo>
                <a:lnTo>
                  <a:pt x="122" y="10"/>
                </a:lnTo>
                <a:lnTo>
                  <a:pt x="120" y="10"/>
                </a:lnTo>
                <a:lnTo>
                  <a:pt x="120" y="10"/>
                </a:lnTo>
                <a:lnTo>
                  <a:pt x="120" y="10"/>
                </a:lnTo>
                <a:lnTo>
                  <a:pt x="120" y="12"/>
                </a:lnTo>
                <a:lnTo>
                  <a:pt x="122" y="14"/>
                </a:lnTo>
                <a:lnTo>
                  <a:pt x="122" y="14"/>
                </a:lnTo>
                <a:lnTo>
                  <a:pt x="120" y="18"/>
                </a:lnTo>
                <a:lnTo>
                  <a:pt x="120" y="20"/>
                </a:lnTo>
                <a:lnTo>
                  <a:pt x="120" y="20"/>
                </a:lnTo>
                <a:lnTo>
                  <a:pt x="120" y="22"/>
                </a:lnTo>
                <a:lnTo>
                  <a:pt x="122" y="24"/>
                </a:lnTo>
                <a:lnTo>
                  <a:pt x="126" y="26"/>
                </a:lnTo>
                <a:lnTo>
                  <a:pt x="126" y="26"/>
                </a:lnTo>
                <a:lnTo>
                  <a:pt x="128" y="24"/>
                </a:lnTo>
                <a:lnTo>
                  <a:pt x="128" y="24"/>
                </a:lnTo>
                <a:lnTo>
                  <a:pt x="126" y="20"/>
                </a:lnTo>
                <a:lnTo>
                  <a:pt x="124" y="18"/>
                </a:lnTo>
                <a:lnTo>
                  <a:pt x="124" y="16"/>
                </a:lnTo>
                <a:lnTo>
                  <a:pt x="124" y="16"/>
                </a:lnTo>
                <a:lnTo>
                  <a:pt x="126" y="16"/>
                </a:lnTo>
                <a:lnTo>
                  <a:pt x="128" y="16"/>
                </a:lnTo>
                <a:lnTo>
                  <a:pt x="132" y="20"/>
                </a:lnTo>
                <a:lnTo>
                  <a:pt x="132" y="20"/>
                </a:lnTo>
                <a:lnTo>
                  <a:pt x="136" y="18"/>
                </a:lnTo>
                <a:lnTo>
                  <a:pt x="138" y="14"/>
                </a:lnTo>
                <a:lnTo>
                  <a:pt x="142" y="12"/>
                </a:lnTo>
                <a:lnTo>
                  <a:pt x="144" y="10"/>
                </a:lnTo>
                <a:lnTo>
                  <a:pt x="144" y="10"/>
                </a:lnTo>
                <a:lnTo>
                  <a:pt x="144" y="12"/>
                </a:lnTo>
                <a:lnTo>
                  <a:pt x="144" y="14"/>
                </a:lnTo>
                <a:lnTo>
                  <a:pt x="148" y="16"/>
                </a:lnTo>
                <a:lnTo>
                  <a:pt x="148" y="16"/>
                </a:lnTo>
                <a:lnTo>
                  <a:pt x="148" y="14"/>
                </a:lnTo>
                <a:lnTo>
                  <a:pt x="148" y="12"/>
                </a:lnTo>
                <a:lnTo>
                  <a:pt x="148" y="12"/>
                </a:lnTo>
                <a:lnTo>
                  <a:pt x="148" y="10"/>
                </a:lnTo>
                <a:lnTo>
                  <a:pt x="148" y="10"/>
                </a:lnTo>
                <a:lnTo>
                  <a:pt x="148" y="10"/>
                </a:lnTo>
                <a:lnTo>
                  <a:pt x="150" y="10"/>
                </a:lnTo>
                <a:lnTo>
                  <a:pt x="152" y="14"/>
                </a:lnTo>
                <a:lnTo>
                  <a:pt x="152" y="14"/>
                </a:lnTo>
                <a:close/>
                <a:moveTo>
                  <a:pt x="106" y="22"/>
                </a:moveTo>
                <a:lnTo>
                  <a:pt x="106" y="22"/>
                </a:lnTo>
                <a:lnTo>
                  <a:pt x="108" y="26"/>
                </a:lnTo>
                <a:lnTo>
                  <a:pt x="112" y="28"/>
                </a:lnTo>
                <a:lnTo>
                  <a:pt x="112" y="28"/>
                </a:lnTo>
                <a:lnTo>
                  <a:pt x="114" y="28"/>
                </a:lnTo>
                <a:lnTo>
                  <a:pt x="114" y="28"/>
                </a:lnTo>
                <a:lnTo>
                  <a:pt x="114" y="24"/>
                </a:lnTo>
                <a:lnTo>
                  <a:pt x="112" y="22"/>
                </a:lnTo>
                <a:lnTo>
                  <a:pt x="110" y="20"/>
                </a:lnTo>
                <a:lnTo>
                  <a:pt x="106" y="22"/>
                </a:lnTo>
                <a:lnTo>
                  <a:pt x="106" y="22"/>
                </a:lnTo>
                <a:close/>
                <a:moveTo>
                  <a:pt x="74" y="28"/>
                </a:moveTo>
                <a:lnTo>
                  <a:pt x="74" y="28"/>
                </a:lnTo>
                <a:lnTo>
                  <a:pt x="76" y="30"/>
                </a:lnTo>
                <a:lnTo>
                  <a:pt x="76" y="30"/>
                </a:lnTo>
                <a:lnTo>
                  <a:pt x="80" y="30"/>
                </a:lnTo>
                <a:lnTo>
                  <a:pt x="80" y="30"/>
                </a:lnTo>
                <a:lnTo>
                  <a:pt x="80" y="28"/>
                </a:lnTo>
                <a:lnTo>
                  <a:pt x="80" y="28"/>
                </a:lnTo>
                <a:lnTo>
                  <a:pt x="82" y="28"/>
                </a:lnTo>
                <a:lnTo>
                  <a:pt x="82" y="28"/>
                </a:lnTo>
                <a:lnTo>
                  <a:pt x="78" y="26"/>
                </a:lnTo>
                <a:lnTo>
                  <a:pt x="74" y="24"/>
                </a:lnTo>
                <a:lnTo>
                  <a:pt x="72" y="22"/>
                </a:lnTo>
                <a:lnTo>
                  <a:pt x="68" y="22"/>
                </a:lnTo>
                <a:lnTo>
                  <a:pt x="68" y="22"/>
                </a:lnTo>
                <a:lnTo>
                  <a:pt x="68" y="24"/>
                </a:lnTo>
                <a:lnTo>
                  <a:pt x="70" y="26"/>
                </a:lnTo>
                <a:lnTo>
                  <a:pt x="74" y="28"/>
                </a:lnTo>
                <a:lnTo>
                  <a:pt x="74" y="28"/>
                </a:lnTo>
                <a:close/>
                <a:moveTo>
                  <a:pt x="104" y="30"/>
                </a:moveTo>
                <a:lnTo>
                  <a:pt x="104" y="30"/>
                </a:lnTo>
                <a:lnTo>
                  <a:pt x="100" y="26"/>
                </a:lnTo>
                <a:lnTo>
                  <a:pt x="98" y="24"/>
                </a:lnTo>
                <a:lnTo>
                  <a:pt x="96" y="26"/>
                </a:lnTo>
                <a:lnTo>
                  <a:pt x="96" y="26"/>
                </a:lnTo>
                <a:lnTo>
                  <a:pt x="96" y="28"/>
                </a:lnTo>
                <a:lnTo>
                  <a:pt x="98" y="28"/>
                </a:lnTo>
                <a:lnTo>
                  <a:pt x="102" y="32"/>
                </a:lnTo>
                <a:lnTo>
                  <a:pt x="102" y="32"/>
                </a:lnTo>
                <a:lnTo>
                  <a:pt x="104" y="36"/>
                </a:lnTo>
                <a:lnTo>
                  <a:pt x="106" y="36"/>
                </a:lnTo>
                <a:lnTo>
                  <a:pt x="108" y="36"/>
                </a:lnTo>
                <a:lnTo>
                  <a:pt x="108" y="36"/>
                </a:lnTo>
                <a:lnTo>
                  <a:pt x="108" y="34"/>
                </a:lnTo>
                <a:lnTo>
                  <a:pt x="106" y="32"/>
                </a:lnTo>
                <a:lnTo>
                  <a:pt x="104" y="30"/>
                </a:lnTo>
                <a:lnTo>
                  <a:pt x="104" y="30"/>
                </a:lnTo>
                <a:close/>
                <a:moveTo>
                  <a:pt x="128" y="28"/>
                </a:moveTo>
                <a:lnTo>
                  <a:pt x="128" y="28"/>
                </a:lnTo>
                <a:lnTo>
                  <a:pt x="130" y="30"/>
                </a:lnTo>
                <a:lnTo>
                  <a:pt x="134" y="32"/>
                </a:lnTo>
                <a:lnTo>
                  <a:pt x="134" y="32"/>
                </a:lnTo>
                <a:lnTo>
                  <a:pt x="136" y="30"/>
                </a:lnTo>
                <a:lnTo>
                  <a:pt x="136" y="28"/>
                </a:lnTo>
                <a:lnTo>
                  <a:pt x="136" y="28"/>
                </a:lnTo>
                <a:lnTo>
                  <a:pt x="132" y="26"/>
                </a:lnTo>
                <a:lnTo>
                  <a:pt x="128" y="28"/>
                </a:lnTo>
                <a:lnTo>
                  <a:pt x="128" y="28"/>
                </a:lnTo>
                <a:close/>
                <a:moveTo>
                  <a:pt x="126" y="34"/>
                </a:moveTo>
                <a:lnTo>
                  <a:pt x="126" y="34"/>
                </a:lnTo>
                <a:lnTo>
                  <a:pt x="126" y="32"/>
                </a:lnTo>
                <a:lnTo>
                  <a:pt x="124" y="30"/>
                </a:lnTo>
                <a:lnTo>
                  <a:pt x="124" y="30"/>
                </a:lnTo>
                <a:lnTo>
                  <a:pt x="124" y="34"/>
                </a:lnTo>
                <a:lnTo>
                  <a:pt x="126" y="34"/>
                </a:lnTo>
                <a:lnTo>
                  <a:pt x="126" y="34"/>
                </a:lnTo>
                <a:close/>
                <a:moveTo>
                  <a:pt x="90" y="40"/>
                </a:moveTo>
                <a:lnTo>
                  <a:pt x="90" y="40"/>
                </a:lnTo>
                <a:lnTo>
                  <a:pt x="92" y="42"/>
                </a:lnTo>
                <a:lnTo>
                  <a:pt x="96" y="42"/>
                </a:lnTo>
                <a:lnTo>
                  <a:pt x="98" y="42"/>
                </a:lnTo>
                <a:lnTo>
                  <a:pt x="100" y="40"/>
                </a:lnTo>
                <a:lnTo>
                  <a:pt x="100" y="40"/>
                </a:lnTo>
                <a:lnTo>
                  <a:pt x="98" y="38"/>
                </a:lnTo>
                <a:lnTo>
                  <a:pt x="96" y="38"/>
                </a:lnTo>
                <a:lnTo>
                  <a:pt x="90" y="40"/>
                </a:lnTo>
                <a:lnTo>
                  <a:pt x="90" y="40"/>
                </a:lnTo>
                <a:close/>
                <a:moveTo>
                  <a:pt x="112" y="42"/>
                </a:moveTo>
                <a:lnTo>
                  <a:pt x="112" y="42"/>
                </a:lnTo>
                <a:lnTo>
                  <a:pt x="112" y="38"/>
                </a:lnTo>
                <a:lnTo>
                  <a:pt x="110" y="38"/>
                </a:lnTo>
                <a:lnTo>
                  <a:pt x="108" y="36"/>
                </a:lnTo>
                <a:lnTo>
                  <a:pt x="108" y="36"/>
                </a:lnTo>
                <a:lnTo>
                  <a:pt x="108" y="40"/>
                </a:lnTo>
                <a:lnTo>
                  <a:pt x="112" y="42"/>
                </a:lnTo>
                <a:lnTo>
                  <a:pt x="112" y="42"/>
                </a:lnTo>
                <a:close/>
                <a:moveTo>
                  <a:pt x="84" y="62"/>
                </a:moveTo>
                <a:lnTo>
                  <a:pt x="84" y="62"/>
                </a:lnTo>
                <a:lnTo>
                  <a:pt x="84" y="58"/>
                </a:lnTo>
                <a:lnTo>
                  <a:pt x="82" y="58"/>
                </a:lnTo>
                <a:lnTo>
                  <a:pt x="76" y="56"/>
                </a:lnTo>
                <a:lnTo>
                  <a:pt x="76" y="56"/>
                </a:lnTo>
                <a:lnTo>
                  <a:pt x="76" y="60"/>
                </a:lnTo>
                <a:lnTo>
                  <a:pt x="78" y="62"/>
                </a:lnTo>
                <a:lnTo>
                  <a:pt x="84" y="62"/>
                </a:lnTo>
                <a:lnTo>
                  <a:pt x="84" y="62"/>
                </a:lnTo>
                <a:close/>
                <a:moveTo>
                  <a:pt x="64" y="64"/>
                </a:moveTo>
                <a:lnTo>
                  <a:pt x="64" y="64"/>
                </a:lnTo>
                <a:lnTo>
                  <a:pt x="66" y="62"/>
                </a:lnTo>
                <a:lnTo>
                  <a:pt x="68" y="60"/>
                </a:lnTo>
                <a:lnTo>
                  <a:pt x="68" y="60"/>
                </a:lnTo>
                <a:lnTo>
                  <a:pt x="64" y="58"/>
                </a:lnTo>
                <a:lnTo>
                  <a:pt x="62" y="58"/>
                </a:lnTo>
                <a:lnTo>
                  <a:pt x="62" y="60"/>
                </a:lnTo>
                <a:lnTo>
                  <a:pt x="64" y="64"/>
                </a:lnTo>
                <a:lnTo>
                  <a:pt x="64" y="64"/>
                </a:lnTo>
                <a:close/>
                <a:moveTo>
                  <a:pt x="168" y="64"/>
                </a:moveTo>
                <a:lnTo>
                  <a:pt x="168" y="64"/>
                </a:lnTo>
                <a:lnTo>
                  <a:pt x="170" y="66"/>
                </a:lnTo>
                <a:lnTo>
                  <a:pt x="172" y="64"/>
                </a:lnTo>
                <a:lnTo>
                  <a:pt x="172" y="64"/>
                </a:lnTo>
                <a:lnTo>
                  <a:pt x="172" y="62"/>
                </a:lnTo>
                <a:lnTo>
                  <a:pt x="172" y="60"/>
                </a:lnTo>
                <a:lnTo>
                  <a:pt x="172" y="60"/>
                </a:lnTo>
                <a:lnTo>
                  <a:pt x="168" y="60"/>
                </a:lnTo>
                <a:lnTo>
                  <a:pt x="168" y="64"/>
                </a:lnTo>
                <a:lnTo>
                  <a:pt x="168" y="64"/>
                </a:lnTo>
                <a:close/>
                <a:moveTo>
                  <a:pt x="150" y="64"/>
                </a:moveTo>
                <a:lnTo>
                  <a:pt x="150" y="64"/>
                </a:lnTo>
                <a:lnTo>
                  <a:pt x="152" y="66"/>
                </a:lnTo>
                <a:lnTo>
                  <a:pt x="154" y="68"/>
                </a:lnTo>
                <a:lnTo>
                  <a:pt x="156" y="72"/>
                </a:lnTo>
                <a:lnTo>
                  <a:pt x="156" y="72"/>
                </a:lnTo>
                <a:lnTo>
                  <a:pt x="158" y="72"/>
                </a:lnTo>
                <a:lnTo>
                  <a:pt x="160" y="68"/>
                </a:lnTo>
                <a:lnTo>
                  <a:pt x="156" y="62"/>
                </a:lnTo>
                <a:lnTo>
                  <a:pt x="156" y="62"/>
                </a:lnTo>
                <a:lnTo>
                  <a:pt x="152" y="62"/>
                </a:lnTo>
                <a:lnTo>
                  <a:pt x="152" y="62"/>
                </a:lnTo>
                <a:lnTo>
                  <a:pt x="150" y="64"/>
                </a:lnTo>
                <a:lnTo>
                  <a:pt x="150" y="64"/>
                </a:lnTo>
                <a:close/>
                <a:moveTo>
                  <a:pt x="104" y="72"/>
                </a:moveTo>
                <a:lnTo>
                  <a:pt x="104" y="72"/>
                </a:lnTo>
                <a:lnTo>
                  <a:pt x="106" y="72"/>
                </a:lnTo>
                <a:lnTo>
                  <a:pt x="108" y="70"/>
                </a:lnTo>
                <a:lnTo>
                  <a:pt x="108" y="66"/>
                </a:lnTo>
                <a:lnTo>
                  <a:pt x="108" y="66"/>
                </a:lnTo>
                <a:lnTo>
                  <a:pt x="104" y="66"/>
                </a:lnTo>
                <a:lnTo>
                  <a:pt x="104" y="68"/>
                </a:lnTo>
                <a:lnTo>
                  <a:pt x="102" y="70"/>
                </a:lnTo>
                <a:lnTo>
                  <a:pt x="104" y="72"/>
                </a:lnTo>
                <a:lnTo>
                  <a:pt x="104" y="72"/>
                </a:lnTo>
                <a:close/>
                <a:moveTo>
                  <a:pt x="174" y="76"/>
                </a:moveTo>
                <a:lnTo>
                  <a:pt x="174" y="76"/>
                </a:lnTo>
                <a:lnTo>
                  <a:pt x="178" y="74"/>
                </a:lnTo>
                <a:lnTo>
                  <a:pt x="178" y="72"/>
                </a:lnTo>
                <a:lnTo>
                  <a:pt x="178" y="70"/>
                </a:lnTo>
                <a:lnTo>
                  <a:pt x="178" y="70"/>
                </a:lnTo>
                <a:lnTo>
                  <a:pt x="174" y="70"/>
                </a:lnTo>
                <a:lnTo>
                  <a:pt x="172" y="72"/>
                </a:lnTo>
                <a:lnTo>
                  <a:pt x="172" y="74"/>
                </a:lnTo>
                <a:lnTo>
                  <a:pt x="174" y="76"/>
                </a:lnTo>
                <a:lnTo>
                  <a:pt x="174" y="76"/>
                </a:lnTo>
                <a:close/>
                <a:moveTo>
                  <a:pt x="90" y="82"/>
                </a:moveTo>
                <a:lnTo>
                  <a:pt x="90" y="82"/>
                </a:lnTo>
                <a:lnTo>
                  <a:pt x="94" y="82"/>
                </a:lnTo>
                <a:lnTo>
                  <a:pt x="94" y="82"/>
                </a:lnTo>
                <a:lnTo>
                  <a:pt x="94" y="78"/>
                </a:lnTo>
                <a:lnTo>
                  <a:pt x="94" y="76"/>
                </a:lnTo>
                <a:lnTo>
                  <a:pt x="92" y="76"/>
                </a:lnTo>
                <a:lnTo>
                  <a:pt x="92" y="76"/>
                </a:lnTo>
                <a:lnTo>
                  <a:pt x="90" y="78"/>
                </a:lnTo>
                <a:lnTo>
                  <a:pt x="90" y="80"/>
                </a:lnTo>
                <a:lnTo>
                  <a:pt x="90" y="82"/>
                </a:lnTo>
                <a:lnTo>
                  <a:pt x="90" y="82"/>
                </a:lnTo>
                <a:close/>
                <a:moveTo>
                  <a:pt x="34" y="84"/>
                </a:moveTo>
                <a:lnTo>
                  <a:pt x="34" y="84"/>
                </a:lnTo>
                <a:lnTo>
                  <a:pt x="34" y="88"/>
                </a:lnTo>
                <a:lnTo>
                  <a:pt x="34" y="88"/>
                </a:lnTo>
                <a:lnTo>
                  <a:pt x="36" y="90"/>
                </a:lnTo>
                <a:lnTo>
                  <a:pt x="40" y="90"/>
                </a:lnTo>
                <a:lnTo>
                  <a:pt x="40" y="90"/>
                </a:lnTo>
                <a:lnTo>
                  <a:pt x="40" y="86"/>
                </a:lnTo>
                <a:lnTo>
                  <a:pt x="40" y="82"/>
                </a:lnTo>
                <a:lnTo>
                  <a:pt x="40" y="82"/>
                </a:lnTo>
                <a:lnTo>
                  <a:pt x="36" y="82"/>
                </a:lnTo>
                <a:lnTo>
                  <a:pt x="34" y="84"/>
                </a:lnTo>
                <a:lnTo>
                  <a:pt x="34" y="84"/>
                </a:lnTo>
                <a:close/>
                <a:moveTo>
                  <a:pt x="120" y="96"/>
                </a:moveTo>
                <a:lnTo>
                  <a:pt x="120" y="96"/>
                </a:lnTo>
                <a:lnTo>
                  <a:pt x="118" y="92"/>
                </a:lnTo>
                <a:lnTo>
                  <a:pt x="118" y="90"/>
                </a:lnTo>
                <a:lnTo>
                  <a:pt x="114" y="86"/>
                </a:lnTo>
                <a:lnTo>
                  <a:pt x="114" y="86"/>
                </a:lnTo>
                <a:lnTo>
                  <a:pt x="112" y="88"/>
                </a:lnTo>
                <a:lnTo>
                  <a:pt x="112" y="92"/>
                </a:lnTo>
                <a:lnTo>
                  <a:pt x="114" y="96"/>
                </a:lnTo>
                <a:lnTo>
                  <a:pt x="120" y="96"/>
                </a:lnTo>
                <a:lnTo>
                  <a:pt x="120" y="96"/>
                </a:lnTo>
                <a:close/>
                <a:moveTo>
                  <a:pt x="150" y="94"/>
                </a:moveTo>
                <a:lnTo>
                  <a:pt x="150" y="94"/>
                </a:lnTo>
                <a:lnTo>
                  <a:pt x="154" y="94"/>
                </a:lnTo>
                <a:lnTo>
                  <a:pt x="154" y="92"/>
                </a:lnTo>
                <a:lnTo>
                  <a:pt x="154" y="92"/>
                </a:lnTo>
                <a:lnTo>
                  <a:pt x="152" y="90"/>
                </a:lnTo>
                <a:lnTo>
                  <a:pt x="150" y="90"/>
                </a:lnTo>
                <a:lnTo>
                  <a:pt x="150" y="90"/>
                </a:lnTo>
                <a:lnTo>
                  <a:pt x="150" y="94"/>
                </a:lnTo>
                <a:lnTo>
                  <a:pt x="150" y="94"/>
                </a:lnTo>
                <a:close/>
                <a:moveTo>
                  <a:pt x="156" y="104"/>
                </a:moveTo>
                <a:lnTo>
                  <a:pt x="156" y="104"/>
                </a:lnTo>
                <a:lnTo>
                  <a:pt x="162" y="104"/>
                </a:lnTo>
                <a:lnTo>
                  <a:pt x="162" y="104"/>
                </a:lnTo>
                <a:lnTo>
                  <a:pt x="160" y="100"/>
                </a:lnTo>
                <a:lnTo>
                  <a:pt x="162" y="98"/>
                </a:lnTo>
                <a:lnTo>
                  <a:pt x="164" y="96"/>
                </a:lnTo>
                <a:lnTo>
                  <a:pt x="166" y="94"/>
                </a:lnTo>
                <a:lnTo>
                  <a:pt x="166" y="94"/>
                </a:lnTo>
                <a:lnTo>
                  <a:pt x="162" y="94"/>
                </a:lnTo>
                <a:lnTo>
                  <a:pt x="158" y="94"/>
                </a:lnTo>
                <a:lnTo>
                  <a:pt x="158" y="94"/>
                </a:lnTo>
                <a:lnTo>
                  <a:pt x="158" y="98"/>
                </a:lnTo>
                <a:lnTo>
                  <a:pt x="156" y="100"/>
                </a:lnTo>
                <a:lnTo>
                  <a:pt x="156" y="100"/>
                </a:lnTo>
                <a:lnTo>
                  <a:pt x="152" y="98"/>
                </a:lnTo>
                <a:lnTo>
                  <a:pt x="150" y="98"/>
                </a:lnTo>
                <a:lnTo>
                  <a:pt x="150" y="100"/>
                </a:lnTo>
                <a:lnTo>
                  <a:pt x="150" y="100"/>
                </a:lnTo>
                <a:lnTo>
                  <a:pt x="156" y="100"/>
                </a:lnTo>
                <a:lnTo>
                  <a:pt x="156" y="102"/>
                </a:lnTo>
                <a:lnTo>
                  <a:pt x="156" y="104"/>
                </a:lnTo>
                <a:lnTo>
                  <a:pt x="156" y="104"/>
                </a:lnTo>
                <a:close/>
                <a:moveTo>
                  <a:pt x="78" y="114"/>
                </a:moveTo>
                <a:lnTo>
                  <a:pt x="78" y="114"/>
                </a:lnTo>
                <a:lnTo>
                  <a:pt x="82" y="114"/>
                </a:lnTo>
                <a:lnTo>
                  <a:pt x="84" y="112"/>
                </a:lnTo>
                <a:lnTo>
                  <a:pt x="84" y="112"/>
                </a:lnTo>
                <a:lnTo>
                  <a:pt x="82" y="108"/>
                </a:lnTo>
                <a:lnTo>
                  <a:pt x="78" y="108"/>
                </a:lnTo>
                <a:lnTo>
                  <a:pt x="78" y="108"/>
                </a:lnTo>
                <a:lnTo>
                  <a:pt x="76" y="110"/>
                </a:lnTo>
                <a:lnTo>
                  <a:pt x="78" y="114"/>
                </a:lnTo>
                <a:lnTo>
                  <a:pt x="78" y="114"/>
                </a:lnTo>
                <a:close/>
                <a:moveTo>
                  <a:pt x="48" y="112"/>
                </a:moveTo>
                <a:lnTo>
                  <a:pt x="48" y="112"/>
                </a:lnTo>
                <a:lnTo>
                  <a:pt x="46" y="110"/>
                </a:lnTo>
                <a:lnTo>
                  <a:pt x="44" y="110"/>
                </a:lnTo>
                <a:lnTo>
                  <a:pt x="38" y="110"/>
                </a:lnTo>
                <a:lnTo>
                  <a:pt x="38" y="110"/>
                </a:lnTo>
                <a:lnTo>
                  <a:pt x="38" y="112"/>
                </a:lnTo>
                <a:lnTo>
                  <a:pt x="42" y="114"/>
                </a:lnTo>
                <a:lnTo>
                  <a:pt x="46" y="114"/>
                </a:lnTo>
                <a:lnTo>
                  <a:pt x="48" y="112"/>
                </a:lnTo>
                <a:lnTo>
                  <a:pt x="48" y="112"/>
                </a:lnTo>
                <a:close/>
                <a:moveTo>
                  <a:pt x="108" y="118"/>
                </a:moveTo>
                <a:lnTo>
                  <a:pt x="108" y="118"/>
                </a:lnTo>
                <a:lnTo>
                  <a:pt x="110" y="120"/>
                </a:lnTo>
                <a:lnTo>
                  <a:pt x="110" y="122"/>
                </a:lnTo>
                <a:lnTo>
                  <a:pt x="112" y="124"/>
                </a:lnTo>
                <a:lnTo>
                  <a:pt x="114" y="124"/>
                </a:lnTo>
                <a:lnTo>
                  <a:pt x="114" y="124"/>
                </a:lnTo>
                <a:lnTo>
                  <a:pt x="112" y="118"/>
                </a:lnTo>
                <a:lnTo>
                  <a:pt x="114" y="112"/>
                </a:lnTo>
                <a:lnTo>
                  <a:pt x="114" y="112"/>
                </a:lnTo>
                <a:lnTo>
                  <a:pt x="110" y="112"/>
                </a:lnTo>
                <a:lnTo>
                  <a:pt x="108" y="112"/>
                </a:lnTo>
                <a:lnTo>
                  <a:pt x="108" y="116"/>
                </a:lnTo>
                <a:lnTo>
                  <a:pt x="108" y="118"/>
                </a:lnTo>
                <a:lnTo>
                  <a:pt x="108" y="118"/>
                </a:lnTo>
                <a:close/>
                <a:moveTo>
                  <a:pt x="56" y="120"/>
                </a:moveTo>
                <a:lnTo>
                  <a:pt x="56" y="120"/>
                </a:lnTo>
                <a:lnTo>
                  <a:pt x="60" y="120"/>
                </a:lnTo>
                <a:lnTo>
                  <a:pt x="60" y="116"/>
                </a:lnTo>
                <a:lnTo>
                  <a:pt x="60" y="114"/>
                </a:lnTo>
                <a:lnTo>
                  <a:pt x="58" y="112"/>
                </a:lnTo>
                <a:lnTo>
                  <a:pt x="58" y="112"/>
                </a:lnTo>
                <a:lnTo>
                  <a:pt x="58" y="116"/>
                </a:lnTo>
                <a:lnTo>
                  <a:pt x="56" y="120"/>
                </a:lnTo>
                <a:lnTo>
                  <a:pt x="56" y="120"/>
                </a:lnTo>
                <a:close/>
                <a:moveTo>
                  <a:pt x="66" y="118"/>
                </a:moveTo>
                <a:lnTo>
                  <a:pt x="66" y="118"/>
                </a:lnTo>
                <a:lnTo>
                  <a:pt x="70" y="118"/>
                </a:lnTo>
                <a:lnTo>
                  <a:pt x="74" y="116"/>
                </a:lnTo>
                <a:lnTo>
                  <a:pt x="74" y="116"/>
                </a:lnTo>
                <a:lnTo>
                  <a:pt x="70" y="114"/>
                </a:lnTo>
                <a:lnTo>
                  <a:pt x="66" y="114"/>
                </a:lnTo>
                <a:lnTo>
                  <a:pt x="66" y="114"/>
                </a:lnTo>
                <a:lnTo>
                  <a:pt x="66" y="118"/>
                </a:lnTo>
                <a:lnTo>
                  <a:pt x="66" y="118"/>
                </a:lnTo>
                <a:close/>
                <a:moveTo>
                  <a:pt x="154" y="122"/>
                </a:moveTo>
                <a:lnTo>
                  <a:pt x="154" y="122"/>
                </a:lnTo>
                <a:lnTo>
                  <a:pt x="152" y="122"/>
                </a:lnTo>
                <a:lnTo>
                  <a:pt x="150" y="122"/>
                </a:lnTo>
                <a:lnTo>
                  <a:pt x="150" y="122"/>
                </a:lnTo>
                <a:lnTo>
                  <a:pt x="150" y="126"/>
                </a:lnTo>
                <a:lnTo>
                  <a:pt x="150" y="126"/>
                </a:lnTo>
                <a:lnTo>
                  <a:pt x="152" y="128"/>
                </a:lnTo>
                <a:lnTo>
                  <a:pt x="152" y="126"/>
                </a:lnTo>
                <a:lnTo>
                  <a:pt x="154" y="126"/>
                </a:lnTo>
                <a:lnTo>
                  <a:pt x="156" y="126"/>
                </a:lnTo>
                <a:lnTo>
                  <a:pt x="156" y="126"/>
                </a:lnTo>
                <a:lnTo>
                  <a:pt x="152" y="128"/>
                </a:lnTo>
                <a:lnTo>
                  <a:pt x="152" y="132"/>
                </a:lnTo>
                <a:lnTo>
                  <a:pt x="152" y="132"/>
                </a:lnTo>
                <a:lnTo>
                  <a:pt x="156" y="132"/>
                </a:lnTo>
                <a:lnTo>
                  <a:pt x="156" y="132"/>
                </a:lnTo>
                <a:lnTo>
                  <a:pt x="158" y="128"/>
                </a:lnTo>
                <a:lnTo>
                  <a:pt x="158" y="128"/>
                </a:lnTo>
                <a:lnTo>
                  <a:pt x="160" y="126"/>
                </a:lnTo>
                <a:lnTo>
                  <a:pt x="162" y="124"/>
                </a:lnTo>
                <a:lnTo>
                  <a:pt x="162" y="118"/>
                </a:lnTo>
                <a:lnTo>
                  <a:pt x="162" y="118"/>
                </a:lnTo>
                <a:lnTo>
                  <a:pt x="156" y="120"/>
                </a:lnTo>
                <a:lnTo>
                  <a:pt x="154" y="122"/>
                </a:lnTo>
                <a:lnTo>
                  <a:pt x="154" y="122"/>
                </a:lnTo>
                <a:close/>
                <a:moveTo>
                  <a:pt x="132" y="122"/>
                </a:moveTo>
                <a:lnTo>
                  <a:pt x="132" y="122"/>
                </a:lnTo>
                <a:lnTo>
                  <a:pt x="134" y="124"/>
                </a:lnTo>
                <a:lnTo>
                  <a:pt x="134" y="126"/>
                </a:lnTo>
                <a:lnTo>
                  <a:pt x="134" y="126"/>
                </a:lnTo>
                <a:lnTo>
                  <a:pt x="142" y="128"/>
                </a:lnTo>
                <a:lnTo>
                  <a:pt x="144" y="126"/>
                </a:lnTo>
                <a:lnTo>
                  <a:pt x="144" y="122"/>
                </a:lnTo>
                <a:lnTo>
                  <a:pt x="144" y="122"/>
                </a:lnTo>
                <a:lnTo>
                  <a:pt x="138" y="122"/>
                </a:lnTo>
                <a:lnTo>
                  <a:pt x="132" y="122"/>
                </a:lnTo>
                <a:lnTo>
                  <a:pt x="132" y="122"/>
                </a:lnTo>
                <a:close/>
                <a:moveTo>
                  <a:pt x="72" y="130"/>
                </a:moveTo>
                <a:lnTo>
                  <a:pt x="72" y="130"/>
                </a:lnTo>
                <a:lnTo>
                  <a:pt x="72" y="132"/>
                </a:lnTo>
                <a:lnTo>
                  <a:pt x="72" y="132"/>
                </a:lnTo>
                <a:lnTo>
                  <a:pt x="76" y="132"/>
                </a:lnTo>
                <a:lnTo>
                  <a:pt x="76" y="132"/>
                </a:lnTo>
                <a:lnTo>
                  <a:pt x="76" y="130"/>
                </a:lnTo>
                <a:lnTo>
                  <a:pt x="74" y="128"/>
                </a:lnTo>
                <a:lnTo>
                  <a:pt x="72" y="130"/>
                </a:lnTo>
                <a:lnTo>
                  <a:pt x="72" y="130"/>
                </a:lnTo>
                <a:close/>
                <a:moveTo>
                  <a:pt x="52" y="134"/>
                </a:moveTo>
                <a:lnTo>
                  <a:pt x="52" y="134"/>
                </a:lnTo>
                <a:lnTo>
                  <a:pt x="52" y="136"/>
                </a:lnTo>
                <a:lnTo>
                  <a:pt x="56" y="136"/>
                </a:lnTo>
                <a:lnTo>
                  <a:pt x="58" y="134"/>
                </a:lnTo>
                <a:lnTo>
                  <a:pt x="58" y="132"/>
                </a:lnTo>
                <a:lnTo>
                  <a:pt x="58" y="132"/>
                </a:lnTo>
                <a:lnTo>
                  <a:pt x="54" y="132"/>
                </a:lnTo>
                <a:lnTo>
                  <a:pt x="52" y="134"/>
                </a:lnTo>
                <a:lnTo>
                  <a:pt x="52" y="134"/>
                </a:lnTo>
                <a:close/>
                <a:moveTo>
                  <a:pt x="160" y="138"/>
                </a:moveTo>
                <a:lnTo>
                  <a:pt x="160" y="138"/>
                </a:lnTo>
                <a:lnTo>
                  <a:pt x="162" y="142"/>
                </a:lnTo>
                <a:lnTo>
                  <a:pt x="162" y="142"/>
                </a:lnTo>
                <a:lnTo>
                  <a:pt x="164" y="142"/>
                </a:lnTo>
                <a:lnTo>
                  <a:pt x="166" y="138"/>
                </a:lnTo>
                <a:lnTo>
                  <a:pt x="166" y="138"/>
                </a:lnTo>
                <a:lnTo>
                  <a:pt x="160" y="138"/>
                </a:lnTo>
                <a:lnTo>
                  <a:pt x="160" y="138"/>
                </a:lnTo>
                <a:close/>
                <a:moveTo>
                  <a:pt x="28" y="142"/>
                </a:moveTo>
                <a:lnTo>
                  <a:pt x="28" y="142"/>
                </a:lnTo>
                <a:lnTo>
                  <a:pt x="30" y="144"/>
                </a:lnTo>
                <a:lnTo>
                  <a:pt x="32" y="142"/>
                </a:lnTo>
                <a:lnTo>
                  <a:pt x="36" y="142"/>
                </a:lnTo>
                <a:lnTo>
                  <a:pt x="36" y="142"/>
                </a:lnTo>
                <a:lnTo>
                  <a:pt x="34" y="138"/>
                </a:lnTo>
                <a:lnTo>
                  <a:pt x="32" y="138"/>
                </a:lnTo>
                <a:lnTo>
                  <a:pt x="28" y="140"/>
                </a:lnTo>
                <a:lnTo>
                  <a:pt x="28" y="142"/>
                </a:lnTo>
                <a:lnTo>
                  <a:pt x="28" y="142"/>
                </a:lnTo>
                <a:close/>
                <a:moveTo>
                  <a:pt x="126" y="146"/>
                </a:moveTo>
                <a:lnTo>
                  <a:pt x="126" y="146"/>
                </a:lnTo>
                <a:lnTo>
                  <a:pt x="124" y="144"/>
                </a:lnTo>
                <a:lnTo>
                  <a:pt x="124" y="144"/>
                </a:lnTo>
                <a:lnTo>
                  <a:pt x="120" y="144"/>
                </a:lnTo>
                <a:lnTo>
                  <a:pt x="120" y="144"/>
                </a:lnTo>
                <a:lnTo>
                  <a:pt x="120" y="148"/>
                </a:lnTo>
                <a:lnTo>
                  <a:pt x="122" y="150"/>
                </a:lnTo>
                <a:lnTo>
                  <a:pt x="124" y="148"/>
                </a:lnTo>
                <a:lnTo>
                  <a:pt x="126" y="146"/>
                </a:lnTo>
                <a:lnTo>
                  <a:pt x="126" y="146"/>
                </a:lnTo>
                <a:close/>
                <a:moveTo>
                  <a:pt x="130" y="152"/>
                </a:moveTo>
                <a:lnTo>
                  <a:pt x="130" y="152"/>
                </a:lnTo>
                <a:lnTo>
                  <a:pt x="132" y="152"/>
                </a:lnTo>
                <a:lnTo>
                  <a:pt x="132" y="152"/>
                </a:lnTo>
                <a:lnTo>
                  <a:pt x="132" y="152"/>
                </a:lnTo>
                <a:lnTo>
                  <a:pt x="134" y="150"/>
                </a:lnTo>
                <a:lnTo>
                  <a:pt x="136" y="148"/>
                </a:lnTo>
                <a:lnTo>
                  <a:pt x="136" y="148"/>
                </a:lnTo>
                <a:lnTo>
                  <a:pt x="134" y="146"/>
                </a:lnTo>
                <a:lnTo>
                  <a:pt x="132" y="146"/>
                </a:lnTo>
                <a:lnTo>
                  <a:pt x="130" y="148"/>
                </a:lnTo>
                <a:lnTo>
                  <a:pt x="130" y="152"/>
                </a:lnTo>
                <a:lnTo>
                  <a:pt x="130" y="152"/>
                </a:lnTo>
                <a:close/>
                <a:moveTo>
                  <a:pt x="72" y="152"/>
                </a:moveTo>
                <a:lnTo>
                  <a:pt x="72" y="152"/>
                </a:lnTo>
                <a:lnTo>
                  <a:pt x="74" y="154"/>
                </a:lnTo>
                <a:lnTo>
                  <a:pt x="78" y="152"/>
                </a:lnTo>
                <a:lnTo>
                  <a:pt x="84" y="150"/>
                </a:lnTo>
                <a:lnTo>
                  <a:pt x="84" y="150"/>
                </a:lnTo>
                <a:lnTo>
                  <a:pt x="84" y="148"/>
                </a:lnTo>
                <a:lnTo>
                  <a:pt x="82" y="148"/>
                </a:lnTo>
                <a:lnTo>
                  <a:pt x="78" y="148"/>
                </a:lnTo>
                <a:lnTo>
                  <a:pt x="74" y="148"/>
                </a:lnTo>
                <a:lnTo>
                  <a:pt x="72" y="152"/>
                </a:lnTo>
                <a:lnTo>
                  <a:pt x="72" y="152"/>
                </a:lnTo>
                <a:close/>
                <a:moveTo>
                  <a:pt x="142" y="160"/>
                </a:moveTo>
                <a:lnTo>
                  <a:pt x="142" y="160"/>
                </a:lnTo>
                <a:lnTo>
                  <a:pt x="146" y="160"/>
                </a:lnTo>
                <a:lnTo>
                  <a:pt x="148" y="160"/>
                </a:lnTo>
                <a:lnTo>
                  <a:pt x="150" y="160"/>
                </a:lnTo>
                <a:lnTo>
                  <a:pt x="150" y="160"/>
                </a:lnTo>
                <a:lnTo>
                  <a:pt x="150" y="156"/>
                </a:lnTo>
                <a:lnTo>
                  <a:pt x="146" y="154"/>
                </a:lnTo>
                <a:lnTo>
                  <a:pt x="142" y="156"/>
                </a:lnTo>
                <a:lnTo>
                  <a:pt x="142" y="160"/>
                </a:lnTo>
                <a:lnTo>
                  <a:pt x="142" y="160"/>
                </a:lnTo>
                <a:close/>
                <a:moveTo>
                  <a:pt x="190" y="156"/>
                </a:moveTo>
                <a:lnTo>
                  <a:pt x="190" y="156"/>
                </a:lnTo>
                <a:lnTo>
                  <a:pt x="184" y="156"/>
                </a:lnTo>
                <a:lnTo>
                  <a:pt x="184" y="156"/>
                </a:lnTo>
                <a:lnTo>
                  <a:pt x="184" y="158"/>
                </a:lnTo>
                <a:lnTo>
                  <a:pt x="186" y="158"/>
                </a:lnTo>
                <a:lnTo>
                  <a:pt x="188" y="158"/>
                </a:lnTo>
                <a:lnTo>
                  <a:pt x="190" y="156"/>
                </a:lnTo>
                <a:lnTo>
                  <a:pt x="190" y="156"/>
                </a:lnTo>
                <a:close/>
                <a:moveTo>
                  <a:pt x="166" y="166"/>
                </a:moveTo>
                <a:lnTo>
                  <a:pt x="166" y="166"/>
                </a:lnTo>
                <a:lnTo>
                  <a:pt x="162" y="158"/>
                </a:lnTo>
                <a:lnTo>
                  <a:pt x="162" y="158"/>
                </a:lnTo>
                <a:lnTo>
                  <a:pt x="158" y="158"/>
                </a:lnTo>
                <a:lnTo>
                  <a:pt x="158" y="158"/>
                </a:lnTo>
                <a:lnTo>
                  <a:pt x="160" y="164"/>
                </a:lnTo>
                <a:lnTo>
                  <a:pt x="162" y="168"/>
                </a:lnTo>
                <a:lnTo>
                  <a:pt x="166" y="166"/>
                </a:lnTo>
                <a:lnTo>
                  <a:pt x="166" y="166"/>
                </a:lnTo>
                <a:close/>
                <a:moveTo>
                  <a:pt x="178" y="162"/>
                </a:moveTo>
                <a:lnTo>
                  <a:pt x="178" y="162"/>
                </a:lnTo>
                <a:lnTo>
                  <a:pt x="178" y="162"/>
                </a:lnTo>
                <a:lnTo>
                  <a:pt x="176" y="162"/>
                </a:lnTo>
                <a:lnTo>
                  <a:pt x="172" y="160"/>
                </a:lnTo>
                <a:lnTo>
                  <a:pt x="172" y="160"/>
                </a:lnTo>
                <a:lnTo>
                  <a:pt x="172" y="164"/>
                </a:lnTo>
                <a:lnTo>
                  <a:pt x="174" y="166"/>
                </a:lnTo>
                <a:lnTo>
                  <a:pt x="178" y="166"/>
                </a:lnTo>
                <a:lnTo>
                  <a:pt x="178" y="162"/>
                </a:lnTo>
                <a:lnTo>
                  <a:pt x="178" y="162"/>
                </a:lnTo>
                <a:close/>
                <a:moveTo>
                  <a:pt x="78" y="166"/>
                </a:moveTo>
                <a:lnTo>
                  <a:pt x="78" y="166"/>
                </a:lnTo>
                <a:lnTo>
                  <a:pt x="76" y="164"/>
                </a:lnTo>
                <a:lnTo>
                  <a:pt x="74" y="162"/>
                </a:lnTo>
                <a:lnTo>
                  <a:pt x="74" y="162"/>
                </a:lnTo>
                <a:lnTo>
                  <a:pt x="74" y="166"/>
                </a:lnTo>
                <a:lnTo>
                  <a:pt x="74" y="166"/>
                </a:lnTo>
                <a:lnTo>
                  <a:pt x="78" y="166"/>
                </a:lnTo>
                <a:lnTo>
                  <a:pt x="78" y="166"/>
                </a:lnTo>
                <a:close/>
              </a:path>
            </a:pathLst>
          </a:custGeom>
          <a:solidFill>
            <a:srgbClr val="968C6D"/>
          </a:solidFill>
          <a:ln>
            <a:noFill/>
          </a:ln>
        </p:spPr>
        <p:txBody>
          <a:bodyPr vert="horz" wrap="square" lIns="80147" tIns="40074" rIns="80147" bIns="40074" numCol="1" anchor="t" anchorCtr="0" compatLnSpc="1">
            <a:prstTxWarp prst="textNoShape">
              <a:avLst/>
            </a:prstTxWarp>
          </a:bodyPr>
          <a:lstStyle/>
          <a:p>
            <a:endParaRPr lang="en-GB"/>
          </a:p>
        </p:txBody>
      </p:sp>
      <p:grpSp>
        <p:nvGrpSpPr>
          <p:cNvPr id="7" name="Group 886">
            <a:extLst>
              <a:ext uri="{FF2B5EF4-FFF2-40B4-BE49-F238E27FC236}">
                <a16:creationId xmlns:a16="http://schemas.microsoft.com/office/drawing/2014/main" id="{CAA3068C-A233-4827-8827-A689BF0DDD80}"/>
              </a:ext>
            </a:extLst>
          </p:cNvPr>
          <p:cNvGrpSpPr/>
          <p:nvPr/>
        </p:nvGrpSpPr>
        <p:grpSpPr>
          <a:xfrm>
            <a:off x="2132645" y="4713389"/>
            <a:ext cx="297531" cy="693708"/>
            <a:chOff x="4300538" y="3905250"/>
            <a:chExt cx="1041400" cy="2289175"/>
          </a:xfrm>
        </p:grpSpPr>
        <p:sp>
          <p:nvSpPr>
            <p:cNvPr id="8" name="Freeform 150">
              <a:extLst>
                <a:ext uri="{FF2B5EF4-FFF2-40B4-BE49-F238E27FC236}">
                  <a16:creationId xmlns:a16="http://schemas.microsoft.com/office/drawing/2014/main" id="{542FE44E-47E0-4A9B-8DBF-F0E56F5F2805}"/>
                </a:ext>
              </a:extLst>
            </p:cNvPr>
            <p:cNvSpPr>
              <a:spLocks noEditPoints="1"/>
            </p:cNvSpPr>
            <p:nvPr/>
          </p:nvSpPr>
          <p:spPr bwMode="auto">
            <a:xfrm>
              <a:off x="4300538" y="3905250"/>
              <a:ext cx="1041400" cy="2289175"/>
            </a:xfrm>
            <a:custGeom>
              <a:avLst/>
              <a:gdLst>
                <a:gd name="T0" fmla="*/ 626 w 656"/>
                <a:gd name="T1" fmla="*/ 1372 h 1442"/>
                <a:gd name="T2" fmla="*/ 510 w 656"/>
                <a:gd name="T3" fmla="*/ 1188 h 1442"/>
                <a:gd name="T4" fmla="*/ 468 w 656"/>
                <a:gd name="T5" fmla="*/ 1004 h 1442"/>
                <a:gd name="T6" fmla="*/ 444 w 656"/>
                <a:gd name="T7" fmla="*/ 882 h 1442"/>
                <a:gd name="T8" fmla="*/ 444 w 656"/>
                <a:gd name="T9" fmla="*/ 768 h 1442"/>
                <a:gd name="T10" fmla="*/ 414 w 656"/>
                <a:gd name="T11" fmla="*/ 686 h 1442"/>
                <a:gd name="T12" fmla="*/ 418 w 656"/>
                <a:gd name="T13" fmla="*/ 522 h 1442"/>
                <a:gd name="T14" fmla="*/ 434 w 656"/>
                <a:gd name="T15" fmla="*/ 462 h 1442"/>
                <a:gd name="T16" fmla="*/ 396 w 656"/>
                <a:gd name="T17" fmla="*/ 320 h 1442"/>
                <a:gd name="T18" fmla="*/ 378 w 656"/>
                <a:gd name="T19" fmla="*/ 280 h 1442"/>
                <a:gd name="T20" fmla="*/ 362 w 656"/>
                <a:gd name="T21" fmla="*/ 226 h 1442"/>
                <a:gd name="T22" fmla="*/ 398 w 656"/>
                <a:gd name="T23" fmla="*/ 182 h 1442"/>
                <a:gd name="T24" fmla="*/ 412 w 656"/>
                <a:gd name="T25" fmla="*/ 118 h 1442"/>
                <a:gd name="T26" fmla="*/ 402 w 656"/>
                <a:gd name="T27" fmla="*/ 72 h 1442"/>
                <a:gd name="T28" fmla="*/ 390 w 656"/>
                <a:gd name="T29" fmla="*/ 46 h 1442"/>
                <a:gd name="T30" fmla="*/ 390 w 656"/>
                <a:gd name="T31" fmla="*/ 22 h 1442"/>
                <a:gd name="T32" fmla="*/ 344 w 656"/>
                <a:gd name="T33" fmla="*/ 0 h 1442"/>
                <a:gd name="T34" fmla="*/ 316 w 656"/>
                <a:gd name="T35" fmla="*/ 6 h 1442"/>
                <a:gd name="T36" fmla="*/ 252 w 656"/>
                <a:gd name="T37" fmla="*/ 22 h 1442"/>
                <a:gd name="T38" fmla="*/ 206 w 656"/>
                <a:gd name="T39" fmla="*/ 96 h 1442"/>
                <a:gd name="T40" fmla="*/ 168 w 656"/>
                <a:gd name="T41" fmla="*/ 130 h 1442"/>
                <a:gd name="T42" fmla="*/ 170 w 656"/>
                <a:gd name="T43" fmla="*/ 144 h 1442"/>
                <a:gd name="T44" fmla="*/ 168 w 656"/>
                <a:gd name="T45" fmla="*/ 184 h 1442"/>
                <a:gd name="T46" fmla="*/ 162 w 656"/>
                <a:gd name="T47" fmla="*/ 200 h 1442"/>
                <a:gd name="T48" fmla="*/ 174 w 656"/>
                <a:gd name="T49" fmla="*/ 218 h 1442"/>
                <a:gd name="T50" fmla="*/ 210 w 656"/>
                <a:gd name="T51" fmla="*/ 222 h 1442"/>
                <a:gd name="T52" fmla="*/ 252 w 656"/>
                <a:gd name="T53" fmla="*/ 234 h 1442"/>
                <a:gd name="T54" fmla="*/ 242 w 656"/>
                <a:gd name="T55" fmla="*/ 266 h 1442"/>
                <a:gd name="T56" fmla="*/ 206 w 656"/>
                <a:gd name="T57" fmla="*/ 334 h 1442"/>
                <a:gd name="T58" fmla="*/ 204 w 656"/>
                <a:gd name="T59" fmla="*/ 464 h 1442"/>
                <a:gd name="T60" fmla="*/ 202 w 656"/>
                <a:gd name="T61" fmla="*/ 508 h 1442"/>
                <a:gd name="T62" fmla="*/ 182 w 656"/>
                <a:gd name="T63" fmla="*/ 612 h 1442"/>
                <a:gd name="T64" fmla="*/ 164 w 656"/>
                <a:gd name="T65" fmla="*/ 760 h 1442"/>
                <a:gd name="T66" fmla="*/ 166 w 656"/>
                <a:gd name="T67" fmla="*/ 812 h 1442"/>
                <a:gd name="T68" fmla="*/ 72 w 656"/>
                <a:gd name="T69" fmla="*/ 832 h 1442"/>
                <a:gd name="T70" fmla="*/ 30 w 656"/>
                <a:gd name="T71" fmla="*/ 936 h 1442"/>
                <a:gd name="T72" fmla="*/ 4 w 656"/>
                <a:gd name="T73" fmla="*/ 1096 h 1442"/>
                <a:gd name="T74" fmla="*/ 96 w 656"/>
                <a:gd name="T75" fmla="*/ 1232 h 1442"/>
                <a:gd name="T76" fmla="*/ 74 w 656"/>
                <a:gd name="T77" fmla="*/ 1296 h 1442"/>
                <a:gd name="T78" fmla="*/ 54 w 656"/>
                <a:gd name="T79" fmla="*/ 1348 h 1442"/>
                <a:gd name="T80" fmla="*/ 74 w 656"/>
                <a:gd name="T81" fmla="*/ 1424 h 1442"/>
                <a:gd name="T82" fmla="*/ 84 w 656"/>
                <a:gd name="T83" fmla="*/ 1400 h 1442"/>
                <a:gd name="T84" fmla="*/ 106 w 656"/>
                <a:gd name="T85" fmla="*/ 1382 h 1442"/>
                <a:gd name="T86" fmla="*/ 142 w 656"/>
                <a:gd name="T87" fmla="*/ 1440 h 1442"/>
                <a:gd name="T88" fmla="*/ 224 w 656"/>
                <a:gd name="T89" fmla="*/ 1418 h 1442"/>
                <a:gd name="T90" fmla="*/ 162 w 656"/>
                <a:gd name="T91" fmla="*/ 1384 h 1442"/>
                <a:gd name="T92" fmla="*/ 152 w 656"/>
                <a:gd name="T93" fmla="*/ 1268 h 1442"/>
                <a:gd name="T94" fmla="*/ 262 w 656"/>
                <a:gd name="T95" fmla="*/ 1164 h 1442"/>
                <a:gd name="T96" fmla="*/ 366 w 656"/>
                <a:gd name="T97" fmla="*/ 1100 h 1442"/>
                <a:gd name="T98" fmla="*/ 416 w 656"/>
                <a:gd name="T99" fmla="*/ 1162 h 1442"/>
                <a:gd name="T100" fmla="*/ 484 w 656"/>
                <a:gd name="T101" fmla="*/ 1302 h 1442"/>
                <a:gd name="T102" fmla="*/ 484 w 656"/>
                <a:gd name="T103" fmla="*/ 1370 h 1442"/>
                <a:gd name="T104" fmla="*/ 522 w 656"/>
                <a:gd name="T105" fmla="*/ 1440 h 1442"/>
                <a:gd name="T106" fmla="*/ 514 w 656"/>
                <a:gd name="T107" fmla="*/ 1378 h 1442"/>
                <a:gd name="T108" fmla="*/ 558 w 656"/>
                <a:gd name="T109" fmla="*/ 1406 h 1442"/>
                <a:gd name="T110" fmla="*/ 622 w 656"/>
                <a:gd name="T111" fmla="*/ 1416 h 1442"/>
                <a:gd name="T112" fmla="*/ 650 w 656"/>
                <a:gd name="T113" fmla="*/ 1368 h 1442"/>
                <a:gd name="T114" fmla="*/ 410 w 656"/>
                <a:gd name="T115" fmla="*/ 81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1442">
                  <a:moveTo>
                    <a:pt x="404" y="28"/>
                  </a:moveTo>
                  <a:lnTo>
                    <a:pt x="404" y="28"/>
                  </a:lnTo>
                  <a:lnTo>
                    <a:pt x="404" y="28"/>
                  </a:lnTo>
                  <a:close/>
                  <a:moveTo>
                    <a:pt x="650" y="1368"/>
                  </a:moveTo>
                  <a:lnTo>
                    <a:pt x="650" y="1368"/>
                  </a:lnTo>
                  <a:lnTo>
                    <a:pt x="638" y="1370"/>
                  </a:lnTo>
                  <a:lnTo>
                    <a:pt x="626" y="1372"/>
                  </a:lnTo>
                  <a:lnTo>
                    <a:pt x="604" y="1378"/>
                  </a:lnTo>
                  <a:lnTo>
                    <a:pt x="604" y="1378"/>
                  </a:lnTo>
                  <a:lnTo>
                    <a:pt x="568" y="1320"/>
                  </a:lnTo>
                  <a:lnTo>
                    <a:pt x="550" y="1284"/>
                  </a:lnTo>
                  <a:lnTo>
                    <a:pt x="534" y="1252"/>
                  </a:lnTo>
                  <a:lnTo>
                    <a:pt x="534" y="1252"/>
                  </a:lnTo>
                  <a:lnTo>
                    <a:pt x="510" y="1188"/>
                  </a:lnTo>
                  <a:lnTo>
                    <a:pt x="490" y="1124"/>
                  </a:lnTo>
                  <a:lnTo>
                    <a:pt x="476" y="1072"/>
                  </a:lnTo>
                  <a:lnTo>
                    <a:pt x="470" y="1050"/>
                  </a:lnTo>
                  <a:lnTo>
                    <a:pt x="470" y="1050"/>
                  </a:lnTo>
                  <a:lnTo>
                    <a:pt x="472" y="1042"/>
                  </a:lnTo>
                  <a:lnTo>
                    <a:pt x="472" y="1030"/>
                  </a:lnTo>
                  <a:lnTo>
                    <a:pt x="468" y="1004"/>
                  </a:lnTo>
                  <a:lnTo>
                    <a:pt x="466" y="982"/>
                  </a:lnTo>
                  <a:lnTo>
                    <a:pt x="466" y="974"/>
                  </a:lnTo>
                  <a:lnTo>
                    <a:pt x="466" y="970"/>
                  </a:lnTo>
                  <a:lnTo>
                    <a:pt x="466" y="970"/>
                  </a:lnTo>
                  <a:lnTo>
                    <a:pt x="460" y="940"/>
                  </a:lnTo>
                  <a:lnTo>
                    <a:pt x="452" y="912"/>
                  </a:lnTo>
                  <a:lnTo>
                    <a:pt x="444" y="882"/>
                  </a:lnTo>
                  <a:lnTo>
                    <a:pt x="436" y="852"/>
                  </a:lnTo>
                  <a:lnTo>
                    <a:pt x="460" y="836"/>
                  </a:lnTo>
                  <a:lnTo>
                    <a:pt x="462" y="802"/>
                  </a:lnTo>
                  <a:lnTo>
                    <a:pt x="452" y="786"/>
                  </a:lnTo>
                  <a:lnTo>
                    <a:pt x="452" y="786"/>
                  </a:lnTo>
                  <a:lnTo>
                    <a:pt x="448" y="778"/>
                  </a:lnTo>
                  <a:lnTo>
                    <a:pt x="444" y="768"/>
                  </a:lnTo>
                  <a:lnTo>
                    <a:pt x="430" y="730"/>
                  </a:lnTo>
                  <a:lnTo>
                    <a:pt x="430" y="730"/>
                  </a:lnTo>
                  <a:lnTo>
                    <a:pt x="426" y="718"/>
                  </a:lnTo>
                  <a:lnTo>
                    <a:pt x="424" y="708"/>
                  </a:lnTo>
                  <a:lnTo>
                    <a:pt x="420" y="698"/>
                  </a:lnTo>
                  <a:lnTo>
                    <a:pt x="414" y="686"/>
                  </a:lnTo>
                  <a:lnTo>
                    <a:pt x="414" y="686"/>
                  </a:lnTo>
                  <a:lnTo>
                    <a:pt x="418" y="676"/>
                  </a:lnTo>
                  <a:lnTo>
                    <a:pt x="422" y="662"/>
                  </a:lnTo>
                  <a:lnTo>
                    <a:pt x="424" y="636"/>
                  </a:lnTo>
                  <a:lnTo>
                    <a:pt x="424" y="608"/>
                  </a:lnTo>
                  <a:lnTo>
                    <a:pt x="422" y="578"/>
                  </a:lnTo>
                  <a:lnTo>
                    <a:pt x="418" y="550"/>
                  </a:lnTo>
                  <a:lnTo>
                    <a:pt x="418" y="522"/>
                  </a:lnTo>
                  <a:lnTo>
                    <a:pt x="418" y="494"/>
                  </a:lnTo>
                  <a:lnTo>
                    <a:pt x="420" y="482"/>
                  </a:lnTo>
                  <a:lnTo>
                    <a:pt x="424" y="472"/>
                  </a:lnTo>
                  <a:lnTo>
                    <a:pt x="424" y="472"/>
                  </a:lnTo>
                  <a:lnTo>
                    <a:pt x="428" y="470"/>
                  </a:lnTo>
                  <a:lnTo>
                    <a:pt x="432" y="468"/>
                  </a:lnTo>
                  <a:lnTo>
                    <a:pt x="434" y="462"/>
                  </a:lnTo>
                  <a:lnTo>
                    <a:pt x="436" y="452"/>
                  </a:lnTo>
                  <a:lnTo>
                    <a:pt x="434" y="440"/>
                  </a:lnTo>
                  <a:lnTo>
                    <a:pt x="426" y="416"/>
                  </a:lnTo>
                  <a:lnTo>
                    <a:pt x="418" y="394"/>
                  </a:lnTo>
                  <a:lnTo>
                    <a:pt x="418" y="394"/>
                  </a:lnTo>
                  <a:lnTo>
                    <a:pt x="402" y="340"/>
                  </a:lnTo>
                  <a:lnTo>
                    <a:pt x="396" y="320"/>
                  </a:lnTo>
                  <a:lnTo>
                    <a:pt x="396" y="312"/>
                  </a:lnTo>
                  <a:lnTo>
                    <a:pt x="396" y="308"/>
                  </a:lnTo>
                  <a:lnTo>
                    <a:pt x="396" y="308"/>
                  </a:lnTo>
                  <a:lnTo>
                    <a:pt x="396" y="300"/>
                  </a:lnTo>
                  <a:lnTo>
                    <a:pt x="392" y="294"/>
                  </a:lnTo>
                  <a:lnTo>
                    <a:pt x="386" y="286"/>
                  </a:lnTo>
                  <a:lnTo>
                    <a:pt x="378" y="280"/>
                  </a:lnTo>
                  <a:lnTo>
                    <a:pt x="364" y="268"/>
                  </a:lnTo>
                  <a:lnTo>
                    <a:pt x="360" y="260"/>
                  </a:lnTo>
                  <a:lnTo>
                    <a:pt x="358" y="254"/>
                  </a:lnTo>
                  <a:lnTo>
                    <a:pt x="358" y="254"/>
                  </a:lnTo>
                  <a:lnTo>
                    <a:pt x="362" y="238"/>
                  </a:lnTo>
                  <a:lnTo>
                    <a:pt x="362" y="232"/>
                  </a:lnTo>
                  <a:lnTo>
                    <a:pt x="362" y="226"/>
                  </a:lnTo>
                  <a:lnTo>
                    <a:pt x="362" y="226"/>
                  </a:lnTo>
                  <a:lnTo>
                    <a:pt x="364" y="212"/>
                  </a:lnTo>
                  <a:lnTo>
                    <a:pt x="366" y="204"/>
                  </a:lnTo>
                  <a:lnTo>
                    <a:pt x="382" y="196"/>
                  </a:lnTo>
                  <a:lnTo>
                    <a:pt x="382" y="196"/>
                  </a:lnTo>
                  <a:lnTo>
                    <a:pt x="392" y="188"/>
                  </a:lnTo>
                  <a:lnTo>
                    <a:pt x="398" y="182"/>
                  </a:lnTo>
                  <a:lnTo>
                    <a:pt x="400" y="178"/>
                  </a:lnTo>
                  <a:lnTo>
                    <a:pt x="400" y="176"/>
                  </a:lnTo>
                  <a:lnTo>
                    <a:pt x="400" y="176"/>
                  </a:lnTo>
                  <a:lnTo>
                    <a:pt x="402" y="170"/>
                  </a:lnTo>
                  <a:lnTo>
                    <a:pt x="406" y="154"/>
                  </a:lnTo>
                  <a:lnTo>
                    <a:pt x="412" y="118"/>
                  </a:lnTo>
                  <a:lnTo>
                    <a:pt x="412" y="118"/>
                  </a:lnTo>
                  <a:lnTo>
                    <a:pt x="412" y="112"/>
                  </a:lnTo>
                  <a:lnTo>
                    <a:pt x="408" y="104"/>
                  </a:lnTo>
                  <a:lnTo>
                    <a:pt x="406" y="100"/>
                  </a:lnTo>
                  <a:lnTo>
                    <a:pt x="406" y="100"/>
                  </a:lnTo>
                  <a:lnTo>
                    <a:pt x="404" y="84"/>
                  </a:lnTo>
                  <a:lnTo>
                    <a:pt x="404" y="84"/>
                  </a:lnTo>
                  <a:lnTo>
                    <a:pt x="402" y="72"/>
                  </a:lnTo>
                  <a:lnTo>
                    <a:pt x="400" y="60"/>
                  </a:lnTo>
                  <a:lnTo>
                    <a:pt x="394" y="50"/>
                  </a:lnTo>
                  <a:lnTo>
                    <a:pt x="394" y="50"/>
                  </a:lnTo>
                  <a:lnTo>
                    <a:pt x="394" y="50"/>
                  </a:lnTo>
                  <a:lnTo>
                    <a:pt x="392" y="46"/>
                  </a:lnTo>
                  <a:lnTo>
                    <a:pt x="392" y="46"/>
                  </a:lnTo>
                  <a:lnTo>
                    <a:pt x="390" y="46"/>
                  </a:lnTo>
                  <a:lnTo>
                    <a:pt x="390" y="46"/>
                  </a:lnTo>
                  <a:lnTo>
                    <a:pt x="398" y="40"/>
                  </a:lnTo>
                  <a:lnTo>
                    <a:pt x="404" y="36"/>
                  </a:lnTo>
                  <a:lnTo>
                    <a:pt x="404" y="32"/>
                  </a:lnTo>
                  <a:lnTo>
                    <a:pt x="404" y="28"/>
                  </a:lnTo>
                  <a:lnTo>
                    <a:pt x="404" y="28"/>
                  </a:lnTo>
                  <a:lnTo>
                    <a:pt x="390" y="22"/>
                  </a:lnTo>
                  <a:lnTo>
                    <a:pt x="390" y="22"/>
                  </a:lnTo>
                  <a:lnTo>
                    <a:pt x="390" y="22"/>
                  </a:lnTo>
                  <a:lnTo>
                    <a:pt x="384" y="18"/>
                  </a:lnTo>
                  <a:lnTo>
                    <a:pt x="370" y="8"/>
                  </a:lnTo>
                  <a:lnTo>
                    <a:pt x="360" y="4"/>
                  </a:lnTo>
                  <a:lnTo>
                    <a:pt x="352" y="2"/>
                  </a:lnTo>
                  <a:lnTo>
                    <a:pt x="344" y="0"/>
                  </a:lnTo>
                  <a:lnTo>
                    <a:pt x="338" y="2"/>
                  </a:lnTo>
                  <a:lnTo>
                    <a:pt x="338" y="2"/>
                  </a:lnTo>
                  <a:lnTo>
                    <a:pt x="330" y="2"/>
                  </a:lnTo>
                  <a:lnTo>
                    <a:pt x="324" y="4"/>
                  </a:lnTo>
                  <a:lnTo>
                    <a:pt x="318" y="6"/>
                  </a:lnTo>
                  <a:lnTo>
                    <a:pt x="318" y="6"/>
                  </a:lnTo>
                  <a:lnTo>
                    <a:pt x="316" y="6"/>
                  </a:lnTo>
                  <a:lnTo>
                    <a:pt x="316" y="6"/>
                  </a:lnTo>
                  <a:lnTo>
                    <a:pt x="304" y="6"/>
                  </a:lnTo>
                  <a:lnTo>
                    <a:pt x="292" y="6"/>
                  </a:lnTo>
                  <a:lnTo>
                    <a:pt x="282" y="8"/>
                  </a:lnTo>
                  <a:lnTo>
                    <a:pt x="270" y="10"/>
                  </a:lnTo>
                  <a:lnTo>
                    <a:pt x="260" y="16"/>
                  </a:lnTo>
                  <a:lnTo>
                    <a:pt x="252" y="22"/>
                  </a:lnTo>
                  <a:lnTo>
                    <a:pt x="244" y="30"/>
                  </a:lnTo>
                  <a:lnTo>
                    <a:pt x="238" y="38"/>
                  </a:lnTo>
                  <a:lnTo>
                    <a:pt x="238" y="38"/>
                  </a:lnTo>
                  <a:lnTo>
                    <a:pt x="224" y="58"/>
                  </a:lnTo>
                  <a:lnTo>
                    <a:pt x="214" y="76"/>
                  </a:lnTo>
                  <a:lnTo>
                    <a:pt x="206" y="96"/>
                  </a:lnTo>
                  <a:lnTo>
                    <a:pt x="206" y="96"/>
                  </a:lnTo>
                  <a:lnTo>
                    <a:pt x="192" y="120"/>
                  </a:lnTo>
                  <a:lnTo>
                    <a:pt x="182" y="140"/>
                  </a:lnTo>
                  <a:lnTo>
                    <a:pt x="182" y="140"/>
                  </a:lnTo>
                  <a:lnTo>
                    <a:pt x="174" y="138"/>
                  </a:lnTo>
                  <a:lnTo>
                    <a:pt x="170" y="136"/>
                  </a:lnTo>
                  <a:lnTo>
                    <a:pt x="168" y="132"/>
                  </a:lnTo>
                  <a:lnTo>
                    <a:pt x="168" y="130"/>
                  </a:lnTo>
                  <a:lnTo>
                    <a:pt x="170" y="122"/>
                  </a:lnTo>
                  <a:lnTo>
                    <a:pt x="172" y="120"/>
                  </a:lnTo>
                  <a:lnTo>
                    <a:pt x="172" y="120"/>
                  </a:lnTo>
                  <a:lnTo>
                    <a:pt x="166" y="128"/>
                  </a:lnTo>
                  <a:lnTo>
                    <a:pt x="164" y="134"/>
                  </a:lnTo>
                  <a:lnTo>
                    <a:pt x="166" y="138"/>
                  </a:lnTo>
                  <a:lnTo>
                    <a:pt x="170" y="144"/>
                  </a:lnTo>
                  <a:lnTo>
                    <a:pt x="178" y="150"/>
                  </a:lnTo>
                  <a:lnTo>
                    <a:pt x="182" y="150"/>
                  </a:lnTo>
                  <a:lnTo>
                    <a:pt x="182" y="150"/>
                  </a:lnTo>
                  <a:lnTo>
                    <a:pt x="172" y="160"/>
                  </a:lnTo>
                  <a:lnTo>
                    <a:pt x="168" y="168"/>
                  </a:lnTo>
                  <a:lnTo>
                    <a:pt x="166" y="176"/>
                  </a:lnTo>
                  <a:lnTo>
                    <a:pt x="168" y="184"/>
                  </a:lnTo>
                  <a:lnTo>
                    <a:pt x="170" y="190"/>
                  </a:lnTo>
                  <a:lnTo>
                    <a:pt x="174" y="196"/>
                  </a:lnTo>
                  <a:lnTo>
                    <a:pt x="178" y="200"/>
                  </a:lnTo>
                  <a:lnTo>
                    <a:pt x="178" y="200"/>
                  </a:lnTo>
                  <a:lnTo>
                    <a:pt x="168" y="202"/>
                  </a:lnTo>
                  <a:lnTo>
                    <a:pt x="162" y="200"/>
                  </a:lnTo>
                  <a:lnTo>
                    <a:pt x="162" y="200"/>
                  </a:lnTo>
                  <a:lnTo>
                    <a:pt x="172" y="204"/>
                  </a:lnTo>
                  <a:lnTo>
                    <a:pt x="182" y="206"/>
                  </a:lnTo>
                  <a:lnTo>
                    <a:pt x="190" y="204"/>
                  </a:lnTo>
                  <a:lnTo>
                    <a:pt x="182" y="218"/>
                  </a:lnTo>
                  <a:lnTo>
                    <a:pt x="182" y="218"/>
                  </a:lnTo>
                  <a:lnTo>
                    <a:pt x="176" y="220"/>
                  </a:lnTo>
                  <a:lnTo>
                    <a:pt x="174" y="218"/>
                  </a:lnTo>
                  <a:lnTo>
                    <a:pt x="174" y="218"/>
                  </a:lnTo>
                  <a:lnTo>
                    <a:pt x="182" y="222"/>
                  </a:lnTo>
                  <a:lnTo>
                    <a:pt x="190" y="224"/>
                  </a:lnTo>
                  <a:lnTo>
                    <a:pt x="190" y="224"/>
                  </a:lnTo>
                  <a:lnTo>
                    <a:pt x="204" y="224"/>
                  </a:lnTo>
                  <a:lnTo>
                    <a:pt x="204" y="224"/>
                  </a:lnTo>
                  <a:lnTo>
                    <a:pt x="210" y="222"/>
                  </a:lnTo>
                  <a:lnTo>
                    <a:pt x="214" y="220"/>
                  </a:lnTo>
                  <a:lnTo>
                    <a:pt x="218" y="226"/>
                  </a:lnTo>
                  <a:lnTo>
                    <a:pt x="218" y="226"/>
                  </a:lnTo>
                  <a:lnTo>
                    <a:pt x="244" y="228"/>
                  </a:lnTo>
                  <a:lnTo>
                    <a:pt x="244" y="228"/>
                  </a:lnTo>
                  <a:lnTo>
                    <a:pt x="250" y="230"/>
                  </a:lnTo>
                  <a:lnTo>
                    <a:pt x="252" y="234"/>
                  </a:lnTo>
                  <a:lnTo>
                    <a:pt x="252" y="240"/>
                  </a:lnTo>
                  <a:lnTo>
                    <a:pt x="254" y="248"/>
                  </a:lnTo>
                  <a:lnTo>
                    <a:pt x="256" y="248"/>
                  </a:lnTo>
                  <a:lnTo>
                    <a:pt x="256" y="248"/>
                  </a:lnTo>
                  <a:lnTo>
                    <a:pt x="254" y="252"/>
                  </a:lnTo>
                  <a:lnTo>
                    <a:pt x="254" y="252"/>
                  </a:lnTo>
                  <a:lnTo>
                    <a:pt x="242" y="266"/>
                  </a:lnTo>
                  <a:lnTo>
                    <a:pt x="230" y="282"/>
                  </a:lnTo>
                  <a:lnTo>
                    <a:pt x="230" y="282"/>
                  </a:lnTo>
                  <a:lnTo>
                    <a:pt x="222" y="292"/>
                  </a:lnTo>
                  <a:lnTo>
                    <a:pt x="216" y="304"/>
                  </a:lnTo>
                  <a:lnTo>
                    <a:pt x="210" y="318"/>
                  </a:lnTo>
                  <a:lnTo>
                    <a:pt x="206" y="334"/>
                  </a:lnTo>
                  <a:lnTo>
                    <a:pt x="206" y="334"/>
                  </a:lnTo>
                  <a:lnTo>
                    <a:pt x="200" y="384"/>
                  </a:lnTo>
                  <a:lnTo>
                    <a:pt x="198" y="406"/>
                  </a:lnTo>
                  <a:lnTo>
                    <a:pt x="200" y="418"/>
                  </a:lnTo>
                  <a:lnTo>
                    <a:pt x="200" y="418"/>
                  </a:lnTo>
                  <a:lnTo>
                    <a:pt x="200" y="442"/>
                  </a:lnTo>
                  <a:lnTo>
                    <a:pt x="204" y="464"/>
                  </a:lnTo>
                  <a:lnTo>
                    <a:pt x="204" y="464"/>
                  </a:lnTo>
                  <a:lnTo>
                    <a:pt x="204" y="488"/>
                  </a:lnTo>
                  <a:lnTo>
                    <a:pt x="202" y="508"/>
                  </a:lnTo>
                  <a:lnTo>
                    <a:pt x="202" y="508"/>
                  </a:lnTo>
                  <a:lnTo>
                    <a:pt x="202" y="510"/>
                  </a:lnTo>
                  <a:lnTo>
                    <a:pt x="202" y="510"/>
                  </a:lnTo>
                  <a:lnTo>
                    <a:pt x="202" y="508"/>
                  </a:lnTo>
                  <a:lnTo>
                    <a:pt x="202" y="508"/>
                  </a:lnTo>
                  <a:lnTo>
                    <a:pt x="198" y="514"/>
                  </a:lnTo>
                  <a:lnTo>
                    <a:pt x="194" y="522"/>
                  </a:lnTo>
                  <a:lnTo>
                    <a:pt x="194" y="522"/>
                  </a:lnTo>
                  <a:lnTo>
                    <a:pt x="188" y="552"/>
                  </a:lnTo>
                  <a:lnTo>
                    <a:pt x="184" y="580"/>
                  </a:lnTo>
                  <a:lnTo>
                    <a:pt x="184" y="580"/>
                  </a:lnTo>
                  <a:lnTo>
                    <a:pt x="182" y="612"/>
                  </a:lnTo>
                  <a:lnTo>
                    <a:pt x="176" y="646"/>
                  </a:lnTo>
                  <a:lnTo>
                    <a:pt x="164" y="710"/>
                  </a:lnTo>
                  <a:lnTo>
                    <a:pt x="164" y="710"/>
                  </a:lnTo>
                  <a:lnTo>
                    <a:pt x="162" y="718"/>
                  </a:lnTo>
                  <a:lnTo>
                    <a:pt x="162" y="724"/>
                  </a:lnTo>
                  <a:lnTo>
                    <a:pt x="166" y="728"/>
                  </a:lnTo>
                  <a:lnTo>
                    <a:pt x="164" y="760"/>
                  </a:lnTo>
                  <a:lnTo>
                    <a:pt x="164" y="760"/>
                  </a:lnTo>
                  <a:lnTo>
                    <a:pt x="168" y="776"/>
                  </a:lnTo>
                  <a:lnTo>
                    <a:pt x="172" y="790"/>
                  </a:lnTo>
                  <a:lnTo>
                    <a:pt x="174" y="790"/>
                  </a:lnTo>
                  <a:lnTo>
                    <a:pt x="174" y="790"/>
                  </a:lnTo>
                  <a:lnTo>
                    <a:pt x="170" y="802"/>
                  </a:lnTo>
                  <a:lnTo>
                    <a:pt x="166" y="812"/>
                  </a:lnTo>
                  <a:lnTo>
                    <a:pt x="166" y="812"/>
                  </a:lnTo>
                  <a:lnTo>
                    <a:pt x="132" y="812"/>
                  </a:lnTo>
                  <a:lnTo>
                    <a:pt x="116" y="814"/>
                  </a:lnTo>
                  <a:lnTo>
                    <a:pt x="102" y="818"/>
                  </a:lnTo>
                  <a:lnTo>
                    <a:pt x="92" y="822"/>
                  </a:lnTo>
                  <a:lnTo>
                    <a:pt x="80" y="826"/>
                  </a:lnTo>
                  <a:lnTo>
                    <a:pt x="72" y="832"/>
                  </a:lnTo>
                  <a:lnTo>
                    <a:pt x="64" y="840"/>
                  </a:lnTo>
                  <a:lnTo>
                    <a:pt x="56" y="848"/>
                  </a:lnTo>
                  <a:lnTo>
                    <a:pt x="50" y="858"/>
                  </a:lnTo>
                  <a:lnTo>
                    <a:pt x="42" y="880"/>
                  </a:lnTo>
                  <a:lnTo>
                    <a:pt x="34" y="906"/>
                  </a:lnTo>
                  <a:lnTo>
                    <a:pt x="30" y="936"/>
                  </a:lnTo>
                  <a:lnTo>
                    <a:pt x="30" y="936"/>
                  </a:lnTo>
                  <a:lnTo>
                    <a:pt x="26" y="960"/>
                  </a:lnTo>
                  <a:lnTo>
                    <a:pt x="20" y="980"/>
                  </a:lnTo>
                  <a:lnTo>
                    <a:pt x="6" y="1020"/>
                  </a:lnTo>
                  <a:lnTo>
                    <a:pt x="2" y="1040"/>
                  </a:lnTo>
                  <a:lnTo>
                    <a:pt x="0" y="1058"/>
                  </a:lnTo>
                  <a:lnTo>
                    <a:pt x="0" y="1078"/>
                  </a:lnTo>
                  <a:lnTo>
                    <a:pt x="4" y="1096"/>
                  </a:lnTo>
                  <a:lnTo>
                    <a:pt x="4" y="1096"/>
                  </a:lnTo>
                  <a:lnTo>
                    <a:pt x="50" y="1116"/>
                  </a:lnTo>
                  <a:lnTo>
                    <a:pt x="98" y="1132"/>
                  </a:lnTo>
                  <a:lnTo>
                    <a:pt x="98" y="1132"/>
                  </a:lnTo>
                  <a:lnTo>
                    <a:pt x="98" y="1164"/>
                  </a:lnTo>
                  <a:lnTo>
                    <a:pt x="96" y="1208"/>
                  </a:lnTo>
                  <a:lnTo>
                    <a:pt x="96" y="1232"/>
                  </a:lnTo>
                  <a:lnTo>
                    <a:pt x="92" y="1256"/>
                  </a:lnTo>
                  <a:lnTo>
                    <a:pt x="88" y="1280"/>
                  </a:lnTo>
                  <a:lnTo>
                    <a:pt x="82" y="1300"/>
                  </a:lnTo>
                  <a:lnTo>
                    <a:pt x="82" y="1300"/>
                  </a:lnTo>
                  <a:lnTo>
                    <a:pt x="78" y="1296"/>
                  </a:lnTo>
                  <a:lnTo>
                    <a:pt x="74" y="1296"/>
                  </a:lnTo>
                  <a:lnTo>
                    <a:pt x="74" y="1296"/>
                  </a:lnTo>
                  <a:lnTo>
                    <a:pt x="70" y="1296"/>
                  </a:lnTo>
                  <a:lnTo>
                    <a:pt x="66" y="1300"/>
                  </a:lnTo>
                  <a:lnTo>
                    <a:pt x="58" y="1312"/>
                  </a:lnTo>
                  <a:lnTo>
                    <a:pt x="54" y="1326"/>
                  </a:lnTo>
                  <a:lnTo>
                    <a:pt x="52" y="1338"/>
                  </a:lnTo>
                  <a:lnTo>
                    <a:pt x="52" y="1338"/>
                  </a:lnTo>
                  <a:lnTo>
                    <a:pt x="54" y="1348"/>
                  </a:lnTo>
                  <a:lnTo>
                    <a:pt x="60" y="1358"/>
                  </a:lnTo>
                  <a:lnTo>
                    <a:pt x="64" y="1370"/>
                  </a:lnTo>
                  <a:lnTo>
                    <a:pt x="68" y="1384"/>
                  </a:lnTo>
                  <a:lnTo>
                    <a:pt x="68" y="1384"/>
                  </a:lnTo>
                  <a:lnTo>
                    <a:pt x="74" y="1410"/>
                  </a:lnTo>
                  <a:lnTo>
                    <a:pt x="74" y="1410"/>
                  </a:lnTo>
                  <a:lnTo>
                    <a:pt x="74" y="1424"/>
                  </a:lnTo>
                  <a:lnTo>
                    <a:pt x="76" y="1430"/>
                  </a:lnTo>
                  <a:lnTo>
                    <a:pt x="78" y="1432"/>
                  </a:lnTo>
                  <a:lnTo>
                    <a:pt x="82" y="1434"/>
                  </a:lnTo>
                  <a:lnTo>
                    <a:pt x="82" y="1434"/>
                  </a:lnTo>
                  <a:lnTo>
                    <a:pt x="84" y="1426"/>
                  </a:lnTo>
                  <a:lnTo>
                    <a:pt x="84" y="1418"/>
                  </a:lnTo>
                  <a:lnTo>
                    <a:pt x="84" y="1400"/>
                  </a:lnTo>
                  <a:lnTo>
                    <a:pt x="84" y="1384"/>
                  </a:lnTo>
                  <a:lnTo>
                    <a:pt x="86" y="1376"/>
                  </a:lnTo>
                  <a:lnTo>
                    <a:pt x="90" y="1372"/>
                  </a:lnTo>
                  <a:lnTo>
                    <a:pt x="90" y="1372"/>
                  </a:lnTo>
                  <a:lnTo>
                    <a:pt x="94" y="1372"/>
                  </a:lnTo>
                  <a:lnTo>
                    <a:pt x="98" y="1374"/>
                  </a:lnTo>
                  <a:lnTo>
                    <a:pt x="106" y="1382"/>
                  </a:lnTo>
                  <a:lnTo>
                    <a:pt x="110" y="1390"/>
                  </a:lnTo>
                  <a:lnTo>
                    <a:pt x="114" y="1402"/>
                  </a:lnTo>
                  <a:lnTo>
                    <a:pt x="122" y="1422"/>
                  </a:lnTo>
                  <a:lnTo>
                    <a:pt x="126" y="1432"/>
                  </a:lnTo>
                  <a:lnTo>
                    <a:pt x="132" y="1438"/>
                  </a:lnTo>
                  <a:lnTo>
                    <a:pt x="132" y="1438"/>
                  </a:lnTo>
                  <a:lnTo>
                    <a:pt x="142" y="1440"/>
                  </a:lnTo>
                  <a:lnTo>
                    <a:pt x="156" y="1442"/>
                  </a:lnTo>
                  <a:lnTo>
                    <a:pt x="174" y="1442"/>
                  </a:lnTo>
                  <a:lnTo>
                    <a:pt x="190" y="1438"/>
                  </a:lnTo>
                  <a:lnTo>
                    <a:pt x="204" y="1434"/>
                  </a:lnTo>
                  <a:lnTo>
                    <a:pt x="216" y="1428"/>
                  </a:lnTo>
                  <a:lnTo>
                    <a:pt x="220" y="1422"/>
                  </a:lnTo>
                  <a:lnTo>
                    <a:pt x="224" y="1418"/>
                  </a:lnTo>
                  <a:lnTo>
                    <a:pt x="224" y="1414"/>
                  </a:lnTo>
                  <a:lnTo>
                    <a:pt x="224" y="1408"/>
                  </a:lnTo>
                  <a:lnTo>
                    <a:pt x="224" y="1408"/>
                  </a:lnTo>
                  <a:lnTo>
                    <a:pt x="176" y="1402"/>
                  </a:lnTo>
                  <a:lnTo>
                    <a:pt x="176" y="1402"/>
                  </a:lnTo>
                  <a:lnTo>
                    <a:pt x="168" y="1394"/>
                  </a:lnTo>
                  <a:lnTo>
                    <a:pt x="162" y="1384"/>
                  </a:lnTo>
                  <a:lnTo>
                    <a:pt x="158" y="1374"/>
                  </a:lnTo>
                  <a:lnTo>
                    <a:pt x="154" y="1364"/>
                  </a:lnTo>
                  <a:lnTo>
                    <a:pt x="148" y="1342"/>
                  </a:lnTo>
                  <a:lnTo>
                    <a:pt x="148" y="1320"/>
                  </a:lnTo>
                  <a:lnTo>
                    <a:pt x="148" y="1300"/>
                  </a:lnTo>
                  <a:lnTo>
                    <a:pt x="150" y="1284"/>
                  </a:lnTo>
                  <a:lnTo>
                    <a:pt x="152" y="1268"/>
                  </a:lnTo>
                  <a:lnTo>
                    <a:pt x="152" y="1268"/>
                  </a:lnTo>
                  <a:lnTo>
                    <a:pt x="160" y="1248"/>
                  </a:lnTo>
                  <a:lnTo>
                    <a:pt x="168" y="1220"/>
                  </a:lnTo>
                  <a:lnTo>
                    <a:pt x="186" y="1156"/>
                  </a:lnTo>
                  <a:lnTo>
                    <a:pt x="186" y="1156"/>
                  </a:lnTo>
                  <a:lnTo>
                    <a:pt x="224" y="1160"/>
                  </a:lnTo>
                  <a:lnTo>
                    <a:pt x="262" y="1164"/>
                  </a:lnTo>
                  <a:lnTo>
                    <a:pt x="300" y="1168"/>
                  </a:lnTo>
                  <a:lnTo>
                    <a:pt x="338" y="1168"/>
                  </a:lnTo>
                  <a:lnTo>
                    <a:pt x="338" y="1168"/>
                  </a:lnTo>
                  <a:lnTo>
                    <a:pt x="350" y="1154"/>
                  </a:lnTo>
                  <a:lnTo>
                    <a:pt x="358" y="1136"/>
                  </a:lnTo>
                  <a:lnTo>
                    <a:pt x="362" y="1118"/>
                  </a:lnTo>
                  <a:lnTo>
                    <a:pt x="366" y="1100"/>
                  </a:lnTo>
                  <a:lnTo>
                    <a:pt x="370" y="1058"/>
                  </a:lnTo>
                  <a:lnTo>
                    <a:pt x="374" y="1038"/>
                  </a:lnTo>
                  <a:lnTo>
                    <a:pt x="380" y="1016"/>
                  </a:lnTo>
                  <a:lnTo>
                    <a:pt x="380" y="1016"/>
                  </a:lnTo>
                  <a:lnTo>
                    <a:pt x="400" y="1104"/>
                  </a:lnTo>
                  <a:lnTo>
                    <a:pt x="410" y="1146"/>
                  </a:lnTo>
                  <a:lnTo>
                    <a:pt x="416" y="1162"/>
                  </a:lnTo>
                  <a:lnTo>
                    <a:pt x="422" y="1172"/>
                  </a:lnTo>
                  <a:lnTo>
                    <a:pt x="422" y="1172"/>
                  </a:lnTo>
                  <a:lnTo>
                    <a:pt x="444" y="1210"/>
                  </a:lnTo>
                  <a:lnTo>
                    <a:pt x="460" y="1246"/>
                  </a:lnTo>
                  <a:lnTo>
                    <a:pt x="474" y="1276"/>
                  </a:lnTo>
                  <a:lnTo>
                    <a:pt x="484" y="1302"/>
                  </a:lnTo>
                  <a:lnTo>
                    <a:pt x="484" y="1302"/>
                  </a:lnTo>
                  <a:lnTo>
                    <a:pt x="484" y="1302"/>
                  </a:lnTo>
                  <a:lnTo>
                    <a:pt x="472" y="1316"/>
                  </a:lnTo>
                  <a:lnTo>
                    <a:pt x="468" y="1328"/>
                  </a:lnTo>
                  <a:lnTo>
                    <a:pt x="468" y="1338"/>
                  </a:lnTo>
                  <a:lnTo>
                    <a:pt x="470" y="1350"/>
                  </a:lnTo>
                  <a:lnTo>
                    <a:pt x="476" y="1360"/>
                  </a:lnTo>
                  <a:lnTo>
                    <a:pt x="484" y="1370"/>
                  </a:lnTo>
                  <a:lnTo>
                    <a:pt x="498" y="1392"/>
                  </a:lnTo>
                  <a:lnTo>
                    <a:pt x="498" y="1392"/>
                  </a:lnTo>
                  <a:lnTo>
                    <a:pt x="504" y="1406"/>
                  </a:lnTo>
                  <a:lnTo>
                    <a:pt x="510" y="1420"/>
                  </a:lnTo>
                  <a:lnTo>
                    <a:pt x="514" y="1430"/>
                  </a:lnTo>
                  <a:lnTo>
                    <a:pt x="518" y="1436"/>
                  </a:lnTo>
                  <a:lnTo>
                    <a:pt x="522" y="1440"/>
                  </a:lnTo>
                  <a:lnTo>
                    <a:pt x="522" y="1440"/>
                  </a:lnTo>
                  <a:lnTo>
                    <a:pt x="524" y="1432"/>
                  </a:lnTo>
                  <a:lnTo>
                    <a:pt x="522" y="1422"/>
                  </a:lnTo>
                  <a:lnTo>
                    <a:pt x="516" y="1404"/>
                  </a:lnTo>
                  <a:lnTo>
                    <a:pt x="514" y="1394"/>
                  </a:lnTo>
                  <a:lnTo>
                    <a:pt x="512" y="1386"/>
                  </a:lnTo>
                  <a:lnTo>
                    <a:pt x="514" y="1378"/>
                  </a:lnTo>
                  <a:lnTo>
                    <a:pt x="520" y="1372"/>
                  </a:lnTo>
                  <a:lnTo>
                    <a:pt x="520" y="1372"/>
                  </a:lnTo>
                  <a:lnTo>
                    <a:pt x="528" y="1374"/>
                  </a:lnTo>
                  <a:lnTo>
                    <a:pt x="538" y="1380"/>
                  </a:lnTo>
                  <a:lnTo>
                    <a:pt x="544" y="1388"/>
                  </a:lnTo>
                  <a:lnTo>
                    <a:pt x="552" y="1398"/>
                  </a:lnTo>
                  <a:lnTo>
                    <a:pt x="558" y="1406"/>
                  </a:lnTo>
                  <a:lnTo>
                    <a:pt x="564" y="1416"/>
                  </a:lnTo>
                  <a:lnTo>
                    <a:pt x="574" y="1422"/>
                  </a:lnTo>
                  <a:lnTo>
                    <a:pt x="582" y="1426"/>
                  </a:lnTo>
                  <a:lnTo>
                    <a:pt x="582" y="1426"/>
                  </a:lnTo>
                  <a:lnTo>
                    <a:pt x="594" y="1426"/>
                  </a:lnTo>
                  <a:lnTo>
                    <a:pt x="608" y="1422"/>
                  </a:lnTo>
                  <a:lnTo>
                    <a:pt x="622" y="1416"/>
                  </a:lnTo>
                  <a:lnTo>
                    <a:pt x="636" y="1408"/>
                  </a:lnTo>
                  <a:lnTo>
                    <a:pt x="648" y="1398"/>
                  </a:lnTo>
                  <a:lnTo>
                    <a:pt x="654" y="1388"/>
                  </a:lnTo>
                  <a:lnTo>
                    <a:pt x="656" y="1384"/>
                  </a:lnTo>
                  <a:lnTo>
                    <a:pt x="656" y="1378"/>
                  </a:lnTo>
                  <a:lnTo>
                    <a:pt x="654" y="1374"/>
                  </a:lnTo>
                  <a:lnTo>
                    <a:pt x="650" y="1368"/>
                  </a:lnTo>
                  <a:lnTo>
                    <a:pt x="650" y="1368"/>
                  </a:lnTo>
                  <a:close/>
                  <a:moveTo>
                    <a:pt x="406" y="824"/>
                  </a:moveTo>
                  <a:lnTo>
                    <a:pt x="406" y="824"/>
                  </a:lnTo>
                  <a:lnTo>
                    <a:pt x="406" y="824"/>
                  </a:lnTo>
                  <a:lnTo>
                    <a:pt x="410" y="814"/>
                  </a:lnTo>
                  <a:lnTo>
                    <a:pt x="410" y="814"/>
                  </a:lnTo>
                  <a:lnTo>
                    <a:pt x="410" y="814"/>
                  </a:lnTo>
                  <a:lnTo>
                    <a:pt x="412" y="826"/>
                  </a:lnTo>
                  <a:lnTo>
                    <a:pt x="412" y="826"/>
                  </a:lnTo>
                  <a:lnTo>
                    <a:pt x="406" y="824"/>
                  </a:lnTo>
                  <a:lnTo>
                    <a:pt x="406" y="8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151">
              <a:extLst>
                <a:ext uri="{FF2B5EF4-FFF2-40B4-BE49-F238E27FC236}">
                  <a16:creationId xmlns:a16="http://schemas.microsoft.com/office/drawing/2014/main" id="{D15C4A9E-8B6A-4AA7-85DE-83878BAD89D0}"/>
                </a:ext>
              </a:extLst>
            </p:cNvPr>
            <p:cNvSpPr>
              <a:spLocks/>
            </p:cNvSpPr>
            <p:nvPr/>
          </p:nvSpPr>
          <p:spPr bwMode="auto">
            <a:xfrm>
              <a:off x="4700588" y="4273550"/>
              <a:ext cx="304800" cy="317500"/>
            </a:xfrm>
            <a:custGeom>
              <a:avLst/>
              <a:gdLst>
                <a:gd name="T0" fmla="*/ 102 w 192"/>
                <a:gd name="T1" fmla="*/ 58 h 200"/>
                <a:gd name="T2" fmla="*/ 78 w 192"/>
                <a:gd name="T3" fmla="*/ 34 h 200"/>
                <a:gd name="T4" fmla="*/ 74 w 192"/>
                <a:gd name="T5" fmla="*/ 32 h 200"/>
                <a:gd name="T6" fmla="*/ 58 w 192"/>
                <a:gd name="T7" fmla="*/ 28 h 200"/>
                <a:gd name="T8" fmla="*/ 22 w 192"/>
                <a:gd name="T9" fmla="*/ 2 h 200"/>
                <a:gd name="T10" fmla="*/ 12 w 192"/>
                <a:gd name="T11" fmla="*/ 0 h 200"/>
                <a:gd name="T12" fmla="*/ 8 w 192"/>
                <a:gd name="T13" fmla="*/ 0 h 200"/>
                <a:gd name="T14" fmla="*/ 0 w 192"/>
                <a:gd name="T15" fmla="*/ 16 h 200"/>
                <a:gd name="T16" fmla="*/ 6 w 192"/>
                <a:gd name="T17" fmla="*/ 28 h 200"/>
                <a:gd name="T18" fmla="*/ 40 w 192"/>
                <a:gd name="T19" fmla="*/ 56 h 200"/>
                <a:gd name="T20" fmla="*/ 44 w 192"/>
                <a:gd name="T21" fmla="*/ 64 h 200"/>
                <a:gd name="T22" fmla="*/ 52 w 192"/>
                <a:gd name="T23" fmla="*/ 76 h 200"/>
                <a:gd name="T24" fmla="*/ 56 w 192"/>
                <a:gd name="T25" fmla="*/ 76 h 200"/>
                <a:gd name="T26" fmla="*/ 74 w 192"/>
                <a:gd name="T27" fmla="*/ 68 h 200"/>
                <a:gd name="T28" fmla="*/ 86 w 192"/>
                <a:gd name="T29" fmla="*/ 64 h 200"/>
                <a:gd name="T30" fmla="*/ 94 w 192"/>
                <a:gd name="T31" fmla="*/ 68 h 200"/>
                <a:gd name="T32" fmla="*/ 102 w 192"/>
                <a:gd name="T33" fmla="*/ 76 h 200"/>
                <a:gd name="T34" fmla="*/ 132 w 192"/>
                <a:gd name="T35" fmla="*/ 108 h 200"/>
                <a:gd name="T36" fmla="*/ 158 w 192"/>
                <a:gd name="T37" fmla="*/ 138 h 200"/>
                <a:gd name="T38" fmla="*/ 164 w 192"/>
                <a:gd name="T39" fmla="*/ 152 h 200"/>
                <a:gd name="T40" fmla="*/ 174 w 192"/>
                <a:gd name="T41" fmla="*/ 186 h 200"/>
                <a:gd name="T42" fmla="*/ 178 w 192"/>
                <a:gd name="T43" fmla="*/ 198 h 200"/>
                <a:gd name="T44" fmla="*/ 180 w 192"/>
                <a:gd name="T45" fmla="*/ 198 h 200"/>
                <a:gd name="T46" fmla="*/ 168 w 192"/>
                <a:gd name="T47" fmla="*/ 160 h 200"/>
                <a:gd name="T48" fmla="*/ 150 w 192"/>
                <a:gd name="T49" fmla="*/ 106 h 200"/>
                <a:gd name="T50" fmla="*/ 150 w 192"/>
                <a:gd name="T51" fmla="*/ 98 h 200"/>
                <a:gd name="T52" fmla="*/ 156 w 192"/>
                <a:gd name="T53" fmla="*/ 84 h 200"/>
                <a:gd name="T54" fmla="*/ 166 w 192"/>
                <a:gd name="T55" fmla="*/ 76 h 200"/>
                <a:gd name="T56" fmla="*/ 190 w 192"/>
                <a:gd name="T57" fmla="*/ 70 h 200"/>
                <a:gd name="T58" fmla="*/ 192 w 192"/>
                <a:gd name="T59" fmla="*/ 70 h 200"/>
                <a:gd name="T60" fmla="*/ 182 w 192"/>
                <a:gd name="T61" fmla="*/ 64 h 200"/>
                <a:gd name="T62" fmla="*/ 156 w 192"/>
                <a:gd name="T63" fmla="*/ 52 h 200"/>
                <a:gd name="T64" fmla="*/ 120 w 192"/>
                <a:gd name="T65" fmla="*/ 36 h 200"/>
                <a:gd name="T66" fmla="*/ 112 w 192"/>
                <a:gd name="T67" fmla="*/ 32 h 200"/>
                <a:gd name="T68" fmla="*/ 112 w 192"/>
                <a:gd name="T69" fmla="*/ 36 h 200"/>
                <a:gd name="T70" fmla="*/ 118 w 192"/>
                <a:gd name="T71" fmla="*/ 56 h 200"/>
                <a:gd name="T72" fmla="*/ 130 w 192"/>
                <a:gd name="T73" fmla="*/ 76 h 200"/>
                <a:gd name="T74" fmla="*/ 136 w 192"/>
                <a:gd name="T75" fmla="*/ 90 h 200"/>
                <a:gd name="T76" fmla="*/ 132 w 192"/>
                <a:gd name="T77" fmla="*/ 98 h 200"/>
                <a:gd name="T78" fmla="*/ 128 w 192"/>
                <a:gd name="T79" fmla="*/ 94 h 200"/>
                <a:gd name="T80" fmla="*/ 102 w 192"/>
                <a:gd name="T81" fmla="*/ 5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2" h="200">
                  <a:moveTo>
                    <a:pt x="102" y="58"/>
                  </a:moveTo>
                  <a:lnTo>
                    <a:pt x="102" y="58"/>
                  </a:lnTo>
                  <a:lnTo>
                    <a:pt x="84" y="38"/>
                  </a:lnTo>
                  <a:lnTo>
                    <a:pt x="78" y="34"/>
                  </a:lnTo>
                  <a:lnTo>
                    <a:pt x="74" y="32"/>
                  </a:lnTo>
                  <a:lnTo>
                    <a:pt x="74" y="32"/>
                  </a:lnTo>
                  <a:lnTo>
                    <a:pt x="66" y="32"/>
                  </a:lnTo>
                  <a:lnTo>
                    <a:pt x="58" y="28"/>
                  </a:lnTo>
                  <a:lnTo>
                    <a:pt x="40" y="14"/>
                  </a:lnTo>
                  <a:lnTo>
                    <a:pt x="22" y="2"/>
                  </a:lnTo>
                  <a:lnTo>
                    <a:pt x="14" y="0"/>
                  </a:lnTo>
                  <a:lnTo>
                    <a:pt x="12" y="0"/>
                  </a:lnTo>
                  <a:lnTo>
                    <a:pt x="8" y="0"/>
                  </a:lnTo>
                  <a:lnTo>
                    <a:pt x="8" y="0"/>
                  </a:lnTo>
                  <a:lnTo>
                    <a:pt x="2" y="8"/>
                  </a:lnTo>
                  <a:lnTo>
                    <a:pt x="0" y="16"/>
                  </a:lnTo>
                  <a:lnTo>
                    <a:pt x="0" y="22"/>
                  </a:lnTo>
                  <a:lnTo>
                    <a:pt x="6" y="28"/>
                  </a:lnTo>
                  <a:lnTo>
                    <a:pt x="20" y="40"/>
                  </a:lnTo>
                  <a:lnTo>
                    <a:pt x="40" y="56"/>
                  </a:lnTo>
                  <a:lnTo>
                    <a:pt x="40" y="56"/>
                  </a:lnTo>
                  <a:lnTo>
                    <a:pt x="44" y="64"/>
                  </a:lnTo>
                  <a:lnTo>
                    <a:pt x="48" y="70"/>
                  </a:lnTo>
                  <a:lnTo>
                    <a:pt x="52" y="76"/>
                  </a:lnTo>
                  <a:lnTo>
                    <a:pt x="54" y="78"/>
                  </a:lnTo>
                  <a:lnTo>
                    <a:pt x="56" y="76"/>
                  </a:lnTo>
                  <a:lnTo>
                    <a:pt x="56" y="76"/>
                  </a:lnTo>
                  <a:lnTo>
                    <a:pt x="74" y="68"/>
                  </a:lnTo>
                  <a:lnTo>
                    <a:pt x="80" y="66"/>
                  </a:lnTo>
                  <a:lnTo>
                    <a:pt x="86" y="64"/>
                  </a:lnTo>
                  <a:lnTo>
                    <a:pt x="90" y="66"/>
                  </a:lnTo>
                  <a:lnTo>
                    <a:pt x="94" y="68"/>
                  </a:lnTo>
                  <a:lnTo>
                    <a:pt x="102" y="76"/>
                  </a:lnTo>
                  <a:lnTo>
                    <a:pt x="102" y="76"/>
                  </a:lnTo>
                  <a:lnTo>
                    <a:pt x="116" y="92"/>
                  </a:lnTo>
                  <a:lnTo>
                    <a:pt x="132" y="108"/>
                  </a:lnTo>
                  <a:lnTo>
                    <a:pt x="146" y="122"/>
                  </a:lnTo>
                  <a:lnTo>
                    <a:pt x="158" y="138"/>
                  </a:lnTo>
                  <a:lnTo>
                    <a:pt x="158" y="138"/>
                  </a:lnTo>
                  <a:lnTo>
                    <a:pt x="164" y="152"/>
                  </a:lnTo>
                  <a:lnTo>
                    <a:pt x="170" y="170"/>
                  </a:lnTo>
                  <a:lnTo>
                    <a:pt x="174" y="186"/>
                  </a:lnTo>
                  <a:lnTo>
                    <a:pt x="178" y="198"/>
                  </a:lnTo>
                  <a:lnTo>
                    <a:pt x="178" y="198"/>
                  </a:lnTo>
                  <a:lnTo>
                    <a:pt x="180" y="200"/>
                  </a:lnTo>
                  <a:lnTo>
                    <a:pt x="180" y="198"/>
                  </a:lnTo>
                  <a:lnTo>
                    <a:pt x="178" y="192"/>
                  </a:lnTo>
                  <a:lnTo>
                    <a:pt x="168" y="160"/>
                  </a:lnTo>
                  <a:lnTo>
                    <a:pt x="154" y="122"/>
                  </a:lnTo>
                  <a:lnTo>
                    <a:pt x="150" y="106"/>
                  </a:lnTo>
                  <a:lnTo>
                    <a:pt x="150" y="98"/>
                  </a:lnTo>
                  <a:lnTo>
                    <a:pt x="150" y="98"/>
                  </a:lnTo>
                  <a:lnTo>
                    <a:pt x="152" y="90"/>
                  </a:lnTo>
                  <a:lnTo>
                    <a:pt x="156" y="84"/>
                  </a:lnTo>
                  <a:lnTo>
                    <a:pt x="160" y="80"/>
                  </a:lnTo>
                  <a:lnTo>
                    <a:pt x="166" y="76"/>
                  </a:lnTo>
                  <a:lnTo>
                    <a:pt x="180" y="72"/>
                  </a:lnTo>
                  <a:lnTo>
                    <a:pt x="190" y="70"/>
                  </a:lnTo>
                  <a:lnTo>
                    <a:pt x="190" y="70"/>
                  </a:lnTo>
                  <a:lnTo>
                    <a:pt x="192" y="70"/>
                  </a:lnTo>
                  <a:lnTo>
                    <a:pt x="192" y="68"/>
                  </a:lnTo>
                  <a:lnTo>
                    <a:pt x="182" y="64"/>
                  </a:lnTo>
                  <a:lnTo>
                    <a:pt x="156" y="52"/>
                  </a:lnTo>
                  <a:lnTo>
                    <a:pt x="156" y="52"/>
                  </a:lnTo>
                  <a:lnTo>
                    <a:pt x="134" y="44"/>
                  </a:lnTo>
                  <a:lnTo>
                    <a:pt x="120" y="36"/>
                  </a:lnTo>
                  <a:lnTo>
                    <a:pt x="114" y="32"/>
                  </a:lnTo>
                  <a:lnTo>
                    <a:pt x="112" y="32"/>
                  </a:lnTo>
                  <a:lnTo>
                    <a:pt x="112" y="36"/>
                  </a:lnTo>
                  <a:lnTo>
                    <a:pt x="112" y="36"/>
                  </a:lnTo>
                  <a:lnTo>
                    <a:pt x="114" y="46"/>
                  </a:lnTo>
                  <a:lnTo>
                    <a:pt x="118" y="56"/>
                  </a:lnTo>
                  <a:lnTo>
                    <a:pt x="130" y="76"/>
                  </a:lnTo>
                  <a:lnTo>
                    <a:pt x="130" y="76"/>
                  </a:lnTo>
                  <a:lnTo>
                    <a:pt x="134" y="84"/>
                  </a:lnTo>
                  <a:lnTo>
                    <a:pt x="136" y="90"/>
                  </a:lnTo>
                  <a:lnTo>
                    <a:pt x="136" y="96"/>
                  </a:lnTo>
                  <a:lnTo>
                    <a:pt x="132" y="98"/>
                  </a:lnTo>
                  <a:lnTo>
                    <a:pt x="132" y="98"/>
                  </a:lnTo>
                  <a:lnTo>
                    <a:pt x="128" y="94"/>
                  </a:lnTo>
                  <a:lnTo>
                    <a:pt x="122" y="84"/>
                  </a:lnTo>
                  <a:lnTo>
                    <a:pt x="102" y="58"/>
                  </a:lnTo>
                  <a:lnTo>
                    <a:pt x="102" y="5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 name="Group 890">
            <a:extLst>
              <a:ext uri="{FF2B5EF4-FFF2-40B4-BE49-F238E27FC236}">
                <a16:creationId xmlns:a16="http://schemas.microsoft.com/office/drawing/2014/main" id="{A76C84B4-BB3A-49C8-9D49-347FE552FA0D}"/>
              </a:ext>
            </a:extLst>
          </p:cNvPr>
          <p:cNvGrpSpPr/>
          <p:nvPr/>
        </p:nvGrpSpPr>
        <p:grpSpPr>
          <a:xfrm>
            <a:off x="8899646" y="4997681"/>
            <a:ext cx="479694" cy="542063"/>
            <a:chOff x="6389688" y="4340225"/>
            <a:chExt cx="1311275" cy="1397000"/>
          </a:xfrm>
        </p:grpSpPr>
        <p:sp>
          <p:nvSpPr>
            <p:cNvPr id="11" name="Freeform 85">
              <a:extLst>
                <a:ext uri="{FF2B5EF4-FFF2-40B4-BE49-F238E27FC236}">
                  <a16:creationId xmlns:a16="http://schemas.microsoft.com/office/drawing/2014/main" id="{ABA0BAC8-053C-4971-B6A6-EEF2E03CB101}"/>
                </a:ext>
              </a:extLst>
            </p:cNvPr>
            <p:cNvSpPr>
              <a:spLocks/>
            </p:cNvSpPr>
            <p:nvPr/>
          </p:nvSpPr>
          <p:spPr bwMode="auto">
            <a:xfrm>
              <a:off x="7153276" y="4440238"/>
              <a:ext cx="41275" cy="22225"/>
            </a:xfrm>
            <a:custGeom>
              <a:avLst/>
              <a:gdLst>
                <a:gd name="T0" fmla="*/ 26 w 26"/>
                <a:gd name="T1" fmla="*/ 9 h 14"/>
                <a:gd name="T2" fmla="*/ 20 w 26"/>
                <a:gd name="T3" fmla="*/ 0 h 14"/>
                <a:gd name="T4" fmla="*/ 0 w 26"/>
                <a:gd name="T5" fmla="*/ 14 h 14"/>
                <a:gd name="T6" fmla="*/ 0 w 26"/>
                <a:gd name="T7" fmla="*/ 14 h 14"/>
                <a:gd name="T8" fmla="*/ 10 w 26"/>
                <a:gd name="T9" fmla="*/ 14 h 14"/>
                <a:gd name="T10" fmla="*/ 18 w 26"/>
                <a:gd name="T11" fmla="*/ 11 h 14"/>
                <a:gd name="T12" fmla="*/ 26 w 26"/>
                <a:gd name="T13" fmla="*/ 9 h 14"/>
                <a:gd name="T14" fmla="*/ 26 w 26"/>
                <a:gd name="T15" fmla="*/ 9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4">
                  <a:moveTo>
                    <a:pt x="26" y="9"/>
                  </a:moveTo>
                  <a:lnTo>
                    <a:pt x="20" y="0"/>
                  </a:lnTo>
                  <a:lnTo>
                    <a:pt x="0" y="14"/>
                  </a:lnTo>
                  <a:lnTo>
                    <a:pt x="0" y="14"/>
                  </a:lnTo>
                  <a:lnTo>
                    <a:pt x="10" y="14"/>
                  </a:lnTo>
                  <a:lnTo>
                    <a:pt x="18" y="11"/>
                  </a:lnTo>
                  <a:lnTo>
                    <a:pt x="26" y="9"/>
                  </a:lnTo>
                  <a:lnTo>
                    <a:pt x="26" y="9"/>
                  </a:lnTo>
                  <a:close/>
                </a:path>
              </a:pathLst>
            </a:custGeom>
            <a:solidFill>
              <a:srgbClr val="8F8F8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86">
              <a:extLst>
                <a:ext uri="{FF2B5EF4-FFF2-40B4-BE49-F238E27FC236}">
                  <a16:creationId xmlns:a16="http://schemas.microsoft.com/office/drawing/2014/main" id="{E6718B2B-1F36-4FFD-908F-514C72D52E3A}"/>
                </a:ext>
              </a:extLst>
            </p:cNvPr>
            <p:cNvSpPr>
              <a:spLocks noEditPoints="1"/>
            </p:cNvSpPr>
            <p:nvPr/>
          </p:nvSpPr>
          <p:spPr bwMode="auto">
            <a:xfrm>
              <a:off x="6973888" y="4351338"/>
              <a:ext cx="195263" cy="120650"/>
            </a:xfrm>
            <a:custGeom>
              <a:avLst/>
              <a:gdLst>
                <a:gd name="T0" fmla="*/ 123 w 123"/>
                <a:gd name="T1" fmla="*/ 34 h 76"/>
                <a:gd name="T2" fmla="*/ 123 w 123"/>
                <a:gd name="T3" fmla="*/ 34 h 76"/>
                <a:gd name="T4" fmla="*/ 119 w 123"/>
                <a:gd name="T5" fmla="*/ 27 h 76"/>
                <a:gd name="T6" fmla="*/ 113 w 123"/>
                <a:gd name="T7" fmla="*/ 19 h 76"/>
                <a:gd name="T8" fmla="*/ 106 w 123"/>
                <a:gd name="T9" fmla="*/ 11 h 76"/>
                <a:gd name="T10" fmla="*/ 106 w 123"/>
                <a:gd name="T11" fmla="*/ 19 h 76"/>
                <a:gd name="T12" fmla="*/ 106 w 123"/>
                <a:gd name="T13" fmla="*/ 19 h 76"/>
                <a:gd name="T14" fmla="*/ 100 w 123"/>
                <a:gd name="T15" fmla="*/ 11 h 76"/>
                <a:gd name="T16" fmla="*/ 94 w 123"/>
                <a:gd name="T17" fmla="*/ 5 h 76"/>
                <a:gd name="T18" fmla="*/ 88 w 123"/>
                <a:gd name="T19" fmla="*/ 2 h 76"/>
                <a:gd name="T20" fmla="*/ 80 w 123"/>
                <a:gd name="T21" fmla="*/ 0 h 76"/>
                <a:gd name="T22" fmla="*/ 73 w 123"/>
                <a:gd name="T23" fmla="*/ 0 h 76"/>
                <a:gd name="T24" fmla="*/ 66 w 123"/>
                <a:gd name="T25" fmla="*/ 0 h 76"/>
                <a:gd name="T26" fmla="*/ 51 w 123"/>
                <a:gd name="T27" fmla="*/ 2 h 76"/>
                <a:gd name="T28" fmla="*/ 51 w 123"/>
                <a:gd name="T29" fmla="*/ 2 h 76"/>
                <a:gd name="T30" fmla="*/ 45 w 123"/>
                <a:gd name="T31" fmla="*/ 5 h 76"/>
                <a:gd name="T32" fmla="*/ 39 w 123"/>
                <a:gd name="T33" fmla="*/ 10 h 76"/>
                <a:gd name="T34" fmla="*/ 34 w 123"/>
                <a:gd name="T35" fmla="*/ 16 h 76"/>
                <a:gd name="T36" fmla="*/ 29 w 123"/>
                <a:gd name="T37" fmla="*/ 24 h 76"/>
                <a:gd name="T38" fmla="*/ 25 w 123"/>
                <a:gd name="T39" fmla="*/ 34 h 76"/>
                <a:gd name="T40" fmla="*/ 22 w 123"/>
                <a:gd name="T41" fmla="*/ 40 h 76"/>
                <a:gd name="T42" fmla="*/ 22 w 123"/>
                <a:gd name="T43" fmla="*/ 40 h 76"/>
                <a:gd name="T44" fmla="*/ 23 w 123"/>
                <a:gd name="T45" fmla="*/ 30 h 76"/>
                <a:gd name="T46" fmla="*/ 26 w 123"/>
                <a:gd name="T47" fmla="*/ 20 h 76"/>
                <a:gd name="T48" fmla="*/ 29 w 123"/>
                <a:gd name="T49" fmla="*/ 11 h 76"/>
                <a:gd name="T50" fmla="*/ 29 w 123"/>
                <a:gd name="T51" fmla="*/ 11 h 76"/>
                <a:gd name="T52" fmla="*/ 25 w 123"/>
                <a:gd name="T53" fmla="*/ 14 h 76"/>
                <a:gd name="T54" fmla="*/ 20 w 123"/>
                <a:gd name="T55" fmla="*/ 19 h 76"/>
                <a:gd name="T56" fmla="*/ 17 w 123"/>
                <a:gd name="T57" fmla="*/ 25 h 76"/>
                <a:gd name="T58" fmla="*/ 16 w 123"/>
                <a:gd name="T59" fmla="*/ 30 h 76"/>
                <a:gd name="T60" fmla="*/ 11 w 123"/>
                <a:gd name="T61" fmla="*/ 42 h 76"/>
                <a:gd name="T62" fmla="*/ 9 w 123"/>
                <a:gd name="T63" fmla="*/ 53 h 76"/>
                <a:gd name="T64" fmla="*/ 9 w 123"/>
                <a:gd name="T65" fmla="*/ 53 h 76"/>
                <a:gd name="T66" fmla="*/ 6 w 123"/>
                <a:gd name="T67" fmla="*/ 62 h 76"/>
                <a:gd name="T68" fmla="*/ 3 w 123"/>
                <a:gd name="T69" fmla="*/ 67 h 76"/>
                <a:gd name="T70" fmla="*/ 0 w 123"/>
                <a:gd name="T71" fmla="*/ 71 h 76"/>
                <a:gd name="T72" fmla="*/ 16 w 123"/>
                <a:gd name="T73" fmla="*/ 71 h 76"/>
                <a:gd name="T74" fmla="*/ 16 w 123"/>
                <a:gd name="T75" fmla="*/ 74 h 76"/>
                <a:gd name="T76" fmla="*/ 69 w 123"/>
                <a:gd name="T77" fmla="*/ 76 h 76"/>
                <a:gd name="T78" fmla="*/ 123 w 123"/>
                <a:gd name="T79" fmla="*/ 34 h 76"/>
                <a:gd name="T80" fmla="*/ 25 w 123"/>
                <a:gd name="T81" fmla="*/ 67 h 76"/>
                <a:gd name="T82" fmla="*/ 25 w 123"/>
                <a:gd name="T83" fmla="*/ 67 h 76"/>
                <a:gd name="T84" fmla="*/ 25 w 123"/>
                <a:gd name="T85" fmla="*/ 53 h 76"/>
                <a:gd name="T86" fmla="*/ 45 w 123"/>
                <a:gd name="T87" fmla="*/ 53 h 76"/>
                <a:gd name="T88" fmla="*/ 45 w 123"/>
                <a:gd name="T89" fmla="*/ 53 h 76"/>
                <a:gd name="T90" fmla="*/ 36 w 123"/>
                <a:gd name="T91" fmla="*/ 54 h 76"/>
                <a:gd name="T92" fmla="*/ 29 w 123"/>
                <a:gd name="T93" fmla="*/ 57 h 76"/>
                <a:gd name="T94" fmla="*/ 26 w 123"/>
                <a:gd name="T95" fmla="*/ 62 h 76"/>
                <a:gd name="T96" fmla="*/ 25 w 123"/>
                <a:gd name="T97" fmla="*/ 67 h 76"/>
                <a:gd name="T98" fmla="*/ 25 w 123"/>
                <a:gd name="T99" fmla="*/ 67 h 76"/>
                <a:gd name="T100" fmla="*/ 68 w 123"/>
                <a:gd name="T101" fmla="*/ 67 h 76"/>
                <a:gd name="T102" fmla="*/ 68 w 123"/>
                <a:gd name="T103" fmla="*/ 53 h 76"/>
                <a:gd name="T104" fmla="*/ 88 w 123"/>
                <a:gd name="T105" fmla="*/ 53 h 76"/>
                <a:gd name="T106" fmla="*/ 88 w 123"/>
                <a:gd name="T107" fmla="*/ 53 h 76"/>
                <a:gd name="T108" fmla="*/ 79 w 123"/>
                <a:gd name="T109" fmla="*/ 54 h 76"/>
                <a:gd name="T110" fmla="*/ 74 w 123"/>
                <a:gd name="T111" fmla="*/ 57 h 76"/>
                <a:gd name="T112" fmla="*/ 71 w 123"/>
                <a:gd name="T113" fmla="*/ 62 h 76"/>
                <a:gd name="T114" fmla="*/ 69 w 123"/>
                <a:gd name="T115" fmla="*/ 67 h 76"/>
                <a:gd name="T116" fmla="*/ 68 w 123"/>
                <a:gd name="T117"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3" h="76">
                  <a:moveTo>
                    <a:pt x="123" y="34"/>
                  </a:moveTo>
                  <a:lnTo>
                    <a:pt x="123" y="34"/>
                  </a:lnTo>
                  <a:lnTo>
                    <a:pt x="119" y="27"/>
                  </a:lnTo>
                  <a:lnTo>
                    <a:pt x="113" y="19"/>
                  </a:lnTo>
                  <a:lnTo>
                    <a:pt x="106" y="11"/>
                  </a:lnTo>
                  <a:lnTo>
                    <a:pt x="106" y="19"/>
                  </a:lnTo>
                  <a:lnTo>
                    <a:pt x="106" y="19"/>
                  </a:lnTo>
                  <a:lnTo>
                    <a:pt x="100" y="11"/>
                  </a:lnTo>
                  <a:lnTo>
                    <a:pt x="94" y="5"/>
                  </a:lnTo>
                  <a:lnTo>
                    <a:pt x="88" y="2"/>
                  </a:lnTo>
                  <a:lnTo>
                    <a:pt x="80" y="0"/>
                  </a:lnTo>
                  <a:lnTo>
                    <a:pt x="73" y="0"/>
                  </a:lnTo>
                  <a:lnTo>
                    <a:pt x="66" y="0"/>
                  </a:lnTo>
                  <a:lnTo>
                    <a:pt x="51" y="2"/>
                  </a:lnTo>
                  <a:lnTo>
                    <a:pt x="51" y="2"/>
                  </a:lnTo>
                  <a:lnTo>
                    <a:pt x="45" y="5"/>
                  </a:lnTo>
                  <a:lnTo>
                    <a:pt x="39" y="10"/>
                  </a:lnTo>
                  <a:lnTo>
                    <a:pt x="34" y="16"/>
                  </a:lnTo>
                  <a:lnTo>
                    <a:pt x="29" y="24"/>
                  </a:lnTo>
                  <a:lnTo>
                    <a:pt x="25" y="34"/>
                  </a:lnTo>
                  <a:lnTo>
                    <a:pt x="22" y="40"/>
                  </a:lnTo>
                  <a:lnTo>
                    <a:pt x="22" y="40"/>
                  </a:lnTo>
                  <a:lnTo>
                    <a:pt x="23" y="30"/>
                  </a:lnTo>
                  <a:lnTo>
                    <a:pt x="26" y="20"/>
                  </a:lnTo>
                  <a:lnTo>
                    <a:pt x="29" y="11"/>
                  </a:lnTo>
                  <a:lnTo>
                    <a:pt x="29" y="11"/>
                  </a:lnTo>
                  <a:lnTo>
                    <a:pt x="25" y="14"/>
                  </a:lnTo>
                  <a:lnTo>
                    <a:pt x="20" y="19"/>
                  </a:lnTo>
                  <a:lnTo>
                    <a:pt x="17" y="25"/>
                  </a:lnTo>
                  <a:lnTo>
                    <a:pt x="16" y="30"/>
                  </a:lnTo>
                  <a:lnTo>
                    <a:pt x="11" y="42"/>
                  </a:lnTo>
                  <a:lnTo>
                    <a:pt x="9" y="53"/>
                  </a:lnTo>
                  <a:lnTo>
                    <a:pt x="9" y="53"/>
                  </a:lnTo>
                  <a:lnTo>
                    <a:pt x="6" y="62"/>
                  </a:lnTo>
                  <a:lnTo>
                    <a:pt x="3" y="67"/>
                  </a:lnTo>
                  <a:lnTo>
                    <a:pt x="0" y="71"/>
                  </a:lnTo>
                  <a:lnTo>
                    <a:pt x="16" y="71"/>
                  </a:lnTo>
                  <a:lnTo>
                    <a:pt x="16" y="74"/>
                  </a:lnTo>
                  <a:lnTo>
                    <a:pt x="69" y="76"/>
                  </a:lnTo>
                  <a:lnTo>
                    <a:pt x="123" y="34"/>
                  </a:lnTo>
                  <a:close/>
                  <a:moveTo>
                    <a:pt x="25" y="67"/>
                  </a:moveTo>
                  <a:lnTo>
                    <a:pt x="25" y="67"/>
                  </a:lnTo>
                  <a:lnTo>
                    <a:pt x="25" y="53"/>
                  </a:lnTo>
                  <a:lnTo>
                    <a:pt x="45" y="53"/>
                  </a:lnTo>
                  <a:lnTo>
                    <a:pt x="45" y="53"/>
                  </a:lnTo>
                  <a:lnTo>
                    <a:pt x="36" y="54"/>
                  </a:lnTo>
                  <a:lnTo>
                    <a:pt x="29" y="57"/>
                  </a:lnTo>
                  <a:lnTo>
                    <a:pt x="26" y="62"/>
                  </a:lnTo>
                  <a:lnTo>
                    <a:pt x="25" y="67"/>
                  </a:lnTo>
                  <a:lnTo>
                    <a:pt x="25" y="67"/>
                  </a:lnTo>
                  <a:close/>
                  <a:moveTo>
                    <a:pt x="68" y="67"/>
                  </a:moveTo>
                  <a:lnTo>
                    <a:pt x="68" y="53"/>
                  </a:lnTo>
                  <a:lnTo>
                    <a:pt x="88" y="53"/>
                  </a:lnTo>
                  <a:lnTo>
                    <a:pt x="88" y="53"/>
                  </a:lnTo>
                  <a:lnTo>
                    <a:pt x="79" y="54"/>
                  </a:lnTo>
                  <a:lnTo>
                    <a:pt x="74" y="57"/>
                  </a:lnTo>
                  <a:lnTo>
                    <a:pt x="71" y="62"/>
                  </a:lnTo>
                  <a:lnTo>
                    <a:pt x="69" y="67"/>
                  </a:lnTo>
                  <a:lnTo>
                    <a:pt x="68" y="67"/>
                  </a:lnTo>
                  <a:close/>
                </a:path>
              </a:pathLst>
            </a:custGeom>
            <a:solidFill>
              <a:srgbClr val="8F8F8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7">
              <a:extLst>
                <a:ext uri="{FF2B5EF4-FFF2-40B4-BE49-F238E27FC236}">
                  <a16:creationId xmlns:a16="http://schemas.microsoft.com/office/drawing/2014/main" id="{758531C6-A227-45B0-A3FE-84237BC950D8}"/>
                </a:ext>
              </a:extLst>
            </p:cNvPr>
            <p:cNvSpPr>
              <a:spLocks/>
            </p:cNvSpPr>
            <p:nvPr/>
          </p:nvSpPr>
          <p:spPr bwMode="auto">
            <a:xfrm>
              <a:off x="7081838" y="4435475"/>
              <a:ext cx="31750" cy="22225"/>
            </a:xfrm>
            <a:custGeom>
              <a:avLst/>
              <a:gdLst>
                <a:gd name="T0" fmla="*/ 20 w 20"/>
                <a:gd name="T1" fmla="*/ 0 h 14"/>
                <a:gd name="T2" fmla="*/ 0 w 20"/>
                <a:gd name="T3" fmla="*/ 0 h 14"/>
                <a:gd name="T4" fmla="*/ 0 w 20"/>
                <a:gd name="T5" fmla="*/ 14 h 14"/>
                <a:gd name="T6" fmla="*/ 1 w 20"/>
                <a:gd name="T7" fmla="*/ 14 h 14"/>
                <a:gd name="T8" fmla="*/ 1 w 20"/>
                <a:gd name="T9" fmla="*/ 14 h 14"/>
                <a:gd name="T10" fmla="*/ 3 w 20"/>
                <a:gd name="T11" fmla="*/ 9 h 14"/>
                <a:gd name="T12" fmla="*/ 6 w 20"/>
                <a:gd name="T13" fmla="*/ 4 h 14"/>
                <a:gd name="T14" fmla="*/ 11 w 20"/>
                <a:gd name="T15" fmla="*/ 1 h 14"/>
                <a:gd name="T16" fmla="*/ 20 w 20"/>
                <a:gd name="T17" fmla="*/ 0 h 14"/>
                <a:gd name="T18" fmla="*/ 20 w 20"/>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4">
                  <a:moveTo>
                    <a:pt x="20" y="0"/>
                  </a:moveTo>
                  <a:lnTo>
                    <a:pt x="0" y="0"/>
                  </a:lnTo>
                  <a:lnTo>
                    <a:pt x="0" y="14"/>
                  </a:lnTo>
                  <a:lnTo>
                    <a:pt x="1" y="14"/>
                  </a:lnTo>
                  <a:lnTo>
                    <a:pt x="1" y="14"/>
                  </a:lnTo>
                  <a:lnTo>
                    <a:pt x="3" y="9"/>
                  </a:lnTo>
                  <a:lnTo>
                    <a:pt x="6" y="4"/>
                  </a:lnTo>
                  <a:lnTo>
                    <a:pt x="11" y="1"/>
                  </a:lnTo>
                  <a:lnTo>
                    <a:pt x="20" y="0"/>
                  </a:lnTo>
                  <a:lnTo>
                    <a:pt x="20"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8">
              <a:extLst>
                <a:ext uri="{FF2B5EF4-FFF2-40B4-BE49-F238E27FC236}">
                  <a16:creationId xmlns:a16="http://schemas.microsoft.com/office/drawing/2014/main" id="{855BCD30-B06B-4BB7-9ED4-C92456683D32}"/>
                </a:ext>
              </a:extLst>
            </p:cNvPr>
            <p:cNvSpPr>
              <a:spLocks/>
            </p:cNvSpPr>
            <p:nvPr/>
          </p:nvSpPr>
          <p:spPr bwMode="auto">
            <a:xfrm>
              <a:off x="7013576" y="4435475"/>
              <a:ext cx="31750" cy="22225"/>
            </a:xfrm>
            <a:custGeom>
              <a:avLst/>
              <a:gdLst>
                <a:gd name="T0" fmla="*/ 0 w 20"/>
                <a:gd name="T1" fmla="*/ 14 h 14"/>
                <a:gd name="T2" fmla="*/ 0 w 20"/>
                <a:gd name="T3" fmla="*/ 14 h 14"/>
                <a:gd name="T4" fmla="*/ 0 w 20"/>
                <a:gd name="T5" fmla="*/ 14 h 14"/>
                <a:gd name="T6" fmla="*/ 1 w 20"/>
                <a:gd name="T7" fmla="*/ 9 h 14"/>
                <a:gd name="T8" fmla="*/ 4 w 20"/>
                <a:gd name="T9" fmla="*/ 4 h 14"/>
                <a:gd name="T10" fmla="*/ 11 w 20"/>
                <a:gd name="T11" fmla="*/ 1 h 14"/>
                <a:gd name="T12" fmla="*/ 20 w 20"/>
                <a:gd name="T13" fmla="*/ 0 h 14"/>
                <a:gd name="T14" fmla="*/ 0 w 20"/>
                <a:gd name="T15" fmla="*/ 0 h 14"/>
                <a:gd name="T16" fmla="*/ 0 w 20"/>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
                  <a:moveTo>
                    <a:pt x="0" y="14"/>
                  </a:moveTo>
                  <a:lnTo>
                    <a:pt x="0" y="14"/>
                  </a:lnTo>
                  <a:lnTo>
                    <a:pt x="0" y="14"/>
                  </a:lnTo>
                  <a:lnTo>
                    <a:pt x="1" y="9"/>
                  </a:lnTo>
                  <a:lnTo>
                    <a:pt x="4" y="4"/>
                  </a:lnTo>
                  <a:lnTo>
                    <a:pt x="11" y="1"/>
                  </a:lnTo>
                  <a:lnTo>
                    <a:pt x="20" y="0"/>
                  </a:lnTo>
                  <a:lnTo>
                    <a:pt x="0" y="0"/>
                  </a:lnTo>
                  <a:lnTo>
                    <a:pt x="0" y="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89">
              <a:extLst>
                <a:ext uri="{FF2B5EF4-FFF2-40B4-BE49-F238E27FC236}">
                  <a16:creationId xmlns:a16="http://schemas.microsoft.com/office/drawing/2014/main" id="{626460B2-FAFF-4067-BBB4-108122C23B58}"/>
                </a:ext>
              </a:extLst>
            </p:cNvPr>
            <p:cNvSpPr>
              <a:spLocks noEditPoints="1"/>
            </p:cNvSpPr>
            <p:nvPr/>
          </p:nvSpPr>
          <p:spPr bwMode="auto">
            <a:xfrm>
              <a:off x="6389688" y="4340225"/>
              <a:ext cx="1311275" cy="1397000"/>
            </a:xfrm>
            <a:custGeom>
              <a:avLst/>
              <a:gdLst>
                <a:gd name="T0" fmla="*/ 743 w 826"/>
                <a:gd name="T1" fmla="*/ 236 h 880"/>
                <a:gd name="T2" fmla="*/ 561 w 826"/>
                <a:gd name="T3" fmla="*/ 88 h 880"/>
                <a:gd name="T4" fmla="*/ 508 w 826"/>
                <a:gd name="T5" fmla="*/ 78 h 880"/>
                <a:gd name="T6" fmla="*/ 507 w 826"/>
                <a:gd name="T7" fmla="*/ 66 h 880"/>
                <a:gd name="T8" fmla="*/ 498 w 826"/>
                <a:gd name="T9" fmla="*/ 35 h 880"/>
                <a:gd name="T10" fmla="*/ 428 w 826"/>
                <a:gd name="T11" fmla="*/ 0 h 880"/>
                <a:gd name="T12" fmla="*/ 370 w 826"/>
                <a:gd name="T13" fmla="*/ 61 h 880"/>
                <a:gd name="T14" fmla="*/ 347 w 826"/>
                <a:gd name="T15" fmla="*/ 92 h 880"/>
                <a:gd name="T16" fmla="*/ 382 w 826"/>
                <a:gd name="T17" fmla="*/ 97 h 880"/>
                <a:gd name="T18" fmla="*/ 388 w 826"/>
                <a:gd name="T19" fmla="*/ 114 h 880"/>
                <a:gd name="T20" fmla="*/ 388 w 826"/>
                <a:gd name="T21" fmla="*/ 140 h 880"/>
                <a:gd name="T22" fmla="*/ 396 w 826"/>
                <a:gd name="T23" fmla="*/ 154 h 880"/>
                <a:gd name="T24" fmla="*/ 416 w 826"/>
                <a:gd name="T25" fmla="*/ 174 h 880"/>
                <a:gd name="T26" fmla="*/ 413 w 826"/>
                <a:gd name="T27" fmla="*/ 185 h 880"/>
                <a:gd name="T28" fmla="*/ 317 w 826"/>
                <a:gd name="T29" fmla="*/ 157 h 880"/>
                <a:gd name="T30" fmla="*/ 305 w 826"/>
                <a:gd name="T31" fmla="*/ 152 h 880"/>
                <a:gd name="T32" fmla="*/ 283 w 826"/>
                <a:gd name="T33" fmla="*/ 131 h 880"/>
                <a:gd name="T34" fmla="*/ 199 w 826"/>
                <a:gd name="T35" fmla="*/ 97 h 880"/>
                <a:gd name="T36" fmla="*/ 228 w 826"/>
                <a:gd name="T37" fmla="*/ 169 h 880"/>
                <a:gd name="T38" fmla="*/ 225 w 826"/>
                <a:gd name="T39" fmla="*/ 180 h 880"/>
                <a:gd name="T40" fmla="*/ 206 w 826"/>
                <a:gd name="T41" fmla="*/ 209 h 880"/>
                <a:gd name="T42" fmla="*/ 78 w 826"/>
                <a:gd name="T43" fmla="*/ 542 h 880"/>
                <a:gd name="T44" fmla="*/ 64 w 826"/>
                <a:gd name="T45" fmla="*/ 544 h 880"/>
                <a:gd name="T46" fmla="*/ 57 w 826"/>
                <a:gd name="T47" fmla="*/ 604 h 880"/>
                <a:gd name="T48" fmla="*/ 29 w 826"/>
                <a:gd name="T49" fmla="*/ 741 h 880"/>
                <a:gd name="T50" fmla="*/ 115 w 826"/>
                <a:gd name="T51" fmla="*/ 558 h 880"/>
                <a:gd name="T52" fmla="*/ 206 w 826"/>
                <a:gd name="T53" fmla="*/ 568 h 880"/>
                <a:gd name="T54" fmla="*/ 217 w 826"/>
                <a:gd name="T55" fmla="*/ 578 h 880"/>
                <a:gd name="T56" fmla="*/ 222 w 826"/>
                <a:gd name="T57" fmla="*/ 880 h 880"/>
                <a:gd name="T58" fmla="*/ 257 w 826"/>
                <a:gd name="T59" fmla="*/ 576 h 880"/>
                <a:gd name="T60" fmla="*/ 276 w 826"/>
                <a:gd name="T61" fmla="*/ 296 h 880"/>
                <a:gd name="T62" fmla="*/ 380 w 826"/>
                <a:gd name="T63" fmla="*/ 516 h 880"/>
                <a:gd name="T64" fmla="*/ 447 w 826"/>
                <a:gd name="T65" fmla="*/ 607 h 880"/>
                <a:gd name="T66" fmla="*/ 411 w 826"/>
                <a:gd name="T67" fmla="*/ 518 h 880"/>
                <a:gd name="T68" fmla="*/ 421 w 826"/>
                <a:gd name="T69" fmla="*/ 502 h 880"/>
                <a:gd name="T70" fmla="*/ 407 w 826"/>
                <a:gd name="T71" fmla="*/ 501 h 880"/>
                <a:gd name="T72" fmla="*/ 283 w 826"/>
                <a:gd name="T73" fmla="*/ 195 h 880"/>
                <a:gd name="T74" fmla="*/ 293 w 826"/>
                <a:gd name="T75" fmla="*/ 217 h 880"/>
                <a:gd name="T76" fmla="*/ 417 w 826"/>
                <a:gd name="T77" fmla="*/ 252 h 880"/>
                <a:gd name="T78" fmla="*/ 471 w 826"/>
                <a:gd name="T79" fmla="*/ 248 h 880"/>
                <a:gd name="T80" fmla="*/ 482 w 826"/>
                <a:gd name="T81" fmla="*/ 289 h 880"/>
                <a:gd name="T82" fmla="*/ 496 w 826"/>
                <a:gd name="T83" fmla="*/ 431 h 880"/>
                <a:gd name="T84" fmla="*/ 612 w 826"/>
                <a:gd name="T85" fmla="*/ 411 h 880"/>
                <a:gd name="T86" fmla="*/ 618 w 826"/>
                <a:gd name="T87" fmla="*/ 456 h 880"/>
                <a:gd name="T88" fmla="*/ 604 w 826"/>
                <a:gd name="T89" fmla="*/ 499 h 880"/>
                <a:gd name="T90" fmla="*/ 595 w 826"/>
                <a:gd name="T91" fmla="*/ 616 h 880"/>
                <a:gd name="T92" fmla="*/ 581 w 826"/>
                <a:gd name="T93" fmla="*/ 698 h 880"/>
                <a:gd name="T94" fmla="*/ 513 w 826"/>
                <a:gd name="T95" fmla="*/ 732 h 880"/>
                <a:gd name="T96" fmla="*/ 516 w 826"/>
                <a:gd name="T97" fmla="*/ 763 h 880"/>
                <a:gd name="T98" fmla="*/ 596 w 826"/>
                <a:gd name="T99" fmla="*/ 764 h 880"/>
                <a:gd name="T100" fmla="*/ 629 w 826"/>
                <a:gd name="T101" fmla="*/ 780 h 880"/>
                <a:gd name="T102" fmla="*/ 602 w 826"/>
                <a:gd name="T103" fmla="*/ 827 h 880"/>
                <a:gd name="T104" fmla="*/ 686 w 826"/>
                <a:gd name="T105" fmla="*/ 807 h 880"/>
                <a:gd name="T106" fmla="*/ 704 w 826"/>
                <a:gd name="T107" fmla="*/ 783 h 880"/>
                <a:gd name="T108" fmla="*/ 700 w 826"/>
                <a:gd name="T109" fmla="*/ 619 h 880"/>
                <a:gd name="T110" fmla="*/ 746 w 826"/>
                <a:gd name="T111" fmla="*/ 447 h 880"/>
                <a:gd name="T112" fmla="*/ 784 w 826"/>
                <a:gd name="T113" fmla="*/ 391 h 880"/>
                <a:gd name="T114" fmla="*/ 820 w 826"/>
                <a:gd name="T115" fmla="*/ 347 h 880"/>
                <a:gd name="T116" fmla="*/ 481 w 826"/>
                <a:gd name="T117" fmla="*/ 77 h 880"/>
                <a:gd name="T118" fmla="*/ 377 w 826"/>
                <a:gd name="T119" fmla="*/ 60 h 880"/>
                <a:gd name="T120" fmla="*/ 390 w 826"/>
                <a:gd name="T121" fmla="*/ 47 h 880"/>
                <a:gd name="T122" fmla="*/ 441 w 826"/>
                <a:gd name="T123" fmla="*/ 7 h 880"/>
                <a:gd name="T124" fmla="*/ 491 w 826"/>
                <a:gd name="T125" fmla="*/ 4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6" h="880">
                  <a:moveTo>
                    <a:pt x="824" y="330"/>
                  </a:moveTo>
                  <a:lnTo>
                    <a:pt x="824" y="330"/>
                  </a:lnTo>
                  <a:lnTo>
                    <a:pt x="821" y="322"/>
                  </a:lnTo>
                  <a:lnTo>
                    <a:pt x="815" y="311"/>
                  </a:lnTo>
                  <a:lnTo>
                    <a:pt x="806" y="299"/>
                  </a:lnTo>
                  <a:lnTo>
                    <a:pt x="797" y="286"/>
                  </a:lnTo>
                  <a:lnTo>
                    <a:pt x="774" y="263"/>
                  </a:lnTo>
                  <a:lnTo>
                    <a:pt x="754" y="245"/>
                  </a:lnTo>
                  <a:lnTo>
                    <a:pt x="754" y="245"/>
                  </a:lnTo>
                  <a:lnTo>
                    <a:pt x="743" y="236"/>
                  </a:lnTo>
                  <a:lnTo>
                    <a:pt x="730" y="223"/>
                  </a:lnTo>
                  <a:lnTo>
                    <a:pt x="700" y="189"/>
                  </a:lnTo>
                  <a:lnTo>
                    <a:pt x="669" y="152"/>
                  </a:lnTo>
                  <a:lnTo>
                    <a:pt x="639" y="123"/>
                  </a:lnTo>
                  <a:lnTo>
                    <a:pt x="639" y="123"/>
                  </a:lnTo>
                  <a:lnTo>
                    <a:pt x="627" y="112"/>
                  </a:lnTo>
                  <a:lnTo>
                    <a:pt x="613" y="104"/>
                  </a:lnTo>
                  <a:lnTo>
                    <a:pt x="599" y="97"/>
                  </a:lnTo>
                  <a:lnTo>
                    <a:pt x="585" y="92"/>
                  </a:lnTo>
                  <a:lnTo>
                    <a:pt x="561" y="88"/>
                  </a:lnTo>
                  <a:lnTo>
                    <a:pt x="547" y="84"/>
                  </a:lnTo>
                  <a:lnTo>
                    <a:pt x="547" y="84"/>
                  </a:lnTo>
                  <a:lnTo>
                    <a:pt x="522" y="83"/>
                  </a:lnTo>
                  <a:lnTo>
                    <a:pt x="522" y="83"/>
                  </a:lnTo>
                  <a:lnTo>
                    <a:pt x="519" y="80"/>
                  </a:lnTo>
                  <a:lnTo>
                    <a:pt x="516" y="78"/>
                  </a:lnTo>
                  <a:lnTo>
                    <a:pt x="510" y="78"/>
                  </a:lnTo>
                  <a:lnTo>
                    <a:pt x="510" y="78"/>
                  </a:lnTo>
                  <a:lnTo>
                    <a:pt x="508" y="78"/>
                  </a:lnTo>
                  <a:lnTo>
                    <a:pt x="508" y="78"/>
                  </a:lnTo>
                  <a:lnTo>
                    <a:pt x="508" y="77"/>
                  </a:lnTo>
                  <a:lnTo>
                    <a:pt x="508" y="77"/>
                  </a:lnTo>
                  <a:lnTo>
                    <a:pt x="518" y="74"/>
                  </a:lnTo>
                  <a:lnTo>
                    <a:pt x="518" y="74"/>
                  </a:lnTo>
                  <a:lnTo>
                    <a:pt x="519" y="72"/>
                  </a:lnTo>
                  <a:lnTo>
                    <a:pt x="518" y="72"/>
                  </a:lnTo>
                  <a:lnTo>
                    <a:pt x="516" y="71"/>
                  </a:lnTo>
                  <a:lnTo>
                    <a:pt x="516" y="71"/>
                  </a:lnTo>
                  <a:lnTo>
                    <a:pt x="507" y="66"/>
                  </a:lnTo>
                  <a:lnTo>
                    <a:pt x="507" y="66"/>
                  </a:lnTo>
                  <a:lnTo>
                    <a:pt x="505" y="61"/>
                  </a:lnTo>
                  <a:lnTo>
                    <a:pt x="505" y="60"/>
                  </a:lnTo>
                  <a:lnTo>
                    <a:pt x="505" y="60"/>
                  </a:lnTo>
                  <a:lnTo>
                    <a:pt x="507" y="58"/>
                  </a:lnTo>
                  <a:lnTo>
                    <a:pt x="507" y="55"/>
                  </a:lnTo>
                  <a:lnTo>
                    <a:pt x="507" y="55"/>
                  </a:lnTo>
                  <a:lnTo>
                    <a:pt x="501" y="38"/>
                  </a:lnTo>
                  <a:lnTo>
                    <a:pt x="501" y="38"/>
                  </a:lnTo>
                  <a:lnTo>
                    <a:pt x="499" y="37"/>
                  </a:lnTo>
                  <a:lnTo>
                    <a:pt x="498" y="35"/>
                  </a:lnTo>
                  <a:lnTo>
                    <a:pt x="496" y="37"/>
                  </a:lnTo>
                  <a:lnTo>
                    <a:pt x="496" y="37"/>
                  </a:lnTo>
                  <a:lnTo>
                    <a:pt x="491" y="27"/>
                  </a:lnTo>
                  <a:lnTo>
                    <a:pt x="487" y="20"/>
                  </a:lnTo>
                  <a:lnTo>
                    <a:pt x="481" y="14"/>
                  </a:lnTo>
                  <a:lnTo>
                    <a:pt x="474" y="9"/>
                  </a:lnTo>
                  <a:lnTo>
                    <a:pt x="467" y="4"/>
                  </a:lnTo>
                  <a:lnTo>
                    <a:pt x="456" y="3"/>
                  </a:lnTo>
                  <a:lnTo>
                    <a:pt x="444" y="0"/>
                  </a:lnTo>
                  <a:lnTo>
                    <a:pt x="428" y="0"/>
                  </a:lnTo>
                  <a:lnTo>
                    <a:pt x="428" y="0"/>
                  </a:lnTo>
                  <a:lnTo>
                    <a:pt x="421" y="0"/>
                  </a:lnTo>
                  <a:lnTo>
                    <a:pt x="413" y="1"/>
                  </a:lnTo>
                  <a:lnTo>
                    <a:pt x="407" y="4"/>
                  </a:lnTo>
                  <a:lnTo>
                    <a:pt x="402" y="6"/>
                  </a:lnTo>
                  <a:lnTo>
                    <a:pt x="391" y="14"/>
                  </a:lnTo>
                  <a:lnTo>
                    <a:pt x="385" y="23"/>
                  </a:lnTo>
                  <a:lnTo>
                    <a:pt x="379" y="34"/>
                  </a:lnTo>
                  <a:lnTo>
                    <a:pt x="376" y="43"/>
                  </a:lnTo>
                  <a:lnTo>
                    <a:pt x="370" y="61"/>
                  </a:lnTo>
                  <a:lnTo>
                    <a:pt x="370" y="61"/>
                  </a:lnTo>
                  <a:lnTo>
                    <a:pt x="365" y="72"/>
                  </a:lnTo>
                  <a:lnTo>
                    <a:pt x="360" y="78"/>
                  </a:lnTo>
                  <a:lnTo>
                    <a:pt x="354" y="81"/>
                  </a:lnTo>
                  <a:lnTo>
                    <a:pt x="350" y="83"/>
                  </a:lnTo>
                  <a:lnTo>
                    <a:pt x="350" y="83"/>
                  </a:lnTo>
                  <a:lnTo>
                    <a:pt x="347" y="84"/>
                  </a:lnTo>
                  <a:lnTo>
                    <a:pt x="347" y="88"/>
                  </a:lnTo>
                  <a:lnTo>
                    <a:pt x="347" y="92"/>
                  </a:lnTo>
                  <a:lnTo>
                    <a:pt x="347" y="92"/>
                  </a:lnTo>
                  <a:lnTo>
                    <a:pt x="350" y="94"/>
                  </a:lnTo>
                  <a:lnTo>
                    <a:pt x="360" y="92"/>
                  </a:lnTo>
                  <a:lnTo>
                    <a:pt x="360" y="92"/>
                  </a:lnTo>
                  <a:lnTo>
                    <a:pt x="373" y="89"/>
                  </a:lnTo>
                  <a:lnTo>
                    <a:pt x="377" y="88"/>
                  </a:lnTo>
                  <a:lnTo>
                    <a:pt x="377" y="88"/>
                  </a:lnTo>
                  <a:lnTo>
                    <a:pt x="377" y="91"/>
                  </a:lnTo>
                  <a:lnTo>
                    <a:pt x="377" y="91"/>
                  </a:lnTo>
                  <a:lnTo>
                    <a:pt x="379" y="94"/>
                  </a:lnTo>
                  <a:lnTo>
                    <a:pt x="382" y="97"/>
                  </a:lnTo>
                  <a:lnTo>
                    <a:pt x="382" y="97"/>
                  </a:lnTo>
                  <a:lnTo>
                    <a:pt x="384" y="100"/>
                  </a:lnTo>
                  <a:lnTo>
                    <a:pt x="384" y="103"/>
                  </a:lnTo>
                  <a:lnTo>
                    <a:pt x="384" y="108"/>
                  </a:lnTo>
                  <a:lnTo>
                    <a:pt x="384" y="108"/>
                  </a:lnTo>
                  <a:lnTo>
                    <a:pt x="384" y="109"/>
                  </a:lnTo>
                  <a:lnTo>
                    <a:pt x="385" y="111"/>
                  </a:lnTo>
                  <a:lnTo>
                    <a:pt x="388" y="112"/>
                  </a:lnTo>
                  <a:lnTo>
                    <a:pt x="388" y="112"/>
                  </a:lnTo>
                  <a:lnTo>
                    <a:pt x="388" y="114"/>
                  </a:lnTo>
                  <a:lnTo>
                    <a:pt x="387" y="117"/>
                  </a:lnTo>
                  <a:lnTo>
                    <a:pt x="382" y="125"/>
                  </a:lnTo>
                  <a:lnTo>
                    <a:pt x="382" y="125"/>
                  </a:lnTo>
                  <a:lnTo>
                    <a:pt x="379" y="131"/>
                  </a:lnTo>
                  <a:lnTo>
                    <a:pt x="377" y="134"/>
                  </a:lnTo>
                  <a:lnTo>
                    <a:pt x="379" y="135"/>
                  </a:lnTo>
                  <a:lnTo>
                    <a:pt x="379" y="135"/>
                  </a:lnTo>
                  <a:lnTo>
                    <a:pt x="380" y="137"/>
                  </a:lnTo>
                  <a:lnTo>
                    <a:pt x="384" y="138"/>
                  </a:lnTo>
                  <a:lnTo>
                    <a:pt x="388" y="140"/>
                  </a:lnTo>
                  <a:lnTo>
                    <a:pt x="388" y="140"/>
                  </a:lnTo>
                  <a:lnTo>
                    <a:pt x="391" y="140"/>
                  </a:lnTo>
                  <a:lnTo>
                    <a:pt x="391" y="145"/>
                  </a:lnTo>
                  <a:lnTo>
                    <a:pt x="391" y="145"/>
                  </a:lnTo>
                  <a:lnTo>
                    <a:pt x="393" y="148"/>
                  </a:lnTo>
                  <a:lnTo>
                    <a:pt x="396" y="149"/>
                  </a:lnTo>
                  <a:lnTo>
                    <a:pt x="396" y="149"/>
                  </a:lnTo>
                  <a:lnTo>
                    <a:pt x="397" y="151"/>
                  </a:lnTo>
                  <a:lnTo>
                    <a:pt x="396" y="154"/>
                  </a:lnTo>
                  <a:lnTo>
                    <a:pt x="396" y="154"/>
                  </a:lnTo>
                  <a:lnTo>
                    <a:pt x="396" y="155"/>
                  </a:lnTo>
                  <a:lnTo>
                    <a:pt x="397" y="158"/>
                  </a:lnTo>
                  <a:lnTo>
                    <a:pt x="404" y="162"/>
                  </a:lnTo>
                  <a:lnTo>
                    <a:pt x="404" y="162"/>
                  </a:lnTo>
                  <a:lnTo>
                    <a:pt x="405" y="163"/>
                  </a:lnTo>
                  <a:lnTo>
                    <a:pt x="407" y="166"/>
                  </a:lnTo>
                  <a:lnTo>
                    <a:pt x="410" y="172"/>
                  </a:lnTo>
                  <a:lnTo>
                    <a:pt x="410" y="172"/>
                  </a:lnTo>
                  <a:lnTo>
                    <a:pt x="413" y="174"/>
                  </a:lnTo>
                  <a:lnTo>
                    <a:pt x="416" y="174"/>
                  </a:lnTo>
                  <a:lnTo>
                    <a:pt x="425" y="171"/>
                  </a:lnTo>
                  <a:lnTo>
                    <a:pt x="425" y="171"/>
                  </a:lnTo>
                  <a:lnTo>
                    <a:pt x="431" y="169"/>
                  </a:lnTo>
                  <a:lnTo>
                    <a:pt x="437" y="169"/>
                  </a:lnTo>
                  <a:lnTo>
                    <a:pt x="437" y="169"/>
                  </a:lnTo>
                  <a:lnTo>
                    <a:pt x="436" y="171"/>
                  </a:lnTo>
                  <a:lnTo>
                    <a:pt x="431" y="175"/>
                  </a:lnTo>
                  <a:lnTo>
                    <a:pt x="424" y="178"/>
                  </a:lnTo>
                  <a:lnTo>
                    <a:pt x="413" y="185"/>
                  </a:lnTo>
                  <a:lnTo>
                    <a:pt x="413" y="185"/>
                  </a:lnTo>
                  <a:lnTo>
                    <a:pt x="405" y="186"/>
                  </a:lnTo>
                  <a:lnTo>
                    <a:pt x="399" y="186"/>
                  </a:lnTo>
                  <a:lnTo>
                    <a:pt x="387" y="185"/>
                  </a:lnTo>
                  <a:lnTo>
                    <a:pt x="377" y="182"/>
                  </a:lnTo>
                  <a:lnTo>
                    <a:pt x="374" y="182"/>
                  </a:lnTo>
                  <a:lnTo>
                    <a:pt x="339" y="168"/>
                  </a:lnTo>
                  <a:lnTo>
                    <a:pt x="339" y="168"/>
                  </a:lnTo>
                  <a:lnTo>
                    <a:pt x="320" y="158"/>
                  </a:lnTo>
                  <a:lnTo>
                    <a:pt x="320" y="158"/>
                  </a:lnTo>
                  <a:lnTo>
                    <a:pt x="317" y="157"/>
                  </a:lnTo>
                  <a:lnTo>
                    <a:pt x="316" y="157"/>
                  </a:lnTo>
                  <a:lnTo>
                    <a:pt x="316" y="157"/>
                  </a:lnTo>
                  <a:lnTo>
                    <a:pt x="316" y="157"/>
                  </a:lnTo>
                  <a:lnTo>
                    <a:pt x="316" y="157"/>
                  </a:lnTo>
                  <a:lnTo>
                    <a:pt x="314" y="158"/>
                  </a:lnTo>
                  <a:lnTo>
                    <a:pt x="311" y="162"/>
                  </a:lnTo>
                  <a:lnTo>
                    <a:pt x="311" y="162"/>
                  </a:lnTo>
                  <a:lnTo>
                    <a:pt x="302" y="152"/>
                  </a:lnTo>
                  <a:lnTo>
                    <a:pt x="302" y="152"/>
                  </a:lnTo>
                  <a:lnTo>
                    <a:pt x="305" y="152"/>
                  </a:lnTo>
                  <a:lnTo>
                    <a:pt x="306" y="149"/>
                  </a:lnTo>
                  <a:lnTo>
                    <a:pt x="306" y="120"/>
                  </a:lnTo>
                  <a:lnTo>
                    <a:pt x="306" y="120"/>
                  </a:lnTo>
                  <a:lnTo>
                    <a:pt x="305" y="120"/>
                  </a:lnTo>
                  <a:lnTo>
                    <a:pt x="303" y="118"/>
                  </a:lnTo>
                  <a:lnTo>
                    <a:pt x="300" y="118"/>
                  </a:lnTo>
                  <a:lnTo>
                    <a:pt x="293" y="128"/>
                  </a:lnTo>
                  <a:lnTo>
                    <a:pt x="288" y="128"/>
                  </a:lnTo>
                  <a:lnTo>
                    <a:pt x="288" y="131"/>
                  </a:lnTo>
                  <a:lnTo>
                    <a:pt x="283" y="131"/>
                  </a:lnTo>
                  <a:lnTo>
                    <a:pt x="273" y="81"/>
                  </a:lnTo>
                  <a:lnTo>
                    <a:pt x="273" y="81"/>
                  </a:lnTo>
                  <a:lnTo>
                    <a:pt x="273" y="80"/>
                  </a:lnTo>
                  <a:lnTo>
                    <a:pt x="269" y="78"/>
                  </a:lnTo>
                  <a:lnTo>
                    <a:pt x="215" y="81"/>
                  </a:lnTo>
                  <a:lnTo>
                    <a:pt x="215" y="81"/>
                  </a:lnTo>
                  <a:lnTo>
                    <a:pt x="212" y="81"/>
                  </a:lnTo>
                  <a:lnTo>
                    <a:pt x="212" y="84"/>
                  </a:lnTo>
                  <a:lnTo>
                    <a:pt x="212" y="97"/>
                  </a:lnTo>
                  <a:lnTo>
                    <a:pt x="199" y="97"/>
                  </a:lnTo>
                  <a:lnTo>
                    <a:pt x="212" y="138"/>
                  </a:lnTo>
                  <a:lnTo>
                    <a:pt x="212" y="162"/>
                  </a:lnTo>
                  <a:lnTo>
                    <a:pt x="212" y="162"/>
                  </a:lnTo>
                  <a:lnTo>
                    <a:pt x="214" y="165"/>
                  </a:lnTo>
                  <a:lnTo>
                    <a:pt x="214" y="165"/>
                  </a:lnTo>
                  <a:lnTo>
                    <a:pt x="215" y="165"/>
                  </a:lnTo>
                  <a:lnTo>
                    <a:pt x="239" y="165"/>
                  </a:lnTo>
                  <a:lnTo>
                    <a:pt x="239" y="169"/>
                  </a:lnTo>
                  <a:lnTo>
                    <a:pt x="228" y="169"/>
                  </a:lnTo>
                  <a:lnTo>
                    <a:pt x="228" y="169"/>
                  </a:lnTo>
                  <a:lnTo>
                    <a:pt x="225" y="171"/>
                  </a:lnTo>
                  <a:lnTo>
                    <a:pt x="223" y="174"/>
                  </a:lnTo>
                  <a:lnTo>
                    <a:pt x="223" y="174"/>
                  </a:lnTo>
                  <a:lnTo>
                    <a:pt x="225" y="177"/>
                  </a:lnTo>
                  <a:lnTo>
                    <a:pt x="228" y="178"/>
                  </a:lnTo>
                  <a:lnTo>
                    <a:pt x="262" y="178"/>
                  </a:lnTo>
                  <a:lnTo>
                    <a:pt x="262" y="178"/>
                  </a:lnTo>
                  <a:lnTo>
                    <a:pt x="263" y="180"/>
                  </a:lnTo>
                  <a:lnTo>
                    <a:pt x="225" y="180"/>
                  </a:lnTo>
                  <a:lnTo>
                    <a:pt x="225" y="180"/>
                  </a:lnTo>
                  <a:lnTo>
                    <a:pt x="222" y="182"/>
                  </a:lnTo>
                  <a:lnTo>
                    <a:pt x="220" y="185"/>
                  </a:lnTo>
                  <a:lnTo>
                    <a:pt x="220" y="185"/>
                  </a:lnTo>
                  <a:lnTo>
                    <a:pt x="219" y="192"/>
                  </a:lnTo>
                  <a:lnTo>
                    <a:pt x="217" y="191"/>
                  </a:lnTo>
                  <a:lnTo>
                    <a:pt x="217" y="191"/>
                  </a:lnTo>
                  <a:lnTo>
                    <a:pt x="215" y="191"/>
                  </a:lnTo>
                  <a:lnTo>
                    <a:pt x="214" y="192"/>
                  </a:lnTo>
                  <a:lnTo>
                    <a:pt x="206" y="209"/>
                  </a:lnTo>
                  <a:lnTo>
                    <a:pt x="206" y="209"/>
                  </a:lnTo>
                  <a:lnTo>
                    <a:pt x="206" y="211"/>
                  </a:lnTo>
                  <a:lnTo>
                    <a:pt x="206" y="211"/>
                  </a:lnTo>
                  <a:lnTo>
                    <a:pt x="208" y="211"/>
                  </a:lnTo>
                  <a:lnTo>
                    <a:pt x="211" y="212"/>
                  </a:lnTo>
                  <a:lnTo>
                    <a:pt x="78" y="542"/>
                  </a:lnTo>
                  <a:lnTo>
                    <a:pt x="78" y="542"/>
                  </a:lnTo>
                  <a:lnTo>
                    <a:pt x="78" y="542"/>
                  </a:lnTo>
                  <a:lnTo>
                    <a:pt x="78" y="542"/>
                  </a:lnTo>
                  <a:lnTo>
                    <a:pt x="78" y="542"/>
                  </a:lnTo>
                  <a:lnTo>
                    <a:pt x="78" y="542"/>
                  </a:lnTo>
                  <a:lnTo>
                    <a:pt x="77" y="541"/>
                  </a:lnTo>
                  <a:lnTo>
                    <a:pt x="77" y="541"/>
                  </a:lnTo>
                  <a:lnTo>
                    <a:pt x="75" y="541"/>
                  </a:lnTo>
                  <a:lnTo>
                    <a:pt x="74" y="542"/>
                  </a:lnTo>
                  <a:lnTo>
                    <a:pt x="72" y="545"/>
                  </a:lnTo>
                  <a:lnTo>
                    <a:pt x="67" y="544"/>
                  </a:lnTo>
                  <a:lnTo>
                    <a:pt x="67" y="544"/>
                  </a:lnTo>
                  <a:lnTo>
                    <a:pt x="66" y="544"/>
                  </a:lnTo>
                  <a:lnTo>
                    <a:pt x="64" y="544"/>
                  </a:lnTo>
                  <a:lnTo>
                    <a:pt x="64" y="544"/>
                  </a:lnTo>
                  <a:lnTo>
                    <a:pt x="64" y="545"/>
                  </a:lnTo>
                  <a:lnTo>
                    <a:pt x="66" y="547"/>
                  </a:lnTo>
                  <a:lnTo>
                    <a:pt x="72" y="550"/>
                  </a:lnTo>
                  <a:lnTo>
                    <a:pt x="69" y="556"/>
                  </a:lnTo>
                  <a:lnTo>
                    <a:pt x="69" y="558"/>
                  </a:lnTo>
                  <a:lnTo>
                    <a:pt x="69" y="558"/>
                  </a:lnTo>
                  <a:lnTo>
                    <a:pt x="71" y="561"/>
                  </a:lnTo>
                  <a:lnTo>
                    <a:pt x="74" y="562"/>
                  </a:lnTo>
                  <a:lnTo>
                    <a:pt x="74" y="562"/>
                  </a:lnTo>
                  <a:lnTo>
                    <a:pt x="57" y="604"/>
                  </a:lnTo>
                  <a:lnTo>
                    <a:pt x="57" y="604"/>
                  </a:lnTo>
                  <a:lnTo>
                    <a:pt x="38" y="653"/>
                  </a:lnTo>
                  <a:lnTo>
                    <a:pt x="38" y="653"/>
                  </a:lnTo>
                  <a:lnTo>
                    <a:pt x="37" y="659"/>
                  </a:lnTo>
                  <a:lnTo>
                    <a:pt x="37" y="659"/>
                  </a:lnTo>
                  <a:lnTo>
                    <a:pt x="37" y="661"/>
                  </a:lnTo>
                  <a:lnTo>
                    <a:pt x="38" y="664"/>
                  </a:lnTo>
                  <a:lnTo>
                    <a:pt x="9" y="733"/>
                  </a:lnTo>
                  <a:lnTo>
                    <a:pt x="0" y="781"/>
                  </a:lnTo>
                  <a:lnTo>
                    <a:pt x="29" y="741"/>
                  </a:lnTo>
                  <a:lnTo>
                    <a:pt x="57" y="670"/>
                  </a:lnTo>
                  <a:lnTo>
                    <a:pt x="57" y="670"/>
                  </a:lnTo>
                  <a:lnTo>
                    <a:pt x="63" y="667"/>
                  </a:lnTo>
                  <a:lnTo>
                    <a:pt x="66" y="664"/>
                  </a:lnTo>
                  <a:lnTo>
                    <a:pt x="66" y="664"/>
                  </a:lnTo>
                  <a:lnTo>
                    <a:pt x="106" y="559"/>
                  </a:lnTo>
                  <a:lnTo>
                    <a:pt x="106" y="559"/>
                  </a:lnTo>
                  <a:lnTo>
                    <a:pt x="106" y="559"/>
                  </a:lnTo>
                  <a:lnTo>
                    <a:pt x="115" y="558"/>
                  </a:lnTo>
                  <a:lnTo>
                    <a:pt x="115" y="558"/>
                  </a:lnTo>
                  <a:lnTo>
                    <a:pt x="117" y="556"/>
                  </a:lnTo>
                  <a:lnTo>
                    <a:pt x="123" y="541"/>
                  </a:lnTo>
                  <a:lnTo>
                    <a:pt x="123" y="541"/>
                  </a:lnTo>
                  <a:lnTo>
                    <a:pt x="123" y="539"/>
                  </a:lnTo>
                  <a:lnTo>
                    <a:pt x="123" y="539"/>
                  </a:lnTo>
                  <a:lnTo>
                    <a:pt x="121" y="538"/>
                  </a:lnTo>
                  <a:lnTo>
                    <a:pt x="215" y="302"/>
                  </a:lnTo>
                  <a:lnTo>
                    <a:pt x="215" y="302"/>
                  </a:lnTo>
                  <a:lnTo>
                    <a:pt x="206" y="565"/>
                  </a:lnTo>
                  <a:lnTo>
                    <a:pt x="206" y="568"/>
                  </a:lnTo>
                  <a:lnTo>
                    <a:pt x="217" y="568"/>
                  </a:lnTo>
                  <a:lnTo>
                    <a:pt x="217" y="573"/>
                  </a:lnTo>
                  <a:lnTo>
                    <a:pt x="212" y="573"/>
                  </a:lnTo>
                  <a:lnTo>
                    <a:pt x="212" y="573"/>
                  </a:lnTo>
                  <a:lnTo>
                    <a:pt x="211" y="575"/>
                  </a:lnTo>
                  <a:lnTo>
                    <a:pt x="209" y="575"/>
                  </a:lnTo>
                  <a:lnTo>
                    <a:pt x="209" y="575"/>
                  </a:lnTo>
                  <a:lnTo>
                    <a:pt x="211" y="576"/>
                  </a:lnTo>
                  <a:lnTo>
                    <a:pt x="212" y="578"/>
                  </a:lnTo>
                  <a:lnTo>
                    <a:pt x="217" y="578"/>
                  </a:lnTo>
                  <a:lnTo>
                    <a:pt x="212" y="686"/>
                  </a:lnTo>
                  <a:lnTo>
                    <a:pt x="212" y="686"/>
                  </a:lnTo>
                  <a:lnTo>
                    <a:pt x="212" y="686"/>
                  </a:lnTo>
                  <a:lnTo>
                    <a:pt x="212" y="686"/>
                  </a:lnTo>
                  <a:lnTo>
                    <a:pt x="212" y="689"/>
                  </a:lnTo>
                  <a:lnTo>
                    <a:pt x="214" y="692"/>
                  </a:lnTo>
                  <a:lnTo>
                    <a:pt x="214" y="692"/>
                  </a:lnTo>
                  <a:lnTo>
                    <a:pt x="217" y="693"/>
                  </a:lnTo>
                  <a:lnTo>
                    <a:pt x="214" y="815"/>
                  </a:lnTo>
                  <a:lnTo>
                    <a:pt x="222" y="880"/>
                  </a:lnTo>
                  <a:lnTo>
                    <a:pt x="237" y="814"/>
                  </a:lnTo>
                  <a:lnTo>
                    <a:pt x="240" y="693"/>
                  </a:lnTo>
                  <a:lnTo>
                    <a:pt x="240" y="693"/>
                  </a:lnTo>
                  <a:lnTo>
                    <a:pt x="245" y="690"/>
                  </a:lnTo>
                  <a:lnTo>
                    <a:pt x="246" y="687"/>
                  </a:lnTo>
                  <a:lnTo>
                    <a:pt x="246" y="687"/>
                  </a:lnTo>
                  <a:lnTo>
                    <a:pt x="251" y="578"/>
                  </a:lnTo>
                  <a:lnTo>
                    <a:pt x="257" y="578"/>
                  </a:lnTo>
                  <a:lnTo>
                    <a:pt x="257" y="578"/>
                  </a:lnTo>
                  <a:lnTo>
                    <a:pt x="257" y="576"/>
                  </a:lnTo>
                  <a:lnTo>
                    <a:pt x="259" y="575"/>
                  </a:lnTo>
                  <a:lnTo>
                    <a:pt x="259" y="575"/>
                  </a:lnTo>
                  <a:lnTo>
                    <a:pt x="257" y="573"/>
                  </a:lnTo>
                  <a:lnTo>
                    <a:pt x="257" y="573"/>
                  </a:lnTo>
                  <a:lnTo>
                    <a:pt x="251" y="573"/>
                  </a:lnTo>
                  <a:lnTo>
                    <a:pt x="251" y="568"/>
                  </a:lnTo>
                  <a:lnTo>
                    <a:pt x="260" y="568"/>
                  </a:lnTo>
                  <a:lnTo>
                    <a:pt x="260" y="565"/>
                  </a:lnTo>
                  <a:lnTo>
                    <a:pt x="260" y="565"/>
                  </a:lnTo>
                  <a:lnTo>
                    <a:pt x="276" y="296"/>
                  </a:lnTo>
                  <a:lnTo>
                    <a:pt x="365" y="498"/>
                  </a:lnTo>
                  <a:lnTo>
                    <a:pt x="365" y="498"/>
                  </a:lnTo>
                  <a:lnTo>
                    <a:pt x="363" y="498"/>
                  </a:lnTo>
                  <a:lnTo>
                    <a:pt x="363" y="498"/>
                  </a:lnTo>
                  <a:lnTo>
                    <a:pt x="362" y="499"/>
                  </a:lnTo>
                  <a:lnTo>
                    <a:pt x="370" y="513"/>
                  </a:lnTo>
                  <a:lnTo>
                    <a:pt x="370" y="513"/>
                  </a:lnTo>
                  <a:lnTo>
                    <a:pt x="371" y="515"/>
                  </a:lnTo>
                  <a:lnTo>
                    <a:pt x="371" y="515"/>
                  </a:lnTo>
                  <a:lnTo>
                    <a:pt x="380" y="516"/>
                  </a:lnTo>
                  <a:lnTo>
                    <a:pt x="380" y="516"/>
                  </a:lnTo>
                  <a:lnTo>
                    <a:pt x="380" y="516"/>
                  </a:lnTo>
                  <a:lnTo>
                    <a:pt x="419" y="607"/>
                  </a:lnTo>
                  <a:lnTo>
                    <a:pt x="419" y="607"/>
                  </a:lnTo>
                  <a:lnTo>
                    <a:pt x="424" y="610"/>
                  </a:lnTo>
                  <a:lnTo>
                    <a:pt x="428" y="613"/>
                  </a:lnTo>
                  <a:lnTo>
                    <a:pt x="456" y="675"/>
                  </a:lnTo>
                  <a:lnTo>
                    <a:pt x="484" y="709"/>
                  </a:lnTo>
                  <a:lnTo>
                    <a:pt x="474" y="667"/>
                  </a:lnTo>
                  <a:lnTo>
                    <a:pt x="447" y="607"/>
                  </a:lnTo>
                  <a:lnTo>
                    <a:pt x="447" y="607"/>
                  </a:lnTo>
                  <a:lnTo>
                    <a:pt x="448" y="605"/>
                  </a:lnTo>
                  <a:lnTo>
                    <a:pt x="448" y="602"/>
                  </a:lnTo>
                  <a:lnTo>
                    <a:pt x="448" y="602"/>
                  </a:lnTo>
                  <a:lnTo>
                    <a:pt x="447" y="598"/>
                  </a:lnTo>
                  <a:lnTo>
                    <a:pt x="447" y="598"/>
                  </a:lnTo>
                  <a:lnTo>
                    <a:pt x="428" y="555"/>
                  </a:lnTo>
                  <a:lnTo>
                    <a:pt x="428" y="555"/>
                  </a:lnTo>
                  <a:lnTo>
                    <a:pt x="411" y="518"/>
                  </a:lnTo>
                  <a:lnTo>
                    <a:pt x="411" y="518"/>
                  </a:lnTo>
                  <a:lnTo>
                    <a:pt x="414" y="516"/>
                  </a:lnTo>
                  <a:lnTo>
                    <a:pt x="416" y="515"/>
                  </a:lnTo>
                  <a:lnTo>
                    <a:pt x="416" y="513"/>
                  </a:lnTo>
                  <a:lnTo>
                    <a:pt x="413" y="507"/>
                  </a:lnTo>
                  <a:lnTo>
                    <a:pt x="419" y="505"/>
                  </a:lnTo>
                  <a:lnTo>
                    <a:pt x="419" y="505"/>
                  </a:lnTo>
                  <a:lnTo>
                    <a:pt x="421" y="504"/>
                  </a:lnTo>
                  <a:lnTo>
                    <a:pt x="421" y="502"/>
                  </a:lnTo>
                  <a:lnTo>
                    <a:pt x="421" y="502"/>
                  </a:lnTo>
                  <a:lnTo>
                    <a:pt x="421" y="502"/>
                  </a:lnTo>
                  <a:lnTo>
                    <a:pt x="419" y="502"/>
                  </a:lnTo>
                  <a:lnTo>
                    <a:pt x="413" y="504"/>
                  </a:lnTo>
                  <a:lnTo>
                    <a:pt x="411" y="501"/>
                  </a:lnTo>
                  <a:lnTo>
                    <a:pt x="411" y="501"/>
                  </a:lnTo>
                  <a:lnTo>
                    <a:pt x="410" y="499"/>
                  </a:lnTo>
                  <a:lnTo>
                    <a:pt x="410" y="499"/>
                  </a:lnTo>
                  <a:lnTo>
                    <a:pt x="408" y="501"/>
                  </a:lnTo>
                  <a:lnTo>
                    <a:pt x="408" y="501"/>
                  </a:lnTo>
                  <a:lnTo>
                    <a:pt x="407" y="501"/>
                  </a:lnTo>
                  <a:lnTo>
                    <a:pt x="407" y="501"/>
                  </a:lnTo>
                  <a:lnTo>
                    <a:pt x="407" y="501"/>
                  </a:lnTo>
                  <a:lnTo>
                    <a:pt x="279" y="217"/>
                  </a:lnTo>
                  <a:lnTo>
                    <a:pt x="279" y="217"/>
                  </a:lnTo>
                  <a:lnTo>
                    <a:pt x="279" y="212"/>
                  </a:lnTo>
                  <a:lnTo>
                    <a:pt x="279" y="212"/>
                  </a:lnTo>
                  <a:lnTo>
                    <a:pt x="277" y="195"/>
                  </a:lnTo>
                  <a:lnTo>
                    <a:pt x="277" y="195"/>
                  </a:lnTo>
                  <a:lnTo>
                    <a:pt x="280" y="195"/>
                  </a:lnTo>
                  <a:lnTo>
                    <a:pt x="283" y="195"/>
                  </a:lnTo>
                  <a:lnTo>
                    <a:pt x="283" y="195"/>
                  </a:lnTo>
                  <a:lnTo>
                    <a:pt x="286" y="195"/>
                  </a:lnTo>
                  <a:lnTo>
                    <a:pt x="291" y="197"/>
                  </a:lnTo>
                  <a:lnTo>
                    <a:pt x="291" y="197"/>
                  </a:lnTo>
                  <a:lnTo>
                    <a:pt x="291" y="197"/>
                  </a:lnTo>
                  <a:lnTo>
                    <a:pt x="291" y="197"/>
                  </a:lnTo>
                  <a:lnTo>
                    <a:pt x="291" y="206"/>
                  </a:lnTo>
                  <a:lnTo>
                    <a:pt x="291" y="212"/>
                  </a:lnTo>
                  <a:lnTo>
                    <a:pt x="293" y="215"/>
                  </a:lnTo>
                  <a:lnTo>
                    <a:pt x="293" y="217"/>
                  </a:lnTo>
                  <a:lnTo>
                    <a:pt x="293" y="217"/>
                  </a:lnTo>
                  <a:lnTo>
                    <a:pt x="328" y="229"/>
                  </a:lnTo>
                  <a:lnTo>
                    <a:pt x="356" y="237"/>
                  </a:lnTo>
                  <a:lnTo>
                    <a:pt x="376" y="243"/>
                  </a:lnTo>
                  <a:lnTo>
                    <a:pt x="376" y="243"/>
                  </a:lnTo>
                  <a:lnTo>
                    <a:pt x="387" y="246"/>
                  </a:lnTo>
                  <a:lnTo>
                    <a:pt x="394" y="251"/>
                  </a:lnTo>
                  <a:lnTo>
                    <a:pt x="402" y="254"/>
                  </a:lnTo>
                  <a:lnTo>
                    <a:pt x="407" y="256"/>
                  </a:lnTo>
                  <a:lnTo>
                    <a:pt x="407" y="256"/>
                  </a:lnTo>
                  <a:lnTo>
                    <a:pt x="417" y="252"/>
                  </a:lnTo>
                  <a:lnTo>
                    <a:pt x="434" y="245"/>
                  </a:lnTo>
                  <a:lnTo>
                    <a:pt x="464" y="232"/>
                  </a:lnTo>
                  <a:lnTo>
                    <a:pt x="464" y="232"/>
                  </a:lnTo>
                  <a:lnTo>
                    <a:pt x="468" y="231"/>
                  </a:lnTo>
                  <a:lnTo>
                    <a:pt x="471" y="231"/>
                  </a:lnTo>
                  <a:lnTo>
                    <a:pt x="471" y="234"/>
                  </a:lnTo>
                  <a:lnTo>
                    <a:pt x="470" y="240"/>
                  </a:lnTo>
                  <a:lnTo>
                    <a:pt x="470" y="240"/>
                  </a:lnTo>
                  <a:lnTo>
                    <a:pt x="470" y="245"/>
                  </a:lnTo>
                  <a:lnTo>
                    <a:pt x="471" y="248"/>
                  </a:lnTo>
                  <a:lnTo>
                    <a:pt x="474" y="248"/>
                  </a:lnTo>
                  <a:lnTo>
                    <a:pt x="478" y="248"/>
                  </a:lnTo>
                  <a:lnTo>
                    <a:pt x="478" y="248"/>
                  </a:lnTo>
                  <a:lnTo>
                    <a:pt x="481" y="249"/>
                  </a:lnTo>
                  <a:lnTo>
                    <a:pt x="481" y="254"/>
                  </a:lnTo>
                  <a:lnTo>
                    <a:pt x="481" y="254"/>
                  </a:lnTo>
                  <a:lnTo>
                    <a:pt x="481" y="254"/>
                  </a:lnTo>
                  <a:lnTo>
                    <a:pt x="481" y="256"/>
                  </a:lnTo>
                  <a:lnTo>
                    <a:pt x="481" y="256"/>
                  </a:lnTo>
                  <a:lnTo>
                    <a:pt x="482" y="289"/>
                  </a:lnTo>
                  <a:lnTo>
                    <a:pt x="485" y="316"/>
                  </a:lnTo>
                  <a:lnTo>
                    <a:pt x="488" y="342"/>
                  </a:lnTo>
                  <a:lnTo>
                    <a:pt x="488" y="342"/>
                  </a:lnTo>
                  <a:lnTo>
                    <a:pt x="491" y="363"/>
                  </a:lnTo>
                  <a:lnTo>
                    <a:pt x="493" y="384"/>
                  </a:lnTo>
                  <a:lnTo>
                    <a:pt x="493" y="417"/>
                  </a:lnTo>
                  <a:lnTo>
                    <a:pt x="493" y="417"/>
                  </a:lnTo>
                  <a:lnTo>
                    <a:pt x="493" y="424"/>
                  </a:lnTo>
                  <a:lnTo>
                    <a:pt x="495" y="428"/>
                  </a:lnTo>
                  <a:lnTo>
                    <a:pt x="496" y="431"/>
                  </a:lnTo>
                  <a:lnTo>
                    <a:pt x="498" y="433"/>
                  </a:lnTo>
                  <a:lnTo>
                    <a:pt x="502" y="433"/>
                  </a:lnTo>
                  <a:lnTo>
                    <a:pt x="508" y="434"/>
                  </a:lnTo>
                  <a:lnTo>
                    <a:pt x="508" y="434"/>
                  </a:lnTo>
                  <a:lnTo>
                    <a:pt x="518" y="434"/>
                  </a:lnTo>
                  <a:lnTo>
                    <a:pt x="530" y="433"/>
                  </a:lnTo>
                  <a:lnTo>
                    <a:pt x="564" y="425"/>
                  </a:lnTo>
                  <a:lnTo>
                    <a:pt x="564" y="425"/>
                  </a:lnTo>
                  <a:lnTo>
                    <a:pt x="606" y="411"/>
                  </a:lnTo>
                  <a:lnTo>
                    <a:pt x="612" y="411"/>
                  </a:lnTo>
                  <a:lnTo>
                    <a:pt x="612" y="411"/>
                  </a:lnTo>
                  <a:lnTo>
                    <a:pt x="618" y="433"/>
                  </a:lnTo>
                  <a:lnTo>
                    <a:pt x="618" y="433"/>
                  </a:lnTo>
                  <a:lnTo>
                    <a:pt x="621" y="442"/>
                  </a:lnTo>
                  <a:lnTo>
                    <a:pt x="624" y="448"/>
                  </a:lnTo>
                  <a:lnTo>
                    <a:pt x="624" y="448"/>
                  </a:lnTo>
                  <a:lnTo>
                    <a:pt x="622" y="448"/>
                  </a:lnTo>
                  <a:lnTo>
                    <a:pt x="622" y="448"/>
                  </a:lnTo>
                  <a:lnTo>
                    <a:pt x="618" y="453"/>
                  </a:lnTo>
                  <a:lnTo>
                    <a:pt x="618" y="456"/>
                  </a:lnTo>
                  <a:lnTo>
                    <a:pt x="616" y="457"/>
                  </a:lnTo>
                  <a:lnTo>
                    <a:pt x="616" y="457"/>
                  </a:lnTo>
                  <a:lnTo>
                    <a:pt x="616" y="467"/>
                  </a:lnTo>
                  <a:lnTo>
                    <a:pt x="615" y="474"/>
                  </a:lnTo>
                  <a:lnTo>
                    <a:pt x="615" y="474"/>
                  </a:lnTo>
                  <a:lnTo>
                    <a:pt x="613" y="479"/>
                  </a:lnTo>
                  <a:lnTo>
                    <a:pt x="613" y="479"/>
                  </a:lnTo>
                  <a:lnTo>
                    <a:pt x="613" y="481"/>
                  </a:lnTo>
                  <a:lnTo>
                    <a:pt x="613" y="481"/>
                  </a:lnTo>
                  <a:lnTo>
                    <a:pt x="604" y="499"/>
                  </a:lnTo>
                  <a:lnTo>
                    <a:pt x="604" y="499"/>
                  </a:lnTo>
                  <a:lnTo>
                    <a:pt x="601" y="505"/>
                  </a:lnTo>
                  <a:lnTo>
                    <a:pt x="601" y="511"/>
                  </a:lnTo>
                  <a:lnTo>
                    <a:pt x="604" y="525"/>
                  </a:lnTo>
                  <a:lnTo>
                    <a:pt x="604" y="525"/>
                  </a:lnTo>
                  <a:lnTo>
                    <a:pt x="604" y="538"/>
                  </a:lnTo>
                  <a:lnTo>
                    <a:pt x="604" y="553"/>
                  </a:lnTo>
                  <a:lnTo>
                    <a:pt x="599" y="595"/>
                  </a:lnTo>
                  <a:lnTo>
                    <a:pt x="599" y="595"/>
                  </a:lnTo>
                  <a:lnTo>
                    <a:pt x="595" y="616"/>
                  </a:lnTo>
                  <a:lnTo>
                    <a:pt x="590" y="638"/>
                  </a:lnTo>
                  <a:lnTo>
                    <a:pt x="582" y="667"/>
                  </a:lnTo>
                  <a:lnTo>
                    <a:pt x="582" y="667"/>
                  </a:lnTo>
                  <a:lnTo>
                    <a:pt x="581" y="675"/>
                  </a:lnTo>
                  <a:lnTo>
                    <a:pt x="581" y="679"/>
                  </a:lnTo>
                  <a:lnTo>
                    <a:pt x="582" y="683"/>
                  </a:lnTo>
                  <a:lnTo>
                    <a:pt x="584" y="683"/>
                  </a:lnTo>
                  <a:lnTo>
                    <a:pt x="584" y="683"/>
                  </a:lnTo>
                  <a:lnTo>
                    <a:pt x="581" y="698"/>
                  </a:lnTo>
                  <a:lnTo>
                    <a:pt x="581" y="698"/>
                  </a:lnTo>
                  <a:lnTo>
                    <a:pt x="579" y="701"/>
                  </a:lnTo>
                  <a:lnTo>
                    <a:pt x="576" y="704"/>
                  </a:lnTo>
                  <a:lnTo>
                    <a:pt x="567" y="709"/>
                  </a:lnTo>
                  <a:lnTo>
                    <a:pt x="567" y="709"/>
                  </a:lnTo>
                  <a:lnTo>
                    <a:pt x="564" y="712"/>
                  </a:lnTo>
                  <a:lnTo>
                    <a:pt x="564" y="715"/>
                  </a:lnTo>
                  <a:lnTo>
                    <a:pt x="565" y="716"/>
                  </a:lnTo>
                  <a:lnTo>
                    <a:pt x="565" y="716"/>
                  </a:lnTo>
                  <a:lnTo>
                    <a:pt x="542" y="724"/>
                  </a:lnTo>
                  <a:lnTo>
                    <a:pt x="513" y="732"/>
                  </a:lnTo>
                  <a:lnTo>
                    <a:pt x="513" y="732"/>
                  </a:lnTo>
                  <a:lnTo>
                    <a:pt x="504" y="733"/>
                  </a:lnTo>
                  <a:lnTo>
                    <a:pt x="499" y="738"/>
                  </a:lnTo>
                  <a:lnTo>
                    <a:pt x="498" y="743"/>
                  </a:lnTo>
                  <a:lnTo>
                    <a:pt x="498" y="749"/>
                  </a:lnTo>
                  <a:lnTo>
                    <a:pt x="498" y="749"/>
                  </a:lnTo>
                  <a:lnTo>
                    <a:pt x="498" y="753"/>
                  </a:lnTo>
                  <a:lnTo>
                    <a:pt x="499" y="758"/>
                  </a:lnTo>
                  <a:lnTo>
                    <a:pt x="505" y="760"/>
                  </a:lnTo>
                  <a:lnTo>
                    <a:pt x="516" y="763"/>
                  </a:lnTo>
                  <a:lnTo>
                    <a:pt x="516" y="763"/>
                  </a:lnTo>
                  <a:lnTo>
                    <a:pt x="530" y="764"/>
                  </a:lnTo>
                  <a:lnTo>
                    <a:pt x="541" y="764"/>
                  </a:lnTo>
                  <a:lnTo>
                    <a:pt x="552" y="763"/>
                  </a:lnTo>
                  <a:lnTo>
                    <a:pt x="564" y="761"/>
                  </a:lnTo>
                  <a:lnTo>
                    <a:pt x="564" y="761"/>
                  </a:lnTo>
                  <a:lnTo>
                    <a:pt x="576" y="760"/>
                  </a:lnTo>
                  <a:lnTo>
                    <a:pt x="587" y="760"/>
                  </a:lnTo>
                  <a:lnTo>
                    <a:pt x="596" y="760"/>
                  </a:lnTo>
                  <a:lnTo>
                    <a:pt x="596" y="764"/>
                  </a:lnTo>
                  <a:lnTo>
                    <a:pt x="609" y="767"/>
                  </a:lnTo>
                  <a:lnTo>
                    <a:pt x="609" y="767"/>
                  </a:lnTo>
                  <a:lnTo>
                    <a:pt x="609" y="772"/>
                  </a:lnTo>
                  <a:lnTo>
                    <a:pt x="610" y="774"/>
                  </a:lnTo>
                  <a:lnTo>
                    <a:pt x="613" y="777"/>
                  </a:lnTo>
                  <a:lnTo>
                    <a:pt x="618" y="777"/>
                  </a:lnTo>
                  <a:lnTo>
                    <a:pt x="627" y="777"/>
                  </a:lnTo>
                  <a:lnTo>
                    <a:pt x="630" y="777"/>
                  </a:lnTo>
                  <a:lnTo>
                    <a:pt x="630" y="777"/>
                  </a:lnTo>
                  <a:lnTo>
                    <a:pt x="629" y="780"/>
                  </a:lnTo>
                  <a:lnTo>
                    <a:pt x="627" y="783"/>
                  </a:lnTo>
                  <a:lnTo>
                    <a:pt x="619" y="789"/>
                  </a:lnTo>
                  <a:lnTo>
                    <a:pt x="602" y="800"/>
                  </a:lnTo>
                  <a:lnTo>
                    <a:pt x="602" y="800"/>
                  </a:lnTo>
                  <a:lnTo>
                    <a:pt x="599" y="804"/>
                  </a:lnTo>
                  <a:lnTo>
                    <a:pt x="598" y="811"/>
                  </a:lnTo>
                  <a:lnTo>
                    <a:pt x="598" y="821"/>
                  </a:lnTo>
                  <a:lnTo>
                    <a:pt x="598" y="821"/>
                  </a:lnTo>
                  <a:lnTo>
                    <a:pt x="599" y="824"/>
                  </a:lnTo>
                  <a:lnTo>
                    <a:pt x="602" y="827"/>
                  </a:lnTo>
                  <a:lnTo>
                    <a:pt x="609" y="827"/>
                  </a:lnTo>
                  <a:lnTo>
                    <a:pt x="619" y="827"/>
                  </a:lnTo>
                  <a:lnTo>
                    <a:pt x="619" y="827"/>
                  </a:lnTo>
                  <a:lnTo>
                    <a:pt x="646" y="827"/>
                  </a:lnTo>
                  <a:lnTo>
                    <a:pt x="656" y="826"/>
                  </a:lnTo>
                  <a:lnTo>
                    <a:pt x="667" y="823"/>
                  </a:lnTo>
                  <a:lnTo>
                    <a:pt x="667" y="823"/>
                  </a:lnTo>
                  <a:lnTo>
                    <a:pt x="676" y="818"/>
                  </a:lnTo>
                  <a:lnTo>
                    <a:pt x="681" y="812"/>
                  </a:lnTo>
                  <a:lnTo>
                    <a:pt x="686" y="807"/>
                  </a:lnTo>
                  <a:lnTo>
                    <a:pt x="687" y="804"/>
                  </a:lnTo>
                  <a:lnTo>
                    <a:pt x="687" y="804"/>
                  </a:lnTo>
                  <a:lnTo>
                    <a:pt x="689" y="801"/>
                  </a:lnTo>
                  <a:lnTo>
                    <a:pt x="692" y="800"/>
                  </a:lnTo>
                  <a:lnTo>
                    <a:pt x="698" y="798"/>
                  </a:lnTo>
                  <a:lnTo>
                    <a:pt x="698" y="798"/>
                  </a:lnTo>
                  <a:lnTo>
                    <a:pt x="701" y="795"/>
                  </a:lnTo>
                  <a:lnTo>
                    <a:pt x="703" y="792"/>
                  </a:lnTo>
                  <a:lnTo>
                    <a:pt x="704" y="783"/>
                  </a:lnTo>
                  <a:lnTo>
                    <a:pt x="704" y="783"/>
                  </a:lnTo>
                  <a:lnTo>
                    <a:pt x="701" y="770"/>
                  </a:lnTo>
                  <a:lnTo>
                    <a:pt x="700" y="761"/>
                  </a:lnTo>
                  <a:lnTo>
                    <a:pt x="700" y="761"/>
                  </a:lnTo>
                  <a:lnTo>
                    <a:pt x="704" y="761"/>
                  </a:lnTo>
                  <a:lnTo>
                    <a:pt x="707" y="758"/>
                  </a:lnTo>
                  <a:lnTo>
                    <a:pt x="707" y="752"/>
                  </a:lnTo>
                  <a:lnTo>
                    <a:pt x="707" y="740"/>
                  </a:lnTo>
                  <a:lnTo>
                    <a:pt x="707" y="740"/>
                  </a:lnTo>
                  <a:lnTo>
                    <a:pt x="700" y="619"/>
                  </a:lnTo>
                  <a:lnTo>
                    <a:pt x="700" y="619"/>
                  </a:lnTo>
                  <a:lnTo>
                    <a:pt x="700" y="604"/>
                  </a:lnTo>
                  <a:lnTo>
                    <a:pt x="700" y="590"/>
                  </a:lnTo>
                  <a:lnTo>
                    <a:pt x="703" y="567"/>
                  </a:lnTo>
                  <a:lnTo>
                    <a:pt x="707" y="544"/>
                  </a:lnTo>
                  <a:lnTo>
                    <a:pt x="713" y="519"/>
                  </a:lnTo>
                  <a:lnTo>
                    <a:pt x="713" y="519"/>
                  </a:lnTo>
                  <a:lnTo>
                    <a:pt x="721" y="496"/>
                  </a:lnTo>
                  <a:lnTo>
                    <a:pt x="727" y="478"/>
                  </a:lnTo>
                  <a:lnTo>
                    <a:pt x="735" y="462"/>
                  </a:lnTo>
                  <a:lnTo>
                    <a:pt x="746" y="447"/>
                  </a:lnTo>
                  <a:lnTo>
                    <a:pt x="746" y="447"/>
                  </a:lnTo>
                  <a:lnTo>
                    <a:pt x="750" y="437"/>
                  </a:lnTo>
                  <a:lnTo>
                    <a:pt x="755" y="428"/>
                  </a:lnTo>
                  <a:lnTo>
                    <a:pt x="763" y="410"/>
                  </a:lnTo>
                  <a:lnTo>
                    <a:pt x="769" y="390"/>
                  </a:lnTo>
                  <a:lnTo>
                    <a:pt x="769" y="390"/>
                  </a:lnTo>
                  <a:lnTo>
                    <a:pt x="772" y="393"/>
                  </a:lnTo>
                  <a:lnTo>
                    <a:pt x="775" y="393"/>
                  </a:lnTo>
                  <a:lnTo>
                    <a:pt x="780" y="393"/>
                  </a:lnTo>
                  <a:lnTo>
                    <a:pt x="784" y="391"/>
                  </a:lnTo>
                  <a:lnTo>
                    <a:pt x="792" y="387"/>
                  </a:lnTo>
                  <a:lnTo>
                    <a:pt x="798" y="382"/>
                  </a:lnTo>
                  <a:lnTo>
                    <a:pt x="798" y="382"/>
                  </a:lnTo>
                  <a:lnTo>
                    <a:pt x="801" y="376"/>
                  </a:lnTo>
                  <a:lnTo>
                    <a:pt x="803" y="367"/>
                  </a:lnTo>
                  <a:lnTo>
                    <a:pt x="804" y="357"/>
                  </a:lnTo>
                  <a:lnTo>
                    <a:pt x="804" y="357"/>
                  </a:lnTo>
                  <a:lnTo>
                    <a:pt x="809" y="356"/>
                  </a:lnTo>
                  <a:lnTo>
                    <a:pt x="817" y="350"/>
                  </a:lnTo>
                  <a:lnTo>
                    <a:pt x="820" y="347"/>
                  </a:lnTo>
                  <a:lnTo>
                    <a:pt x="823" y="342"/>
                  </a:lnTo>
                  <a:lnTo>
                    <a:pt x="826" y="336"/>
                  </a:lnTo>
                  <a:lnTo>
                    <a:pt x="824" y="330"/>
                  </a:lnTo>
                  <a:lnTo>
                    <a:pt x="824" y="330"/>
                  </a:lnTo>
                  <a:close/>
                  <a:moveTo>
                    <a:pt x="501" y="63"/>
                  </a:moveTo>
                  <a:lnTo>
                    <a:pt x="507" y="72"/>
                  </a:lnTo>
                  <a:lnTo>
                    <a:pt x="507" y="72"/>
                  </a:lnTo>
                  <a:lnTo>
                    <a:pt x="499" y="74"/>
                  </a:lnTo>
                  <a:lnTo>
                    <a:pt x="491" y="77"/>
                  </a:lnTo>
                  <a:lnTo>
                    <a:pt x="481" y="77"/>
                  </a:lnTo>
                  <a:lnTo>
                    <a:pt x="501" y="63"/>
                  </a:lnTo>
                  <a:close/>
                  <a:moveTo>
                    <a:pt x="437" y="83"/>
                  </a:moveTo>
                  <a:lnTo>
                    <a:pt x="384" y="81"/>
                  </a:lnTo>
                  <a:lnTo>
                    <a:pt x="384" y="78"/>
                  </a:lnTo>
                  <a:lnTo>
                    <a:pt x="368" y="78"/>
                  </a:lnTo>
                  <a:lnTo>
                    <a:pt x="368" y="78"/>
                  </a:lnTo>
                  <a:lnTo>
                    <a:pt x="371" y="74"/>
                  </a:lnTo>
                  <a:lnTo>
                    <a:pt x="374" y="69"/>
                  </a:lnTo>
                  <a:lnTo>
                    <a:pt x="377" y="60"/>
                  </a:lnTo>
                  <a:lnTo>
                    <a:pt x="377" y="60"/>
                  </a:lnTo>
                  <a:lnTo>
                    <a:pt x="379" y="49"/>
                  </a:lnTo>
                  <a:lnTo>
                    <a:pt x="384" y="37"/>
                  </a:lnTo>
                  <a:lnTo>
                    <a:pt x="385" y="32"/>
                  </a:lnTo>
                  <a:lnTo>
                    <a:pt x="388" y="26"/>
                  </a:lnTo>
                  <a:lnTo>
                    <a:pt x="393" y="21"/>
                  </a:lnTo>
                  <a:lnTo>
                    <a:pt x="397" y="18"/>
                  </a:lnTo>
                  <a:lnTo>
                    <a:pt x="397" y="18"/>
                  </a:lnTo>
                  <a:lnTo>
                    <a:pt x="394" y="27"/>
                  </a:lnTo>
                  <a:lnTo>
                    <a:pt x="391" y="37"/>
                  </a:lnTo>
                  <a:lnTo>
                    <a:pt x="390" y="47"/>
                  </a:lnTo>
                  <a:lnTo>
                    <a:pt x="390" y="47"/>
                  </a:lnTo>
                  <a:lnTo>
                    <a:pt x="393" y="41"/>
                  </a:lnTo>
                  <a:lnTo>
                    <a:pt x="397" y="31"/>
                  </a:lnTo>
                  <a:lnTo>
                    <a:pt x="402" y="23"/>
                  </a:lnTo>
                  <a:lnTo>
                    <a:pt x="407" y="17"/>
                  </a:lnTo>
                  <a:lnTo>
                    <a:pt x="413" y="12"/>
                  </a:lnTo>
                  <a:lnTo>
                    <a:pt x="419" y="9"/>
                  </a:lnTo>
                  <a:lnTo>
                    <a:pt x="419" y="9"/>
                  </a:lnTo>
                  <a:lnTo>
                    <a:pt x="434" y="7"/>
                  </a:lnTo>
                  <a:lnTo>
                    <a:pt x="441" y="7"/>
                  </a:lnTo>
                  <a:lnTo>
                    <a:pt x="448" y="7"/>
                  </a:lnTo>
                  <a:lnTo>
                    <a:pt x="456" y="9"/>
                  </a:lnTo>
                  <a:lnTo>
                    <a:pt x="462" y="12"/>
                  </a:lnTo>
                  <a:lnTo>
                    <a:pt x="468" y="18"/>
                  </a:lnTo>
                  <a:lnTo>
                    <a:pt x="474" y="26"/>
                  </a:lnTo>
                  <a:lnTo>
                    <a:pt x="474" y="18"/>
                  </a:lnTo>
                  <a:lnTo>
                    <a:pt x="474" y="18"/>
                  </a:lnTo>
                  <a:lnTo>
                    <a:pt x="481" y="26"/>
                  </a:lnTo>
                  <a:lnTo>
                    <a:pt x="487" y="34"/>
                  </a:lnTo>
                  <a:lnTo>
                    <a:pt x="491" y="41"/>
                  </a:lnTo>
                  <a:lnTo>
                    <a:pt x="437" y="8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8" name="Freeform 682">
            <a:extLst>
              <a:ext uri="{FF2B5EF4-FFF2-40B4-BE49-F238E27FC236}">
                <a16:creationId xmlns:a16="http://schemas.microsoft.com/office/drawing/2014/main" id="{29C8B63B-16FE-4451-9E84-05B8954D5EE7}"/>
              </a:ext>
            </a:extLst>
          </p:cNvPr>
          <p:cNvSpPr>
            <a:spLocks noEditPoints="1"/>
          </p:cNvSpPr>
          <p:nvPr/>
        </p:nvSpPr>
        <p:spPr bwMode="auto">
          <a:xfrm>
            <a:off x="7462743" y="4158057"/>
            <a:ext cx="1293065" cy="1240486"/>
          </a:xfrm>
          <a:custGeom>
            <a:avLst/>
            <a:gdLst>
              <a:gd name="T0" fmla="*/ 292 w 314"/>
              <a:gd name="T1" fmla="*/ 134 h 284"/>
              <a:gd name="T2" fmla="*/ 270 w 314"/>
              <a:gd name="T3" fmla="*/ 116 h 284"/>
              <a:gd name="T4" fmla="*/ 282 w 314"/>
              <a:gd name="T5" fmla="*/ 94 h 284"/>
              <a:gd name="T6" fmla="*/ 274 w 314"/>
              <a:gd name="T7" fmla="*/ 52 h 284"/>
              <a:gd name="T8" fmla="*/ 238 w 314"/>
              <a:gd name="T9" fmla="*/ 70 h 284"/>
              <a:gd name="T10" fmla="*/ 232 w 314"/>
              <a:gd name="T11" fmla="*/ 52 h 284"/>
              <a:gd name="T12" fmla="*/ 224 w 314"/>
              <a:gd name="T13" fmla="*/ 30 h 284"/>
              <a:gd name="T14" fmla="*/ 190 w 314"/>
              <a:gd name="T15" fmla="*/ 14 h 284"/>
              <a:gd name="T16" fmla="*/ 176 w 314"/>
              <a:gd name="T17" fmla="*/ 8 h 284"/>
              <a:gd name="T18" fmla="*/ 124 w 314"/>
              <a:gd name="T19" fmla="*/ 2 h 284"/>
              <a:gd name="T20" fmla="*/ 114 w 314"/>
              <a:gd name="T21" fmla="*/ 22 h 284"/>
              <a:gd name="T22" fmla="*/ 108 w 314"/>
              <a:gd name="T23" fmla="*/ 50 h 284"/>
              <a:gd name="T24" fmla="*/ 84 w 314"/>
              <a:gd name="T25" fmla="*/ 34 h 284"/>
              <a:gd name="T26" fmla="*/ 56 w 314"/>
              <a:gd name="T27" fmla="*/ 80 h 284"/>
              <a:gd name="T28" fmla="*/ 30 w 314"/>
              <a:gd name="T29" fmla="*/ 128 h 284"/>
              <a:gd name="T30" fmla="*/ 38 w 314"/>
              <a:gd name="T31" fmla="*/ 164 h 284"/>
              <a:gd name="T32" fmla="*/ 12 w 314"/>
              <a:gd name="T33" fmla="*/ 226 h 284"/>
              <a:gd name="T34" fmla="*/ 26 w 314"/>
              <a:gd name="T35" fmla="*/ 266 h 284"/>
              <a:gd name="T36" fmla="*/ 266 w 314"/>
              <a:gd name="T37" fmla="*/ 276 h 284"/>
              <a:gd name="T38" fmla="*/ 240 w 314"/>
              <a:gd name="T39" fmla="*/ 248 h 284"/>
              <a:gd name="T40" fmla="*/ 276 w 314"/>
              <a:gd name="T41" fmla="*/ 246 h 284"/>
              <a:gd name="T42" fmla="*/ 294 w 314"/>
              <a:gd name="T43" fmla="*/ 206 h 284"/>
              <a:gd name="T44" fmla="*/ 264 w 314"/>
              <a:gd name="T45" fmla="*/ 178 h 284"/>
              <a:gd name="T46" fmla="*/ 274 w 314"/>
              <a:gd name="T47" fmla="*/ 152 h 284"/>
              <a:gd name="T48" fmla="*/ 296 w 314"/>
              <a:gd name="T49" fmla="*/ 154 h 284"/>
              <a:gd name="T50" fmla="*/ 268 w 314"/>
              <a:gd name="T51" fmla="*/ 82 h 284"/>
              <a:gd name="T52" fmla="*/ 204 w 314"/>
              <a:gd name="T53" fmla="*/ 214 h 284"/>
              <a:gd name="T54" fmla="*/ 136 w 314"/>
              <a:gd name="T55" fmla="*/ 88 h 284"/>
              <a:gd name="T56" fmla="*/ 160 w 314"/>
              <a:gd name="T57" fmla="*/ 104 h 284"/>
              <a:gd name="T58" fmla="*/ 200 w 314"/>
              <a:gd name="T59" fmla="*/ 96 h 284"/>
              <a:gd name="T60" fmla="*/ 222 w 314"/>
              <a:gd name="T61" fmla="*/ 110 h 284"/>
              <a:gd name="T62" fmla="*/ 168 w 314"/>
              <a:gd name="T63" fmla="*/ 112 h 284"/>
              <a:gd name="T64" fmla="*/ 184 w 314"/>
              <a:gd name="T65" fmla="*/ 114 h 284"/>
              <a:gd name="T66" fmla="*/ 216 w 314"/>
              <a:gd name="T67" fmla="*/ 102 h 284"/>
              <a:gd name="T68" fmla="*/ 168 w 314"/>
              <a:gd name="T69" fmla="*/ 96 h 284"/>
              <a:gd name="T70" fmla="*/ 94 w 314"/>
              <a:gd name="T71" fmla="*/ 114 h 284"/>
              <a:gd name="T72" fmla="*/ 86 w 314"/>
              <a:gd name="T73" fmla="*/ 96 h 284"/>
              <a:gd name="T74" fmla="*/ 122 w 314"/>
              <a:gd name="T75" fmla="*/ 198 h 284"/>
              <a:gd name="T76" fmla="*/ 236 w 314"/>
              <a:gd name="T77" fmla="*/ 118 h 284"/>
              <a:gd name="T78" fmla="*/ 228 w 314"/>
              <a:gd name="T79" fmla="*/ 64 h 284"/>
              <a:gd name="T80" fmla="*/ 218 w 314"/>
              <a:gd name="T81" fmla="*/ 68 h 284"/>
              <a:gd name="T82" fmla="*/ 200 w 314"/>
              <a:gd name="T83" fmla="*/ 36 h 284"/>
              <a:gd name="T84" fmla="*/ 188 w 314"/>
              <a:gd name="T85" fmla="*/ 64 h 284"/>
              <a:gd name="T86" fmla="*/ 168 w 314"/>
              <a:gd name="T87" fmla="*/ 58 h 284"/>
              <a:gd name="T88" fmla="*/ 150 w 314"/>
              <a:gd name="T89" fmla="*/ 90 h 284"/>
              <a:gd name="T90" fmla="*/ 146 w 314"/>
              <a:gd name="T91" fmla="*/ 36 h 284"/>
              <a:gd name="T92" fmla="*/ 126 w 314"/>
              <a:gd name="T93" fmla="*/ 40 h 284"/>
              <a:gd name="T94" fmla="*/ 74 w 314"/>
              <a:gd name="T95" fmla="*/ 54 h 284"/>
              <a:gd name="T96" fmla="*/ 48 w 314"/>
              <a:gd name="T97" fmla="*/ 84 h 284"/>
              <a:gd name="T98" fmla="*/ 56 w 314"/>
              <a:gd name="T99" fmla="*/ 228 h 284"/>
              <a:gd name="T100" fmla="*/ 80 w 314"/>
              <a:gd name="T101" fmla="*/ 240 h 284"/>
              <a:gd name="T102" fmla="*/ 98 w 314"/>
              <a:gd name="T103" fmla="*/ 278 h 284"/>
              <a:gd name="T104" fmla="*/ 100 w 314"/>
              <a:gd name="T105" fmla="*/ 256 h 284"/>
              <a:gd name="T106" fmla="*/ 166 w 314"/>
              <a:gd name="T107" fmla="*/ 226 h 284"/>
              <a:gd name="T108" fmla="*/ 194 w 314"/>
              <a:gd name="T109" fmla="*/ 202 h 284"/>
              <a:gd name="T110" fmla="*/ 214 w 314"/>
              <a:gd name="T111" fmla="*/ 202 h 284"/>
              <a:gd name="T112" fmla="*/ 220 w 314"/>
              <a:gd name="T113" fmla="*/ 202 h 284"/>
              <a:gd name="T114" fmla="*/ 232 w 314"/>
              <a:gd name="T115" fmla="*/ 238 h 284"/>
              <a:gd name="T116" fmla="*/ 280 w 314"/>
              <a:gd name="T117" fmla="*/ 230 h 284"/>
              <a:gd name="T118" fmla="*/ 254 w 314"/>
              <a:gd name="T119" fmla="*/ 220 h 284"/>
              <a:gd name="T120" fmla="*/ 266 w 314"/>
              <a:gd name="T121" fmla="*/ 202 h 284"/>
              <a:gd name="T122" fmla="*/ 298 w 314"/>
              <a:gd name="T123" fmla="*/ 13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284">
                <a:moveTo>
                  <a:pt x="314" y="126"/>
                </a:moveTo>
                <a:lnTo>
                  <a:pt x="314" y="126"/>
                </a:lnTo>
                <a:lnTo>
                  <a:pt x="312" y="124"/>
                </a:lnTo>
                <a:lnTo>
                  <a:pt x="310" y="122"/>
                </a:lnTo>
                <a:lnTo>
                  <a:pt x="306" y="120"/>
                </a:lnTo>
                <a:lnTo>
                  <a:pt x="306" y="120"/>
                </a:lnTo>
                <a:lnTo>
                  <a:pt x="306" y="116"/>
                </a:lnTo>
                <a:lnTo>
                  <a:pt x="306" y="114"/>
                </a:lnTo>
                <a:lnTo>
                  <a:pt x="306" y="114"/>
                </a:lnTo>
                <a:lnTo>
                  <a:pt x="296" y="116"/>
                </a:lnTo>
                <a:lnTo>
                  <a:pt x="290" y="120"/>
                </a:lnTo>
                <a:lnTo>
                  <a:pt x="290" y="120"/>
                </a:lnTo>
                <a:lnTo>
                  <a:pt x="292" y="122"/>
                </a:lnTo>
                <a:lnTo>
                  <a:pt x="292" y="124"/>
                </a:lnTo>
                <a:lnTo>
                  <a:pt x="292" y="124"/>
                </a:lnTo>
                <a:lnTo>
                  <a:pt x="290" y="126"/>
                </a:lnTo>
                <a:lnTo>
                  <a:pt x="288" y="128"/>
                </a:lnTo>
                <a:lnTo>
                  <a:pt x="288" y="128"/>
                </a:lnTo>
                <a:lnTo>
                  <a:pt x="282" y="128"/>
                </a:lnTo>
                <a:lnTo>
                  <a:pt x="280" y="130"/>
                </a:lnTo>
                <a:lnTo>
                  <a:pt x="280" y="130"/>
                </a:lnTo>
                <a:lnTo>
                  <a:pt x="282" y="130"/>
                </a:lnTo>
                <a:lnTo>
                  <a:pt x="284" y="132"/>
                </a:lnTo>
                <a:lnTo>
                  <a:pt x="284" y="132"/>
                </a:lnTo>
                <a:lnTo>
                  <a:pt x="286" y="132"/>
                </a:lnTo>
                <a:lnTo>
                  <a:pt x="288" y="130"/>
                </a:lnTo>
                <a:lnTo>
                  <a:pt x="288" y="128"/>
                </a:lnTo>
                <a:lnTo>
                  <a:pt x="290" y="128"/>
                </a:lnTo>
                <a:lnTo>
                  <a:pt x="290" y="128"/>
                </a:lnTo>
                <a:lnTo>
                  <a:pt x="292" y="130"/>
                </a:lnTo>
                <a:lnTo>
                  <a:pt x="292" y="134"/>
                </a:lnTo>
                <a:lnTo>
                  <a:pt x="292" y="134"/>
                </a:lnTo>
                <a:lnTo>
                  <a:pt x="288" y="134"/>
                </a:lnTo>
                <a:lnTo>
                  <a:pt x="284" y="136"/>
                </a:lnTo>
                <a:lnTo>
                  <a:pt x="282" y="138"/>
                </a:lnTo>
                <a:lnTo>
                  <a:pt x="282" y="138"/>
                </a:lnTo>
                <a:lnTo>
                  <a:pt x="278" y="136"/>
                </a:lnTo>
                <a:lnTo>
                  <a:pt x="274" y="136"/>
                </a:lnTo>
                <a:lnTo>
                  <a:pt x="270" y="136"/>
                </a:lnTo>
                <a:lnTo>
                  <a:pt x="268" y="138"/>
                </a:lnTo>
                <a:lnTo>
                  <a:pt x="268" y="138"/>
                </a:lnTo>
                <a:lnTo>
                  <a:pt x="266" y="136"/>
                </a:lnTo>
                <a:lnTo>
                  <a:pt x="264" y="136"/>
                </a:lnTo>
                <a:lnTo>
                  <a:pt x="264" y="134"/>
                </a:lnTo>
                <a:lnTo>
                  <a:pt x="264" y="132"/>
                </a:lnTo>
                <a:lnTo>
                  <a:pt x="264" y="132"/>
                </a:lnTo>
                <a:lnTo>
                  <a:pt x="258" y="130"/>
                </a:lnTo>
                <a:lnTo>
                  <a:pt x="256" y="130"/>
                </a:lnTo>
                <a:lnTo>
                  <a:pt x="254" y="128"/>
                </a:lnTo>
                <a:lnTo>
                  <a:pt x="254" y="128"/>
                </a:lnTo>
                <a:lnTo>
                  <a:pt x="256" y="128"/>
                </a:lnTo>
                <a:lnTo>
                  <a:pt x="262" y="128"/>
                </a:lnTo>
                <a:lnTo>
                  <a:pt x="262" y="128"/>
                </a:lnTo>
                <a:lnTo>
                  <a:pt x="262" y="124"/>
                </a:lnTo>
                <a:lnTo>
                  <a:pt x="262" y="122"/>
                </a:lnTo>
                <a:lnTo>
                  <a:pt x="268" y="122"/>
                </a:lnTo>
                <a:lnTo>
                  <a:pt x="268" y="122"/>
                </a:lnTo>
                <a:lnTo>
                  <a:pt x="266" y="120"/>
                </a:lnTo>
                <a:lnTo>
                  <a:pt x="266" y="118"/>
                </a:lnTo>
                <a:lnTo>
                  <a:pt x="266" y="116"/>
                </a:lnTo>
                <a:lnTo>
                  <a:pt x="270" y="116"/>
                </a:lnTo>
                <a:lnTo>
                  <a:pt x="270" y="116"/>
                </a:lnTo>
                <a:lnTo>
                  <a:pt x="270" y="118"/>
                </a:lnTo>
                <a:lnTo>
                  <a:pt x="272" y="118"/>
                </a:lnTo>
                <a:lnTo>
                  <a:pt x="274" y="116"/>
                </a:lnTo>
                <a:lnTo>
                  <a:pt x="274" y="116"/>
                </a:lnTo>
                <a:lnTo>
                  <a:pt x="272" y="116"/>
                </a:lnTo>
                <a:lnTo>
                  <a:pt x="270" y="116"/>
                </a:lnTo>
                <a:lnTo>
                  <a:pt x="272" y="114"/>
                </a:lnTo>
                <a:lnTo>
                  <a:pt x="272" y="114"/>
                </a:lnTo>
                <a:lnTo>
                  <a:pt x="272" y="114"/>
                </a:lnTo>
                <a:lnTo>
                  <a:pt x="276" y="114"/>
                </a:lnTo>
                <a:lnTo>
                  <a:pt x="278" y="116"/>
                </a:lnTo>
                <a:lnTo>
                  <a:pt x="278" y="118"/>
                </a:lnTo>
                <a:lnTo>
                  <a:pt x="282" y="120"/>
                </a:lnTo>
                <a:lnTo>
                  <a:pt x="282" y="120"/>
                </a:lnTo>
                <a:lnTo>
                  <a:pt x="282" y="118"/>
                </a:lnTo>
                <a:lnTo>
                  <a:pt x="282" y="118"/>
                </a:lnTo>
                <a:lnTo>
                  <a:pt x="284" y="114"/>
                </a:lnTo>
                <a:lnTo>
                  <a:pt x="284" y="114"/>
                </a:lnTo>
                <a:lnTo>
                  <a:pt x="278" y="112"/>
                </a:lnTo>
                <a:lnTo>
                  <a:pt x="278" y="110"/>
                </a:lnTo>
                <a:lnTo>
                  <a:pt x="280" y="108"/>
                </a:lnTo>
                <a:lnTo>
                  <a:pt x="280" y="108"/>
                </a:lnTo>
                <a:lnTo>
                  <a:pt x="276" y="108"/>
                </a:lnTo>
                <a:lnTo>
                  <a:pt x="276" y="104"/>
                </a:lnTo>
                <a:lnTo>
                  <a:pt x="276" y="104"/>
                </a:lnTo>
                <a:lnTo>
                  <a:pt x="276" y="102"/>
                </a:lnTo>
                <a:lnTo>
                  <a:pt x="278" y="96"/>
                </a:lnTo>
                <a:lnTo>
                  <a:pt x="278" y="96"/>
                </a:lnTo>
                <a:lnTo>
                  <a:pt x="278" y="94"/>
                </a:lnTo>
                <a:lnTo>
                  <a:pt x="280" y="94"/>
                </a:lnTo>
                <a:lnTo>
                  <a:pt x="282" y="94"/>
                </a:lnTo>
                <a:lnTo>
                  <a:pt x="284" y="92"/>
                </a:lnTo>
                <a:lnTo>
                  <a:pt x="284" y="92"/>
                </a:lnTo>
                <a:lnTo>
                  <a:pt x="280" y="88"/>
                </a:lnTo>
                <a:lnTo>
                  <a:pt x="274" y="86"/>
                </a:lnTo>
                <a:lnTo>
                  <a:pt x="274" y="86"/>
                </a:lnTo>
                <a:lnTo>
                  <a:pt x="274" y="84"/>
                </a:lnTo>
                <a:lnTo>
                  <a:pt x="272" y="82"/>
                </a:lnTo>
                <a:lnTo>
                  <a:pt x="270" y="82"/>
                </a:lnTo>
                <a:lnTo>
                  <a:pt x="268" y="78"/>
                </a:lnTo>
                <a:lnTo>
                  <a:pt x="268" y="78"/>
                </a:lnTo>
                <a:lnTo>
                  <a:pt x="272" y="78"/>
                </a:lnTo>
                <a:lnTo>
                  <a:pt x="274" y="78"/>
                </a:lnTo>
                <a:lnTo>
                  <a:pt x="280" y="80"/>
                </a:lnTo>
                <a:lnTo>
                  <a:pt x="280" y="80"/>
                </a:lnTo>
                <a:lnTo>
                  <a:pt x="280" y="78"/>
                </a:lnTo>
                <a:lnTo>
                  <a:pt x="282" y="78"/>
                </a:lnTo>
                <a:lnTo>
                  <a:pt x="286" y="76"/>
                </a:lnTo>
                <a:lnTo>
                  <a:pt x="286" y="76"/>
                </a:lnTo>
                <a:lnTo>
                  <a:pt x="284" y="72"/>
                </a:lnTo>
                <a:lnTo>
                  <a:pt x="286" y="70"/>
                </a:lnTo>
                <a:lnTo>
                  <a:pt x="286" y="70"/>
                </a:lnTo>
                <a:lnTo>
                  <a:pt x="282" y="70"/>
                </a:lnTo>
                <a:lnTo>
                  <a:pt x="280" y="66"/>
                </a:lnTo>
                <a:lnTo>
                  <a:pt x="280" y="66"/>
                </a:lnTo>
                <a:lnTo>
                  <a:pt x="280" y="64"/>
                </a:lnTo>
                <a:lnTo>
                  <a:pt x="282" y="64"/>
                </a:lnTo>
                <a:lnTo>
                  <a:pt x="282" y="62"/>
                </a:lnTo>
                <a:lnTo>
                  <a:pt x="284" y="60"/>
                </a:lnTo>
                <a:lnTo>
                  <a:pt x="284" y="60"/>
                </a:lnTo>
                <a:lnTo>
                  <a:pt x="278" y="56"/>
                </a:lnTo>
                <a:lnTo>
                  <a:pt x="274" y="52"/>
                </a:lnTo>
                <a:lnTo>
                  <a:pt x="274" y="52"/>
                </a:lnTo>
                <a:lnTo>
                  <a:pt x="270" y="56"/>
                </a:lnTo>
                <a:lnTo>
                  <a:pt x="270" y="58"/>
                </a:lnTo>
                <a:lnTo>
                  <a:pt x="268" y="58"/>
                </a:lnTo>
                <a:lnTo>
                  <a:pt x="268" y="54"/>
                </a:lnTo>
                <a:lnTo>
                  <a:pt x="268" y="54"/>
                </a:lnTo>
                <a:lnTo>
                  <a:pt x="264" y="54"/>
                </a:lnTo>
                <a:lnTo>
                  <a:pt x="264" y="56"/>
                </a:lnTo>
                <a:lnTo>
                  <a:pt x="262" y="58"/>
                </a:lnTo>
                <a:lnTo>
                  <a:pt x="262" y="58"/>
                </a:lnTo>
                <a:lnTo>
                  <a:pt x="258" y="58"/>
                </a:lnTo>
                <a:lnTo>
                  <a:pt x="256" y="60"/>
                </a:lnTo>
                <a:lnTo>
                  <a:pt x="252" y="64"/>
                </a:lnTo>
                <a:lnTo>
                  <a:pt x="252" y="64"/>
                </a:lnTo>
                <a:lnTo>
                  <a:pt x="258" y="64"/>
                </a:lnTo>
                <a:lnTo>
                  <a:pt x="260" y="66"/>
                </a:lnTo>
                <a:lnTo>
                  <a:pt x="260" y="66"/>
                </a:lnTo>
                <a:lnTo>
                  <a:pt x="258" y="70"/>
                </a:lnTo>
                <a:lnTo>
                  <a:pt x="254" y="74"/>
                </a:lnTo>
                <a:lnTo>
                  <a:pt x="254" y="74"/>
                </a:lnTo>
                <a:lnTo>
                  <a:pt x="252" y="74"/>
                </a:lnTo>
                <a:lnTo>
                  <a:pt x="252" y="72"/>
                </a:lnTo>
                <a:lnTo>
                  <a:pt x="252" y="66"/>
                </a:lnTo>
                <a:lnTo>
                  <a:pt x="252" y="66"/>
                </a:lnTo>
                <a:lnTo>
                  <a:pt x="250" y="68"/>
                </a:lnTo>
                <a:lnTo>
                  <a:pt x="248" y="70"/>
                </a:lnTo>
                <a:lnTo>
                  <a:pt x="244" y="72"/>
                </a:lnTo>
                <a:lnTo>
                  <a:pt x="244" y="72"/>
                </a:lnTo>
                <a:lnTo>
                  <a:pt x="242" y="70"/>
                </a:lnTo>
                <a:lnTo>
                  <a:pt x="240" y="70"/>
                </a:lnTo>
                <a:lnTo>
                  <a:pt x="238" y="70"/>
                </a:lnTo>
                <a:lnTo>
                  <a:pt x="238" y="70"/>
                </a:lnTo>
                <a:lnTo>
                  <a:pt x="238" y="72"/>
                </a:lnTo>
                <a:lnTo>
                  <a:pt x="240" y="74"/>
                </a:lnTo>
                <a:lnTo>
                  <a:pt x="242" y="76"/>
                </a:lnTo>
                <a:lnTo>
                  <a:pt x="242" y="78"/>
                </a:lnTo>
                <a:lnTo>
                  <a:pt x="242" y="78"/>
                </a:lnTo>
                <a:lnTo>
                  <a:pt x="238" y="78"/>
                </a:lnTo>
                <a:lnTo>
                  <a:pt x="238" y="78"/>
                </a:lnTo>
                <a:lnTo>
                  <a:pt x="236" y="74"/>
                </a:lnTo>
                <a:lnTo>
                  <a:pt x="232" y="70"/>
                </a:lnTo>
                <a:lnTo>
                  <a:pt x="232" y="70"/>
                </a:lnTo>
                <a:lnTo>
                  <a:pt x="236" y="64"/>
                </a:lnTo>
                <a:lnTo>
                  <a:pt x="238" y="62"/>
                </a:lnTo>
                <a:lnTo>
                  <a:pt x="240" y="60"/>
                </a:lnTo>
                <a:lnTo>
                  <a:pt x="240" y="60"/>
                </a:lnTo>
                <a:lnTo>
                  <a:pt x="242" y="62"/>
                </a:lnTo>
                <a:lnTo>
                  <a:pt x="242" y="66"/>
                </a:lnTo>
                <a:lnTo>
                  <a:pt x="242" y="66"/>
                </a:lnTo>
                <a:lnTo>
                  <a:pt x="246" y="66"/>
                </a:lnTo>
                <a:lnTo>
                  <a:pt x="248" y="64"/>
                </a:lnTo>
                <a:lnTo>
                  <a:pt x="248" y="64"/>
                </a:lnTo>
                <a:lnTo>
                  <a:pt x="244" y="58"/>
                </a:lnTo>
                <a:lnTo>
                  <a:pt x="238" y="52"/>
                </a:lnTo>
                <a:lnTo>
                  <a:pt x="238" y="52"/>
                </a:lnTo>
                <a:lnTo>
                  <a:pt x="236" y="48"/>
                </a:lnTo>
                <a:lnTo>
                  <a:pt x="234" y="46"/>
                </a:lnTo>
                <a:lnTo>
                  <a:pt x="230" y="46"/>
                </a:lnTo>
                <a:lnTo>
                  <a:pt x="230" y="46"/>
                </a:lnTo>
                <a:lnTo>
                  <a:pt x="230" y="48"/>
                </a:lnTo>
                <a:lnTo>
                  <a:pt x="232" y="50"/>
                </a:lnTo>
                <a:lnTo>
                  <a:pt x="232" y="52"/>
                </a:lnTo>
                <a:lnTo>
                  <a:pt x="230" y="54"/>
                </a:lnTo>
                <a:lnTo>
                  <a:pt x="230" y="54"/>
                </a:lnTo>
                <a:lnTo>
                  <a:pt x="228" y="52"/>
                </a:lnTo>
                <a:lnTo>
                  <a:pt x="226" y="50"/>
                </a:lnTo>
                <a:lnTo>
                  <a:pt x="224" y="44"/>
                </a:lnTo>
                <a:lnTo>
                  <a:pt x="224" y="44"/>
                </a:lnTo>
                <a:lnTo>
                  <a:pt x="220" y="44"/>
                </a:lnTo>
                <a:lnTo>
                  <a:pt x="216" y="46"/>
                </a:lnTo>
                <a:lnTo>
                  <a:pt x="212" y="46"/>
                </a:lnTo>
                <a:lnTo>
                  <a:pt x="208" y="44"/>
                </a:lnTo>
                <a:lnTo>
                  <a:pt x="208" y="44"/>
                </a:lnTo>
                <a:lnTo>
                  <a:pt x="212" y="42"/>
                </a:lnTo>
                <a:lnTo>
                  <a:pt x="218" y="42"/>
                </a:lnTo>
                <a:lnTo>
                  <a:pt x="218" y="42"/>
                </a:lnTo>
                <a:lnTo>
                  <a:pt x="220" y="40"/>
                </a:lnTo>
                <a:lnTo>
                  <a:pt x="220" y="38"/>
                </a:lnTo>
                <a:lnTo>
                  <a:pt x="222" y="38"/>
                </a:lnTo>
                <a:lnTo>
                  <a:pt x="222" y="38"/>
                </a:lnTo>
                <a:lnTo>
                  <a:pt x="226" y="42"/>
                </a:lnTo>
                <a:lnTo>
                  <a:pt x="230" y="44"/>
                </a:lnTo>
                <a:lnTo>
                  <a:pt x="230" y="44"/>
                </a:lnTo>
                <a:lnTo>
                  <a:pt x="232" y="40"/>
                </a:lnTo>
                <a:lnTo>
                  <a:pt x="232" y="40"/>
                </a:lnTo>
                <a:lnTo>
                  <a:pt x="228" y="40"/>
                </a:lnTo>
                <a:lnTo>
                  <a:pt x="228" y="38"/>
                </a:lnTo>
                <a:lnTo>
                  <a:pt x="230" y="34"/>
                </a:lnTo>
                <a:lnTo>
                  <a:pt x="230" y="34"/>
                </a:lnTo>
                <a:lnTo>
                  <a:pt x="226" y="32"/>
                </a:lnTo>
                <a:lnTo>
                  <a:pt x="224" y="30"/>
                </a:lnTo>
                <a:lnTo>
                  <a:pt x="224" y="30"/>
                </a:lnTo>
                <a:lnTo>
                  <a:pt x="224" y="30"/>
                </a:lnTo>
                <a:lnTo>
                  <a:pt x="226" y="28"/>
                </a:lnTo>
                <a:lnTo>
                  <a:pt x="228" y="28"/>
                </a:lnTo>
                <a:lnTo>
                  <a:pt x="228" y="26"/>
                </a:lnTo>
                <a:lnTo>
                  <a:pt x="228" y="26"/>
                </a:lnTo>
                <a:lnTo>
                  <a:pt x="226" y="24"/>
                </a:lnTo>
                <a:lnTo>
                  <a:pt x="222" y="24"/>
                </a:lnTo>
                <a:lnTo>
                  <a:pt x="222" y="24"/>
                </a:lnTo>
                <a:lnTo>
                  <a:pt x="222" y="26"/>
                </a:lnTo>
                <a:lnTo>
                  <a:pt x="222" y="28"/>
                </a:lnTo>
                <a:lnTo>
                  <a:pt x="222" y="30"/>
                </a:lnTo>
                <a:lnTo>
                  <a:pt x="220" y="30"/>
                </a:lnTo>
                <a:lnTo>
                  <a:pt x="220" y="30"/>
                </a:lnTo>
                <a:lnTo>
                  <a:pt x="218" y="30"/>
                </a:lnTo>
                <a:lnTo>
                  <a:pt x="214" y="28"/>
                </a:lnTo>
                <a:lnTo>
                  <a:pt x="210" y="22"/>
                </a:lnTo>
                <a:lnTo>
                  <a:pt x="204" y="22"/>
                </a:lnTo>
                <a:lnTo>
                  <a:pt x="204" y="22"/>
                </a:lnTo>
                <a:lnTo>
                  <a:pt x="202" y="26"/>
                </a:lnTo>
                <a:lnTo>
                  <a:pt x="202" y="26"/>
                </a:lnTo>
                <a:lnTo>
                  <a:pt x="200" y="26"/>
                </a:lnTo>
                <a:lnTo>
                  <a:pt x="200" y="26"/>
                </a:lnTo>
                <a:lnTo>
                  <a:pt x="194" y="24"/>
                </a:lnTo>
                <a:lnTo>
                  <a:pt x="192" y="18"/>
                </a:lnTo>
                <a:lnTo>
                  <a:pt x="192" y="18"/>
                </a:lnTo>
                <a:lnTo>
                  <a:pt x="194" y="16"/>
                </a:lnTo>
                <a:lnTo>
                  <a:pt x="194" y="12"/>
                </a:lnTo>
                <a:lnTo>
                  <a:pt x="194" y="12"/>
                </a:lnTo>
                <a:lnTo>
                  <a:pt x="188" y="10"/>
                </a:lnTo>
                <a:lnTo>
                  <a:pt x="188" y="10"/>
                </a:lnTo>
                <a:lnTo>
                  <a:pt x="190" y="12"/>
                </a:lnTo>
                <a:lnTo>
                  <a:pt x="190" y="14"/>
                </a:lnTo>
                <a:lnTo>
                  <a:pt x="190" y="14"/>
                </a:lnTo>
                <a:lnTo>
                  <a:pt x="188" y="16"/>
                </a:lnTo>
                <a:lnTo>
                  <a:pt x="184" y="18"/>
                </a:lnTo>
                <a:lnTo>
                  <a:pt x="184" y="18"/>
                </a:lnTo>
                <a:lnTo>
                  <a:pt x="182" y="16"/>
                </a:lnTo>
                <a:lnTo>
                  <a:pt x="178" y="14"/>
                </a:lnTo>
                <a:lnTo>
                  <a:pt x="178" y="14"/>
                </a:lnTo>
                <a:lnTo>
                  <a:pt x="178" y="14"/>
                </a:lnTo>
                <a:lnTo>
                  <a:pt x="176" y="14"/>
                </a:lnTo>
                <a:lnTo>
                  <a:pt x="174" y="14"/>
                </a:lnTo>
                <a:lnTo>
                  <a:pt x="174" y="16"/>
                </a:lnTo>
                <a:lnTo>
                  <a:pt x="174" y="16"/>
                </a:lnTo>
                <a:lnTo>
                  <a:pt x="178" y="18"/>
                </a:lnTo>
                <a:lnTo>
                  <a:pt x="178" y="20"/>
                </a:lnTo>
                <a:lnTo>
                  <a:pt x="178" y="22"/>
                </a:lnTo>
                <a:lnTo>
                  <a:pt x="178" y="22"/>
                </a:lnTo>
                <a:lnTo>
                  <a:pt x="170" y="20"/>
                </a:lnTo>
                <a:lnTo>
                  <a:pt x="170" y="20"/>
                </a:lnTo>
                <a:lnTo>
                  <a:pt x="170" y="18"/>
                </a:lnTo>
                <a:lnTo>
                  <a:pt x="170" y="16"/>
                </a:lnTo>
                <a:lnTo>
                  <a:pt x="168" y="14"/>
                </a:lnTo>
                <a:lnTo>
                  <a:pt x="168" y="12"/>
                </a:lnTo>
                <a:lnTo>
                  <a:pt x="168" y="12"/>
                </a:lnTo>
                <a:lnTo>
                  <a:pt x="168" y="10"/>
                </a:lnTo>
                <a:lnTo>
                  <a:pt x="170" y="10"/>
                </a:lnTo>
                <a:lnTo>
                  <a:pt x="170" y="10"/>
                </a:lnTo>
                <a:lnTo>
                  <a:pt x="174" y="12"/>
                </a:lnTo>
                <a:lnTo>
                  <a:pt x="174" y="12"/>
                </a:lnTo>
                <a:lnTo>
                  <a:pt x="176" y="10"/>
                </a:lnTo>
                <a:lnTo>
                  <a:pt x="176" y="10"/>
                </a:lnTo>
                <a:lnTo>
                  <a:pt x="176" y="8"/>
                </a:lnTo>
                <a:lnTo>
                  <a:pt x="172" y="6"/>
                </a:lnTo>
                <a:lnTo>
                  <a:pt x="172" y="6"/>
                </a:lnTo>
                <a:lnTo>
                  <a:pt x="170" y="6"/>
                </a:lnTo>
                <a:lnTo>
                  <a:pt x="168" y="8"/>
                </a:lnTo>
                <a:lnTo>
                  <a:pt x="168" y="8"/>
                </a:lnTo>
                <a:lnTo>
                  <a:pt x="166" y="8"/>
                </a:lnTo>
                <a:lnTo>
                  <a:pt x="166" y="8"/>
                </a:lnTo>
                <a:lnTo>
                  <a:pt x="166" y="4"/>
                </a:lnTo>
                <a:lnTo>
                  <a:pt x="166" y="0"/>
                </a:lnTo>
                <a:lnTo>
                  <a:pt x="166" y="0"/>
                </a:lnTo>
                <a:lnTo>
                  <a:pt x="162" y="2"/>
                </a:lnTo>
                <a:lnTo>
                  <a:pt x="158" y="4"/>
                </a:lnTo>
                <a:lnTo>
                  <a:pt x="158" y="4"/>
                </a:lnTo>
                <a:lnTo>
                  <a:pt x="152" y="4"/>
                </a:lnTo>
                <a:lnTo>
                  <a:pt x="152" y="4"/>
                </a:lnTo>
                <a:lnTo>
                  <a:pt x="148" y="6"/>
                </a:lnTo>
                <a:lnTo>
                  <a:pt x="148" y="6"/>
                </a:lnTo>
                <a:lnTo>
                  <a:pt x="146" y="6"/>
                </a:lnTo>
                <a:lnTo>
                  <a:pt x="144" y="6"/>
                </a:lnTo>
                <a:lnTo>
                  <a:pt x="144" y="6"/>
                </a:lnTo>
                <a:lnTo>
                  <a:pt x="144" y="10"/>
                </a:lnTo>
                <a:lnTo>
                  <a:pt x="142" y="12"/>
                </a:lnTo>
                <a:lnTo>
                  <a:pt x="140" y="14"/>
                </a:lnTo>
                <a:lnTo>
                  <a:pt x="140" y="14"/>
                </a:lnTo>
                <a:lnTo>
                  <a:pt x="136" y="10"/>
                </a:lnTo>
                <a:lnTo>
                  <a:pt x="130" y="8"/>
                </a:lnTo>
                <a:lnTo>
                  <a:pt x="130" y="8"/>
                </a:lnTo>
                <a:lnTo>
                  <a:pt x="128" y="4"/>
                </a:lnTo>
                <a:lnTo>
                  <a:pt x="126" y="4"/>
                </a:lnTo>
                <a:lnTo>
                  <a:pt x="124" y="2"/>
                </a:lnTo>
                <a:lnTo>
                  <a:pt x="124" y="2"/>
                </a:lnTo>
                <a:lnTo>
                  <a:pt x="124" y="8"/>
                </a:lnTo>
                <a:lnTo>
                  <a:pt x="128" y="14"/>
                </a:lnTo>
                <a:lnTo>
                  <a:pt x="130" y="18"/>
                </a:lnTo>
                <a:lnTo>
                  <a:pt x="128" y="22"/>
                </a:lnTo>
                <a:lnTo>
                  <a:pt x="126" y="24"/>
                </a:lnTo>
                <a:lnTo>
                  <a:pt x="126" y="24"/>
                </a:lnTo>
                <a:lnTo>
                  <a:pt x="124" y="22"/>
                </a:lnTo>
                <a:lnTo>
                  <a:pt x="122" y="22"/>
                </a:lnTo>
                <a:lnTo>
                  <a:pt x="120" y="22"/>
                </a:lnTo>
                <a:lnTo>
                  <a:pt x="120" y="22"/>
                </a:lnTo>
                <a:lnTo>
                  <a:pt x="120" y="22"/>
                </a:lnTo>
                <a:lnTo>
                  <a:pt x="120" y="18"/>
                </a:lnTo>
                <a:lnTo>
                  <a:pt x="118" y="14"/>
                </a:lnTo>
                <a:lnTo>
                  <a:pt x="118" y="14"/>
                </a:lnTo>
                <a:lnTo>
                  <a:pt x="116" y="14"/>
                </a:lnTo>
                <a:lnTo>
                  <a:pt x="112" y="14"/>
                </a:lnTo>
                <a:lnTo>
                  <a:pt x="110" y="12"/>
                </a:lnTo>
                <a:lnTo>
                  <a:pt x="108" y="14"/>
                </a:lnTo>
                <a:lnTo>
                  <a:pt x="108" y="14"/>
                </a:lnTo>
                <a:lnTo>
                  <a:pt x="106" y="12"/>
                </a:lnTo>
                <a:lnTo>
                  <a:pt x="104" y="10"/>
                </a:lnTo>
                <a:lnTo>
                  <a:pt x="102" y="12"/>
                </a:lnTo>
                <a:lnTo>
                  <a:pt x="102" y="12"/>
                </a:lnTo>
                <a:lnTo>
                  <a:pt x="106" y="16"/>
                </a:lnTo>
                <a:lnTo>
                  <a:pt x="108" y="22"/>
                </a:lnTo>
                <a:lnTo>
                  <a:pt x="108" y="22"/>
                </a:lnTo>
                <a:lnTo>
                  <a:pt x="110" y="22"/>
                </a:lnTo>
                <a:lnTo>
                  <a:pt x="112" y="22"/>
                </a:lnTo>
                <a:lnTo>
                  <a:pt x="114" y="22"/>
                </a:lnTo>
                <a:lnTo>
                  <a:pt x="114" y="22"/>
                </a:lnTo>
                <a:lnTo>
                  <a:pt x="114" y="22"/>
                </a:lnTo>
                <a:lnTo>
                  <a:pt x="114" y="26"/>
                </a:lnTo>
                <a:lnTo>
                  <a:pt x="112" y="26"/>
                </a:lnTo>
                <a:lnTo>
                  <a:pt x="110" y="26"/>
                </a:lnTo>
                <a:lnTo>
                  <a:pt x="110" y="28"/>
                </a:lnTo>
                <a:lnTo>
                  <a:pt x="110" y="28"/>
                </a:lnTo>
                <a:lnTo>
                  <a:pt x="112" y="32"/>
                </a:lnTo>
                <a:lnTo>
                  <a:pt x="116" y="30"/>
                </a:lnTo>
                <a:lnTo>
                  <a:pt x="120" y="30"/>
                </a:lnTo>
                <a:lnTo>
                  <a:pt x="122" y="30"/>
                </a:lnTo>
                <a:lnTo>
                  <a:pt x="122" y="30"/>
                </a:lnTo>
                <a:lnTo>
                  <a:pt x="122" y="32"/>
                </a:lnTo>
                <a:lnTo>
                  <a:pt x="122" y="34"/>
                </a:lnTo>
                <a:lnTo>
                  <a:pt x="118" y="34"/>
                </a:lnTo>
                <a:lnTo>
                  <a:pt x="114" y="34"/>
                </a:lnTo>
                <a:lnTo>
                  <a:pt x="112" y="34"/>
                </a:lnTo>
                <a:lnTo>
                  <a:pt x="112" y="36"/>
                </a:lnTo>
                <a:lnTo>
                  <a:pt x="112" y="36"/>
                </a:lnTo>
                <a:lnTo>
                  <a:pt x="114" y="36"/>
                </a:lnTo>
                <a:lnTo>
                  <a:pt x="116" y="38"/>
                </a:lnTo>
                <a:lnTo>
                  <a:pt x="116" y="38"/>
                </a:lnTo>
                <a:lnTo>
                  <a:pt x="116" y="40"/>
                </a:lnTo>
                <a:lnTo>
                  <a:pt x="118" y="42"/>
                </a:lnTo>
                <a:lnTo>
                  <a:pt x="120" y="46"/>
                </a:lnTo>
                <a:lnTo>
                  <a:pt x="120" y="46"/>
                </a:lnTo>
                <a:lnTo>
                  <a:pt x="118" y="48"/>
                </a:lnTo>
                <a:lnTo>
                  <a:pt x="116" y="50"/>
                </a:lnTo>
                <a:lnTo>
                  <a:pt x="116" y="50"/>
                </a:lnTo>
                <a:lnTo>
                  <a:pt x="114" y="48"/>
                </a:lnTo>
                <a:lnTo>
                  <a:pt x="112" y="48"/>
                </a:lnTo>
                <a:lnTo>
                  <a:pt x="108" y="50"/>
                </a:lnTo>
                <a:lnTo>
                  <a:pt x="108" y="50"/>
                </a:lnTo>
                <a:lnTo>
                  <a:pt x="108" y="48"/>
                </a:lnTo>
                <a:lnTo>
                  <a:pt x="108" y="46"/>
                </a:lnTo>
                <a:lnTo>
                  <a:pt x="108" y="46"/>
                </a:lnTo>
                <a:lnTo>
                  <a:pt x="104" y="44"/>
                </a:lnTo>
                <a:lnTo>
                  <a:pt x="102" y="40"/>
                </a:lnTo>
                <a:lnTo>
                  <a:pt x="102" y="40"/>
                </a:lnTo>
                <a:lnTo>
                  <a:pt x="102" y="38"/>
                </a:lnTo>
                <a:lnTo>
                  <a:pt x="102" y="36"/>
                </a:lnTo>
                <a:lnTo>
                  <a:pt x="102" y="36"/>
                </a:lnTo>
                <a:lnTo>
                  <a:pt x="100" y="34"/>
                </a:lnTo>
                <a:lnTo>
                  <a:pt x="98" y="32"/>
                </a:lnTo>
                <a:lnTo>
                  <a:pt x="98" y="32"/>
                </a:lnTo>
                <a:lnTo>
                  <a:pt x="98" y="30"/>
                </a:lnTo>
                <a:lnTo>
                  <a:pt x="98" y="30"/>
                </a:lnTo>
                <a:lnTo>
                  <a:pt x="104" y="30"/>
                </a:lnTo>
                <a:lnTo>
                  <a:pt x="108" y="28"/>
                </a:lnTo>
                <a:lnTo>
                  <a:pt x="108" y="26"/>
                </a:lnTo>
                <a:lnTo>
                  <a:pt x="108" y="26"/>
                </a:lnTo>
                <a:lnTo>
                  <a:pt x="106" y="24"/>
                </a:lnTo>
                <a:lnTo>
                  <a:pt x="104" y="24"/>
                </a:lnTo>
                <a:lnTo>
                  <a:pt x="100" y="26"/>
                </a:lnTo>
                <a:lnTo>
                  <a:pt x="100" y="26"/>
                </a:lnTo>
                <a:lnTo>
                  <a:pt x="98" y="24"/>
                </a:lnTo>
                <a:lnTo>
                  <a:pt x="94" y="22"/>
                </a:lnTo>
                <a:lnTo>
                  <a:pt x="90" y="22"/>
                </a:lnTo>
                <a:lnTo>
                  <a:pt x="86" y="24"/>
                </a:lnTo>
                <a:lnTo>
                  <a:pt x="86" y="24"/>
                </a:lnTo>
                <a:lnTo>
                  <a:pt x="86" y="28"/>
                </a:lnTo>
                <a:lnTo>
                  <a:pt x="88" y="32"/>
                </a:lnTo>
                <a:lnTo>
                  <a:pt x="88" y="32"/>
                </a:lnTo>
                <a:lnTo>
                  <a:pt x="84" y="34"/>
                </a:lnTo>
                <a:lnTo>
                  <a:pt x="80" y="34"/>
                </a:lnTo>
                <a:lnTo>
                  <a:pt x="80" y="34"/>
                </a:lnTo>
                <a:lnTo>
                  <a:pt x="80" y="40"/>
                </a:lnTo>
                <a:lnTo>
                  <a:pt x="76" y="42"/>
                </a:lnTo>
                <a:lnTo>
                  <a:pt x="76" y="42"/>
                </a:lnTo>
                <a:lnTo>
                  <a:pt x="76" y="48"/>
                </a:lnTo>
                <a:lnTo>
                  <a:pt x="74" y="50"/>
                </a:lnTo>
                <a:lnTo>
                  <a:pt x="74" y="50"/>
                </a:lnTo>
                <a:lnTo>
                  <a:pt x="70" y="50"/>
                </a:lnTo>
                <a:lnTo>
                  <a:pt x="68" y="48"/>
                </a:lnTo>
                <a:lnTo>
                  <a:pt x="68" y="48"/>
                </a:lnTo>
                <a:lnTo>
                  <a:pt x="66" y="56"/>
                </a:lnTo>
                <a:lnTo>
                  <a:pt x="64" y="58"/>
                </a:lnTo>
                <a:lnTo>
                  <a:pt x="62" y="58"/>
                </a:lnTo>
                <a:lnTo>
                  <a:pt x="62" y="58"/>
                </a:lnTo>
                <a:lnTo>
                  <a:pt x="62" y="60"/>
                </a:lnTo>
                <a:lnTo>
                  <a:pt x="62" y="62"/>
                </a:lnTo>
                <a:lnTo>
                  <a:pt x="64" y="62"/>
                </a:lnTo>
                <a:lnTo>
                  <a:pt x="64" y="64"/>
                </a:lnTo>
                <a:lnTo>
                  <a:pt x="64" y="64"/>
                </a:lnTo>
                <a:lnTo>
                  <a:pt x="62" y="66"/>
                </a:lnTo>
                <a:lnTo>
                  <a:pt x="56" y="68"/>
                </a:lnTo>
                <a:lnTo>
                  <a:pt x="52" y="68"/>
                </a:lnTo>
                <a:lnTo>
                  <a:pt x="50" y="64"/>
                </a:lnTo>
                <a:lnTo>
                  <a:pt x="50" y="64"/>
                </a:lnTo>
                <a:lnTo>
                  <a:pt x="50" y="70"/>
                </a:lnTo>
                <a:lnTo>
                  <a:pt x="48" y="72"/>
                </a:lnTo>
                <a:lnTo>
                  <a:pt x="48" y="72"/>
                </a:lnTo>
                <a:lnTo>
                  <a:pt x="54" y="76"/>
                </a:lnTo>
                <a:lnTo>
                  <a:pt x="56" y="76"/>
                </a:lnTo>
                <a:lnTo>
                  <a:pt x="56" y="80"/>
                </a:lnTo>
                <a:lnTo>
                  <a:pt x="56" y="80"/>
                </a:lnTo>
                <a:lnTo>
                  <a:pt x="54" y="82"/>
                </a:lnTo>
                <a:lnTo>
                  <a:pt x="54" y="82"/>
                </a:lnTo>
                <a:lnTo>
                  <a:pt x="52" y="82"/>
                </a:lnTo>
                <a:lnTo>
                  <a:pt x="50" y="80"/>
                </a:lnTo>
                <a:lnTo>
                  <a:pt x="48" y="78"/>
                </a:lnTo>
                <a:lnTo>
                  <a:pt x="46" y="78"/>
                </a:lnTo>
                <a:lnTo>
                  <a:pt x="46" y="78"/>
                </a:lnTo>
                <a:lnTo>
                  <a:pt x="44" y="80"/>
                </a:lnTo>
                <a:lnTo>
                  <a:pt x="42" y="80"/>
                </a:lnTo>
                <a:lnTo>
                  <a:pt x="36" y="78"/>
                </a:lnTo>
                <a:lnTo>
                  <a:pt x="36" y="78"/>
                </a:lnTo>
                <a:lnTo>
                  <a:pt x="34" y="84"/>
                </a:lnTo>
                <a:lnTo>
                  <a:pt x="34" y="84"/>
                </a:lnTo>
                <a:lnTo>
                  <a:pt x="36" y="86"/>
                </a:lnTo>
                <a:lnTo>
                  <a:pt x="36" y="88"/>
                </a:lnTo>
                <a:lnTo>
                  <a:pt x="36" y="88"/>
                </a:lnTo>
                <a:lnTo>
                  <a:pt x="34" y="90"/>
                </a:lnTo>
                <a:lnTo>
                  <a:pt x="34" y="90"/>
                </a:lnTo>
                <a:lnTo>
                  <a:pt x="34" y="92"/>
                </a:lnTo>
                <a:lnTo>
                  <a:pt x="34" y="92"/>
                </a:lnTo>
                <a:lnTo>
                  <a:pt x="36" y="94"/>
                </a:lnTo>
                <a:lnTo>
                  <a:pt x="40" y="96"/>
                </a:lnTo>
                <a:lnTo>
                  <a:pt x="40" y="96"/>
                </a:lnTo>
                <a:lnTo>
                  <a:pt x="36" y="98"/>
                </a:lnTo>
                <a:lnTo>
                  <a:pt x="34" y="100"/>
                </a:lnTo>
                <a:lnTo>
                  <a:pt x="32" y="108"/>
                </a:lnTo>
                <a:lnTo>
                  <a:pt x="30" y="116"/>
                </a:lnTo>
                <a:lnTo>
                  <a:pt x="28" y="124"/>
                </a:lnTo>
                <a:lnTo>
                  <a:pt x="28" y="124"/>
                </a:lnTo>
                <a:lnTo>
                  <a:pt x="30" y="128"/>
                </a:lnTo>
                <a:lnTo>
                  <a:pt x="30" y="132"/>
                </a:lnTo>
                <a:lnTo>
                  <a:pt x="28" y="142"/>
                </a:lnTo>
                <a:lnTo>
                  <a:pt x="28" y="142"/>
                </a:lnTo>
                <a:lnTo>
                  <a:pt x="26" y="144"/>
                </a:lnTo>
                <a:lnTo>
                  <a:pt x="24" y="144"/>
                </a:lnTo>
                <a:lnTo>
                  <a:pt x="24" y="144"/>
                </a:lnTo>
                <a:lnTo>
                  <a:pt x="26" y="146"/>
                </a:lnTo>
                <a:lnTo>
                  <a:pt x="28" y="148"/>
                </a:lnTo>
                <a:lnTo>
                  <a:pt x="28" y="148"/>
                </a:lnTo>
                <a:lnTo>
                  <a:pt x="16" y="152"/>
                </a:lnTo>
                <a:lnTo>
                  <a:pt x="16" y="160"/>
                </a:lnTo>
                <a:lnTo>
                  <a:pt x="16" y="160"/>
                </a:lnTo>
                <a:lnTo>
                  <a:pt x="20" y="160"/>
                </a:lnTo>
                <a:lnTo>
                  <a:pt x="22" y="158"/>
                </a:lnTo>
                <a:lnTo>
                  <a:pt x="24" y="154"/>
                </a:lnTo>
                <a:lnTo>
                  <a:pt x="24" y="154"/>
                </a:lnTo>
                <a:lnTo>
                  <a:pt x="26" y="156"/>
                </a:lnTo>
                <a:lnTo>
                  <a:pt x="26" y="156"/>
                </a:lnTo>
                <a:lnTo>
                  <a:pt x="26" y="158"/>
                </a:lnTo>
                <a:lnTo>
                  <a:pt x="26" y="158"/>
                </a:lnTo>
                <a:lnTo>
                  <a:pt x="30" y="158"/>
                </a:lnTo>
                <a:lnTo>
                  <a:pt x="32" y="158"/>
                </a:lnTo>
                <a:lnTo>
                  <a:pt x="32" y="158"/>
                </a:lnTo>
                <a:lnTo>
                  <a:pt x="32" y="160"/>
                </a:lnTo>
                <a:lnTo>
                  <a:pt x="34" y="162"/>
                </a:lnTo>
                <a:lnTo>
                  <a:pt x="40" y="162"/>
                </a:lnTo>
                <a:lnTo>
                  <a:pt x="40" y="162"/>
                </a:lnTo>
                <a:lnTo>
                  <a:pt x="40" y="164"/>
                </a:lnTo>
                <a:lnTo>
                  <a:pt x="40" y="164"/>
                </a:lnTo>
                <a:lnTo>
                  <a:pt x="38" y="164"/>
                </a:lnTo>
                <a:lnTo>
                  <a:pt x="38" y="164"/>
                </a:lnTo>
                <a:lnTo>
                  <a:pt x="36" y="164"/>
                </a:lnTo>
                <a:lnTo>
                  <a:pt x="34" y="164"/>
                </a:lnTo>
                <a:lnTo>
                  <a:pt x="32" y="162"/>
                </a:lnTo>
                <a:lnTo>
                  <a:pt x="30" y="160"/>
                </a:lnTo>
                <a:lnTo>
                  <a:pt x="30" y="160"/>
                </a:lnTo>
                <a:lnTo>
                  <a:pt x="28" y="162"/>
                </a:lnTo>
                <a:lnTo>
                  <a:pt x="26" y="162"/>
                </a:lnTo>
                <a:lnTo>
                  <a:pt x="20" y="160"/>
                </a:lnTo>
                <a:lnTo>
                  <a:pt x="20" y="160"/>
                </a:lnTo>
                <a:lnTo>
                  <a:pt x="18" y="166"/>
                </a:lnTo>
                <a:lnTo>
                  <a:pt x="18" y="166"/>
                </a:lnTo>
                <a:lnTo>
                  <a:pt x="20" y="168"/>
                </a:lnTo>
                <a:lnTo>
                  <a:pt x="20" y="172"/>
                </a:lnTo>
                <a:lnTo>
                  <a:pt x="20" y="172"/>
                </a:lnTo>
                <a:lnTo>
                  <a:pt x="18" y="174"/>
                </a:lnTo>
                <a:lnTo>
                  <a:pt x="18" y="174"/>
                </a:lnTo>
                <a:lnTo>
                  <a:pt x="18" y="176"/>
                </a:lnTo>
                <a:lnTo>
                  <a:pt x="18" y="176"/>
                </a:lnTo>
                <a:lnTo>
                  <a:pt x="20" y="178"/>
                </a:lnTo>
                <a:lnTo>
                  <a:pt x="24" y="180"/>
                </a:lnTo>
                <a:lnTo>
                  <a:pt x="24" y="180"/>
                </a:lnTo>
                <a:lnTo>
                  <a:pt x="20" y="182"/>
                </a:lnTo>
                <a:lnTo>
                  <a:pt x="18" y="184"/>
                </a:lnTo>
                <a:lnTo>
                  <a:pt x="16" y="192"/>
                </a:lnTo>
                <a:lnTo>
                  <a:pt x="14" y="200"/>
                </a:lnTo>
                <a:lnTo>
                  <a:pt x="12" y="206"/>
                </a:lnTo>
                <a:lnTo>
                  <a:pt x="12" y="206"/>
                </a:lnTo>
                <a:lnTo>
                  <a:pt x="14" y="212"/>
                </a:lnTo>
                <a:lnTo>
                  <a:pt x="14" y="216"/>
                </a:lnTo>
                <a:lnTo>
                  <a:pt x="12" y="226"/>
                </a:lnTo>
                <a:lnTo>
                  <a:pt x="12" y="226"/>
                </a:lnTo>
                <a:lnTo>
                  <a:pt x="10" y="226"/>
                </a:lnTo>
                <a:lnTo>
                  <a:pt x="8" y="228"/>
                </a:lnTo>
                <a:lnTo>
                  <a:pt x="8" y="228"/>
                </a:lnTo>
                <a:lnTo>
                  <a:pt x="10" y="228"/>
                </a:lnTo>
                <a:lnTo>
                  <a:pt x="12" y="230"/>
                </a:lnTo>
                <a:lnTo>
                  <a:pt x="12" y="230"/>
                </a:lnTo>
                <a:lnTo>
                  <a:pt x="0" y="234"/>
                </a:lnTo>
                <a:lnTo>
                  <a:pt x="0" y="242"/>
                </a:lnTo>
                <a:lnTo>
                  <a:pt x="0" y="242"/>
                </a:lnTo>
                <a:lnTo>
                  <a:pt x="4" y="244"/>
                </a:lnTo>
                <a:lnTo>
                  <a:pt x="6" y="242"/>
                </a:lnTo>
                <a:lnTo>
                  <a:pt x="8" y="238"/>
                </a:lnTo>
                <a:lnTo>
                  <a:pt x="8" y="238"/>
                </a:lnTo>
                <a:lnTo>
                  <a:pt x="10" y="238"/>
                </a:lnTo>
                <a:lnTo>
                  <a:pt x="10" y="240"/>
                </a:lnTo>
                <a:lnTo>
                  <a:pt x="10" y="242"/>
                </a:lnTo>
                <a:lnTo>
                  <a:pt x="10" y="242"/>
                </a:lnTo>
                <a:lnTo>
                  <a:pt x="12" y="242"/>
                </a:lnTo>
                <a:lnTo>
                  <a:pt x="16" y="240"/>
                </a:lnTo>
                <a:lnTo>
                  <a:pt x="16" y="240"/>
                </a:lnTo>
                <a:lnTo>
                  <a:pt x="16" y="244"/>
                </a:lnTo>
                <a:lnTo>
                  <a:pt x="18" y="244"/>
                </a:lnTo>
                <a:lnTo>
                  <a:pt x="24" y="244"/>
                </a:lnTo>
                <a:lnTo>
                  <a:pt x="24" y="244"/>
                </a:lnTo>
                <a:lnTo>
                  <a:pt x="26" y="250"/>
                </a:lnTo>
                <a:lnTo>
                  <a:pt x="28" y="256"/>
                </a:lnTo>
                <a:lnTo>
                  <a:pt x="28" y="256"/>
                </a:lnTo>
                <a:lnTo>
                  <a:pt x="28" y="260"/>
                </a:lnTo>
                <a:lnTo>
                  <a:pt x="26" y="262"/>
                </a:lnTo>
                <a:lnTo>
                  <a:pt x="26" y="262"/>
                </a:lnTo>
                <a:lnTo>
                  <a:pt x="26" y="266"/>
                </a:lnTo>
                <a:lnTo>
                  <a:pt x="26" y="268"/>
                </a:lnTo>
                <a:lnTo>
                  <a:pt x="24" y="268"/>
                </a:lnTo>
                <a:lnTo>
                  <a:pt x="24" y="268"/>
                </a:lnTo>
                <a:lnTo>
                  <a:pt x="26" y="272"/>
                </a:lnTo>
                <a:lnTo>
                  <a:pt x="28" y="276"/>
                </a:lnTo>
                <a:lnTo>
                  <a:pt x="28" y="276"/>
                </a:lnTo>
                <a:lnTo>
                  <a:pt x="28" y="280"/>
                </a:lnTo>
                <a:lnTo>
                  <a:pt x="26" y="284"/>
                </a:lnTo>
                <a:lnTo>
                  <a:pt x="30" y="284"/>
                </a:lnTo>
                <a:lnTo>
                  <a:pt x="30" y="284"/>
                </a:lnTo>
                <a:lnTo>
                  <a:pt x="32" y="284"/>
                </a:lnTo>
                <a:lnTo>
                  <a:pt x="34" y="284"/>
                </a:lnTo>
                <a:lnTo>
                  <a:pt x="34" y="284"/>
                </a:lnTo>
                <a:lnTo>
                  <a:pt x="34" y="284"/>
                </a:lnTo>
                <a:lnTo>
                  <a:pt x="244" y="284"/>
                </a:lnTo>
                <a:lnTo>
                  <a:pt x="244" y="284"/>
                </a:lnTo>
                <a:lnTo>
                  <a:pt x="242" y="282"/>
                </a:lnTo>
                <a:lnTo>
                  <a:pt x="242" y="280"/>
                </a:lnTo>
                <a:lnTo>
                  <a:pt x="242" y="280"/>
                </a:lnTo>
                <a:lnTo>
                  <a:pt x="244" y="278"/>
                </a:lnTo>
                <a:lnTo>
                  <a:pt x="246" y="280"/>
                </a:lnTo>
                <a:lnTo>
                  <a:pt x="246" y="280"/>
                </a:lnTo>
                <a:lnTo>
                  <a:pt x="246" y="282"/>
                </a:lnTo>
                <a:lnTo>
                  <a:pt x="246" y="284"/>
                </a:lnTo>
                <a:lnTo>
                  <a:pt x="262" y="284"/>
                </a:lnTo>
                <a:lnTo>
                  <a:pt x="262" y="284"/>
                </a:lnTo>
                <a:lnTo>
                  <a:pt x="262" y="282"/>
                </a:lnTo>
                <a:lnTo>
                  <a:pt x="262" y="282"/>
                </a:lnTo>
                <a:lnTo>
                  <a:pt x="262" y="282"/>
                </a:lnTo>
                <a:lnTo>
                  <a:pt x="264" y="278"/>
                </a:lnTo>
                <a:lnTo>
                  <a:pt x="266" y="276"/>
                </a:lnTo>
                <a:lnTo>
                  <a:pt x="266" y="274"/>
                </a:lnTo>
                <a:lnTo>
                  <a:pt x="266" y="274"/>
                </a:lnTo>
                <a:lnTo>
                  <a:pt x="260" y="270"/>
                </a:lnTo>
                <a:lnTo>
                  <a:pt x="258" y="270"/>
                </a:lnTo>
                <a:lnTo>
                  <a:pt x="254" y="272"/>
                </a:lnTo>
                <a:lnTo>
                  <a:pt x="254" y="272"/>
                </a:lnTo>
                <a:lnTo>
                  <a:pt x="254" y="272"/>
                </a:lnTo>
                <a:lnTo>
                  <a:pt x="256" y="274"/>
                </a:lnTo>
                <a:lnTo>
                  <a:pt x="256" y="276"/>
                </a:lnTo>
                <a:lnTo>
                  <a:pt x="254" y="278"/>
                </a:lnTo>
                <a:lnTo>
                  <a:pt x="254" y="278"/>
                </a:lnTo>
                <a:lnTo>
                  <a:pt x="250" y="274"/>
                </a:lnTo>
                <a:lnTo>
                  <a:pt x="246" y="268"/>
                </a:lnTo>
                <a:lnTo>
                  <a:pt x="244" y="262"/>
                </a:lnTo>
                <a:lnTo>
                  <a:pt x="244" y="254"/>
                </a:lnTo>
                <a:lnTo>
                  <a:pt x="244" y="254"/>
                </a:lnTo>
                <a:lnTo>
                  <a:pt x="242" y="254"/>
                </a:lnTo>
                <a:lnTo>
                  <a:pt x="240" y="256"/>
                </a:lnTo>
                <a:lnTo>
                  <a:pt x="238" y="256"/>
                </a:lnTo>
                <a:lnTo>
                  <a:pt x="236" y="254"/>
                </a:lnTo>
                <a:lnTo>
                  <a:pt x="236" y="254"/>
                </a:lnTo>
                <a:lnTo>
                  <a:pt x="238" y="252"/>
                </a:lnTo>
                <a:lnTo>
                  <a:pt x="236" y="250"/>
                </a:lnTo>
                <a:lnTo>
                  <a:pt x="234" y="246"/>
                </a:lnTo>
                <a:lnTo>
                  <a:pt x="234" y="244"/>
                </a:lnTo>
                <a:lnTo>
                  <a:pt x="234" y="244"/>
                </a:lnTo>
                <a:lnTo>
                  <a:pt x="236" y="244"/>
                </a:lnTo>
                <a:lnTo>
                  <a:pt x="238" y="246"/>
                </a:lnTo>
                <a:lnTo>
                  <a:pt x="240" y="248"/>
                </a:lnTo>
                <a:lnTo>
                  <a:pt x="240" y="248"/>
                </a:lnTo>
                <a:lnTo>
                  <a:pt x="240" y="248"/>
                </a:lnTo>
                <a:lnTo>
                  <a:pt x="242" y="246"/>
                </a:lnTo>
                <a:lnTo>
                  <a:pt x="244" y="242"/>
                </a:lnTo>
                <a:lnTo>
                  <a:pt x="246" y="240"/>
                </a:lnTo>
                <a:lnTo>
                  <a:pt x="248" y="238"/>
                </a:lnTo>
                <a:lnTo>
                  <a:pt x="248" y="238"/>
                </a:lnTo>
                <a:lnTo>
                  <a:pt x="250" y="240"/>
                </a:lnTo>
                <a:lnTo>
                  <a:pt x="250" y="242"/>
                </a:lnTo>
                <a:lnTo>
                  <a:pt x="250" y="242"/>
                </a:lnTo>
                <a:lnTo>
                  <a:pt x="256" y="242"/>
                </a:lnTo>
                <a:lnTo>
                  <a:pt x="258" y="240"/>
                </a:lnTo>
                <a:lnTo>
                  <a:pt x="258" y="240"/>
                </a:lnTo>
                <a:lnTo>
                  <a:pt x="258" y="238"/>
                </a:lnTo>
                <a:lnTo>
                  <a:pt x="256" y="234"/>
                </a:lnTo>
                <a:lnTo>
                  <a:pt x="256" y="234"/>
                </a:lnTo>
                <a:lnTo>
                  <a:pt x="260" y="234"/>
                </a:lnTo>
                <a:lnTo>
                  <a:pt x="262" y="232"/>
                </a:lnTo>
                <a:lnTo>
                  <a:pt x="264" y="232"/>
                </a:lnTo>
                <a:lnTo>
                  <a:pt x="266" y="230"/>
                </a:lnTo>
                <a:lnTo>
                  <a:pt x="266" y="230"/>
                </a:lnTo>
                <a:lnTo>
                  <a:pt x="268" y="232"/>
                </a:lnTo>
                <a:lnTo>
                  <a:pt x="268" y="234"/>
                </a:lnTo>
                <a:lnTo>
                  <a:pt x="266" y="238"/>
                </a:lnTo>
                <a:lnTo>
                  <a:pt x="266" y="238"/>
                </a:lnTo>
                <a:lnTo>
                  <a:pt x="268" y="240"/>
                </a:lnTo>
                <a:lnTo>
                  <a:pt x="268" y="240"/>
                </a:lnTo>
                <a:lnTo>
                  <a:pt x="266" y="244"/>
                </a:lnTo>
                <a:lnTo>
                  <a:pt x="266" y="244"/>
                </a:lnTo>
                <a:lnTo>
                  <a:pt x="270" y="246"/>
                </a:lnTo>
                <a:lnTo>
                  <a:pt x="274" y="246"/>
                </a:lnTo>
                <a:lnTo>
                  <a:pt x="274" y="246"/>
                </a:lnTo>
                <a:lnTo>
                  <a:pt x="276" y="246"/>
                </a:lnTo>
                <a:lnTo>
                  <a:pt x="278" y="246"/>
                </a:lnTo>
                <a:lnTo>
                  <a:pt x="278" y="244"/>
                </a:lnTo>
                <a:lnTo>
                  <a:pt x="278" y="244"/>
                </a:lnTo>
                <a:lnTo>
                  <a:pt x="276" y="244"/>
                </a:lnTo>
                <a:lnTo>
                  <a:pt x="274" y="242"/>
                </a:lnTo>
                <a:lnTo>
                  <a:pt x="272" y="240"/>
                </a:lnTo>
                <a:lnTo>
                  <a:pt x="274" y="238"/>
                </a:lnTo>
                <a:lnTo>
                  <a:pt x="274" y="238"/>
                </a:lnTo>
                <a:lnTo>
                  <a:pt x="276" y="238"/>
                </a:lnTo>
                <a:lnTo>
                  <a:pt x="276" y="240"/>
                </a:lnTo>
                <a:lnTo>
                  <a:pt x="278" y="242"/>
                </a:lnTo>
                <a:lnTo>
                  <a:pt x="280" y="242"/>
                </a:lnTo>
                <a:lnTo>
                  <a:pt x="280" y="242"/>
                </a:lnTo>
                <a:lnTo>
                  <a:pt x="280" y="238"/>
                </a:lnTo>
                <a:lnTo>
                  <a:pt x="282" y="234"/>
                </a:lnTo>
                <a:lnTo>
                  <a:pt x="290" y="230"/>
                </a:lnTo>
                <a:lnTo>
                  <a:pt x="290" y="230"/>
                </a:lnTo>
                <a:lnTo>
                  <a:pt x="288" y="228"/>
                </a:lnTo>
                <a:lnTo>
                  <a:pt x="288" y="224"/>
                </a:lnTo>
                <a:lnTo>
                  <a:pt x="288" y="224"/>
                </a:lnTo>
                <a:lnTo>
                  <a:pt x="292" y="224"/>
                </a:lnTo>
                <a:lnTo>
                  <a:pt x="294" y="222"/>
                </a:lnTo>
                <a:lnTo>
                  <a:pt x="296" y="220"/>
                </a:lnTo>
                <a:lnTo>
                  <a:pt x="296" y="220"/>
                </a:lnTo>
                <a:lnTo>
                  <a:pt x="292" y="216"/>
                </a:lnTo>
                <a:lnTo>
                  <a:pt x="292" y="216"/>
                </a:lnTo>
                <a:lnTo>
                  <a:pt x="296" y="214"/>
                </a:lnTo>
                <a:lnTo>
                  <a:pt x="298" y="208"/>
                </a:lnTo>
                <a:lnTo>
                  <a:pt x="298" y="208"/>
                </a:lnTo>
                <a:lnTo>
                  <a:pt x="296" y="206"/>
                </a:lnTo>
                <a:lnTo>
                  <a:pt x="294" y="206"/>
                </a:lnTo>
                <a:lnTo>
                  <a:pt x="290" y="202"/>
                </a:lnTo>
                <a:lnTo>
                  <a:pt x="290" y="202"/>
                </a:lnTo>
                <a:lnTo>
                  <a:pt x="290" y="200"/>
                </a:lnTo>
                <a:lnTo>
                  <a:pt x="290" y="198"/>
                </a:lnTo>
                <a:lnTo>
                  <a:pt x="290" y="198"/>
                </a:lnTo>
                <a:lnTo>
                  <a:pt x="284" y="198"/>
                </a:lnTo>
                <a:lnTo>
                  <a:pt x="278" y="200"/>
                </a:lnTo>
                <a:lnTo>
                  <a:pt x="278" y="200"/>
                </a:lnTo>
                <a:lnTo>
                  <a:pt x="278" y="198"/>
                </a:lnTo>
                <a:lnTo>
                  <a:pt x="278" y="198"/>
                </a:lnTo>
                <a:lnTo>
                  <a:pt x="280" y="196"/>
                </a:lnTo>
                <a:lnTo>
                  <a:pt x="282" y="194"/>
                </a:lnTo>
                <a:lnTo>
                  <a:pt x="282" y="190"/>
                </a:lnTo>
                <a:lnTo>
                  <a:pt x="282" y="190"/>
                </a:lnTo>
                <a:lnTo>
                  <a:pt x="276" y="188"/>
                </a:lnTo>
                <a:lnTo>
                  <a:pt x="274" y="186"/>
                </a:lnTo>
                <a:lnTo>
                  <a:pt x="270" y="188"/>
                </a:lnTo>
                <a:lnTo>
                  <a:pt x="270" y="188"/>
                </a:lnTo>
                <a:lnTo>
                  <a:pt x="270" y="190"/>
                </a:lnTo>
                <a:lnTo>
                  <a:pt x="272" y="192"/>
                </a:lnTo>
                <a:lnTo>
                  <a:pt x="272" y="192"/>
                </a:lnTo>
                <a:lnTo>
                  <a:pt x="272" y="194"/>
                </a:lnTo>
                <a:lnTo>
                  <a:pt x="272" y="194"/>
                </a:lnTo>
                <a:lnTo>
                  <a:pt x="268" y="192"/>
                </a:lnTo>
                <a:lnTo>
                  <a:pt x="264" y="188"/>
                </a:lnTo>
                <a:lnTo>
                  <a:pt x="260" y="180"/>
                </a:lnTo>
                <a:lnTo>
                  <a:pt x="260" y="180"/>
                </a:lnTo>
                <a:lnTo>
                  <a:pt x="260" y="178"/>
                </a:lnTo>
                <a:lnTo>
                  <a:pt x="260" y="178"/>
                </a:lnTo>
                <a:lnTo>
                  <a:pt x="262" y="178"/>
                </a:lnTo>
                <a:lnTo>
                  <a:pt x="264" y="178"/>
                </a:lnTo>
                <a:lnTo>
                  <a:pt x="266" y="176"/>
                </a:lnTo>
                <a:lnTo>
                  <a:pt x="266" y="174"/>
                </a:lnTo>
                <a:lnTo>
                  <a:pt x="266" y="174"/>
                </a:lnTo>
                <a:lnTo>
                  <a:pt x="264" y="172"/>
                </a:lnTo>
                <a:lnTo>
                  <a:pt x="258" y="170"/>
                </a:lnTo>
                <a:lnTo>
                  <a:pt x="258" y="170"/>
                </a:lnTo>
                <a:lnTo>
                  <a:pt x="258" y="166"/>
                </a:lnTo>
                <a:lnTo>
                  <a:pt x="256" y="166"/>
                </a:lnTo>
                <a:lnTo>
                  <a:pt x="252" y="164"/>
                </a:lnTo>
                <a:lnTo>
                  <a:pt x="252" y="162"/>
                </a:lnTo>
                <a:lnTo>
                  <a:pt x="252" y="162"/>
                </a:lnTo>
                <a:lnTo>
                  <a:pt x="252" y="162"/>
                </a:lnTo>
                <a:lnTo>
                  <a:pt x="252" y="162"/>
                </a:lnTo>
                <a:lnTo>
                  <a:pt x="254" y="164"/>
                </a:lnTo>
                <a:lnTo>
                  <a:pt x="256" y="166"/>
                </a:lnTo>
                <a:lnTo>
                  <a:pt x="256" y="166"/>
                </a:lnTo>
                <a:lnTo>
                  <a:pt x="260" y="160"/>
                </a:lnTo>
                <a:lnTo>
                  <a:pt x="260" y="160"/>
                </a:lnTo>
                <a:lnTo>
                  <a:pt x="264" y="162"/>
                </a:lnTo>
                <a:lnTo>
                  <a:pt x="264" y="162"/>
                </a:lnTo>
                <a:lnTo>
                  <a:pt x="264" y="162"/>
                </a:lnTo>
                <a:lnTo>
                  <a:pt x="266" y="160"/>
                </a:lnTo>
                <a:lnTo>
                  <a:pt x="270" y="160"/>
                </a:lnTo>
                <a:lnTo>
                  <a:pt x="270" y="160"/>
                </a:lnTo>
                <a:lnTo>
                  <a:pt x="268" y="158"/>
                </a:lnTo>
                <a:lnTo>
                  <a:pt x="268" y="158"/>
                </a:lnTo>
                <a:lnTo>
                  <a:pt x="276" y="156"/>
                </a:lnTo>
                <a:lnTo>
                  <a:pt x="276" y="156"/>
                </a:lnTo>
                <a:lnTo>
                  <a:pt x="274" y="156"/>
                </a:lnTo>
                <a:lnTo>
                  <a:pt x="274" y="152"/>
                </a:lnTo>
                <a:lnTo>
                  <a:pt x="274" y="152"/>
                </a:lnTo>
                <a:lnTo>
                  <a:pt x="276" y="152"/>
                </a:lnTo>
                <a:lnTo>
                  <a:pt x="278" y="150"/>
                </a:lnTo>
                <a:lnTo>
                  <a:pt x="280" y="148"/>
                </a:lnTo>
                <a:lnTo>
                  <a:pt x="284" y="148"/>
                </a:lnTo>
                <a:lnTo>
                  <a:pt x="284" y="148"/>
                </a:lnTo>
                <a:lnTo>
                  <a:pt x="284" y="150"/>
                </a:lnTo>
                <a:lnTo>
                  <a:pt x="284" y="152"/>
                </a:lnTo>
                <a:lnTo>
                  <a:pt x="282" y="154"/>
                </a:lnTo>
                <a:lnTo>
                  <a:pt x="282" y="154"/>
                </a:lnTo>
                <a:lnTo>
                  <a:pt x="284" y="156"/>
                </a:lnTo>
                <a:lnTo>
                  <a:pt x="284" y="158"/>
                </a:lnTo>
                <a:lnTo>
                  <a:pt x="284" y="162"/>
                </a:lnTo>
                <a:lnTo>
                  <a:pt x="284" y="162"/>
                </a:lnTo>
                <a:lnTo>
                  <a:pt x="286" y="164"/>
                </a:lnTo>
                <a:lnTo>
                  <a:pt x="290" y="164"/>
                </a:lnTo>
                <a:lnTo>
                  <a:pt x="290" y="164"/>
                </a:lnTo>
                <a:lnTo>
                  <a:pt x="292" y="164"/>
                </a:lnTo>
                <a:lnTo>
                  <a:pt x="294" y="164"/>
                </a:lnTo>
                <a:lnTo>
                  <a:pt x="294" y="162"/>
                </a:lnTo>
                <a:lnTo>
                  <a:pt x="294" y="162"/>
                </a:lnTo>
                <a:lnTo>
                  <a:pt x="292" y="162"/>
                </a:lnTo>
                <a:lnTo>
                  <a:pt x="290" y="158"/>
                </a:lnTo>
                <a:lnTo>
                  <a:pt x="288" y="156"/>
                </a:lnTo>
                <a:lnTo>
                  <a:pt x="290" y="154"/>
                </a:lnTo>
                <a:lnTo>
                  <a:pt x="290" y="154"/>
                </a:lnTo>
                <a:lnTo>
                  <a:pt x="292" y="156"/>
                </a:lnTo>
                <a:lnTo>
                  <a:pt x="292" y="158"/>
                </a:lnTo>
                <a:lnTo>
                  <a:pt x="294" y="160"/>
                </a:lnTo>
                <a:lnTo>
                  <a:pt x="296" y="160"/>
                </a:lnTo>
                <a:lnTo>
                  <a:pt x="296" y="160"/>
                </a:lnTo>
                <a:lnTo>
                  <a:pt x="296" y="154"/>
                </a:lnTo>
                <a:lnTo>
                  <a:pt x="298" y="150"/>
                </a:lnTo>
                <a:lnTo>
                  <a:pt x="306" y="146"/>
                </a:lnTo>
                <a:lnTo>
                  <a:pt x="306" y="146"/>
                </a:lnTo>
                <a:lnTo>
                  <a:pt x="304" y="144"/>
                </a:lnTo>
                <a:lnTo>
                  <a:pt x="304" y="142"/>
                </a:lnTo>
                <a:lnTo>
                  <a:pt x="304" y="142"/>
                </a:lnTo>
                <a:lnTo>
                  <a:pt x="308" y="140"/>
                </a:lnTo>
                <a:lnTo>
                  <a:pt x="310" y="140"/>
                </a:lnTo>
                <a:lnTo>
                  <a:pt x="312" y="138"/>
                </a:lnTo>
                <a:lnTo>
                  <a:pt x="312" y="138"/>
                </a:lnTo>
                <a:lnTo>
                  <a:pt x="308" y="134"/>
                </a:lnTo>
                <a:lnTo>
                  <a:pt x="308" y="134"/>
                </a:lnTo>
                <a:lnTo>
                  <a:pt x="312" y="130"/>
                </a:lnTo>
                <a:lnTo>
                  <a:pt x="314" y="126"/>
                </a:lnTo>
                <a:lnTo>
                  <a:pt x="314" y="126"/>
                </a:lnTo>
                <a:close/>
                <a:moveTo>
                  <a:pt x="278" y="70"/>
                </a:moveTo>
                <a:lnTo>
                  <a:pt x="278" y="70"/>
                </a:lnTo>
                <a:lnTo>
                  <a:pt x="274" y="70"/>
                </a:lnTo>
                <a:lnTo>
                  <a:pt x="272" y="68"/>
                </a:lnTo>
                <a:lnTo>
                  <a:pt x="272" y="68"/>
                </a:lnTo>
                <a:lnTo>
                  <a:pt x="274" y="66"/>
                </a:lnTo>
                <a:lnTo>
                  <a:pt x="276" y="66"/>
                </a:lnTo>
                <a:lnTo>
                  <a:pt x="278" y="68"/>
                </a:lnTo>
                <a:lnTo>
                  <a:pt x="278" y="70"/>
                </a:lnTo>
                <a:lnTo>
                  <a:pt x="278" y="70"/>
                </a:lnTo>
                <a:close/>
                <a:moveTo>
                  <a:pt x="274" y="86"/>
                </a:moveTo>
                <a:lnTo>
                  <a:pt x="274" y="86"/>
                </a:lnTo>
                <a:lnTo>
                  <a:pt x="270" y="92"/>
                </a:lnTo>
                <a:lnTo>
                  <a:pt x="270" y="92"/>
                </a:lnTo>
                <a:lnTo>
                  <a:pt x="268" y="88"/>
                </a:lnTo>
                <a:lnTo>
                  <a:pt x="268" y="82"/>
                </a:lnTo>
                <a:lnTo>
                  <a:pt x="268" y="82"/>
                </a:lnTo>
                <a:lnTo>
                  <a:pt x="270" y="86"/>
                </a:lnTo>
                <a:lnTo>
                  <a:pt x="274" y="86"/>
                </a:lnTo>
                <a:lnTo>
                  <a:pt x="274" y="86"/>
                </a:lnTo>
                <a:close/>
                <a:moveTo>
                  <a:pt x="18" y="210"/>
                </a:moveTo>
                <a:lnTo>
                  <a:pt x="18" y="210"/>
                </a:lnTo>
                <a:lnTo>
                  <a:pt x="16" y="208"/>
                </a:lnTo>
                <a:lnTo>
                  <a:pt x="18" y="206"/>
                </a:lnTo>
                <a:lnTo>
                  <a:pt x="20" y="202"/>
                </a:lnTo>
                <a:lnTo>
                  <a:pt x="20" y="202"/>
                </a:lnTo>
                <a:lnTo>
                  <a:pt x="22" y="204"/>
                </a:lnTo>
                <a:lnTo>
                  <a:pt x="22" y="208"/>
                </a:lnTo>
                <a:lnTo>
                  <a:pt x="20" y="210"/>
                </a:lnTo>
                <a:lnTo>
                  <a:pt x="18" y="210"/>
                </a:lnTo>
                <a:lnTo>
                  <a:pt x="18" y="210"/>
                </a:lnTo>
                <a:close/>
                <a:moveTo>
                  <a:pt x="290" y="208"/>
                </a:moveTo>
                <a:lnTo>
                  <a:pt x="294" y="208"/>
                </a:lnTo>
                <a:lnTo>
                  <a:pt x="294" y="208"/>
                </a:lnTo>
                <a:lnTo>
                  <a:pt x="294" y="210"/>
                </a:lnTo>
                <a:lnTo>
                  <a:pt x="294" y="214"/>
                </a:lnTo>
                <a:lnTo>
                  <a:pt x="294" y="214"/>
                </a:lnTo>
                <a:lnTo>
                  <a:pt x="290" y="214"/>
                </a:lnTo>
                <a:lnTo>
                  <a:pt x="288" y="212"/>
                </a:lnTo>
                <a:lnTo>
                  <a:pt x="288" y="210"/>
                </a:lnTo>
                <a:lnTo>
                  <a:pt x="290" y="208"/>
                </a:lnTo>
                <a:lnTo>
                  <a:pt x="290" y="208"/>
                </a:lnTo>
                <a:close/>
                <a:moveTo>
                  <a:pt x="208" y="208"/>
                </a:moveTo>
                <a:lnTo>
                  <a:pt x="208" y="208"/>
                </a:lnTo>
                <a:lnTo>
                  <a:pt x="206" y="214"/>
                </a:lnTo>
                <a:lnTo>
                  <a:pt x="206" y="214"/>
                </a:lnTo>
                <a:lnTo>
                  <a:pt x="204" y="214"/>
                </a:lnTo>
                <a:lnTo>
                  <a:pt x="202" y="212"/>
                </a:lnTo>
                <a:lnTo>
                  <a:pt x="202" y="208"/>
                </a:lnTo>
                <a:lnTo>
                  <a:pt x="208" y="208"/>
                </a:lnTo>
                <a:close/>
                <a:moveTo>
                  <a:pt x="56" y="216"/>
                </a:moveTo>
                <a:lnTo>
                  <a:pt x="56" y="216"/>
                </a:lnTo>
                <a:lnTo>
                  <a:pt x="54" y="216"/>
                </a:lnTo>
                <a:lnTo>
                  <a:pt x="54" y="214"/>
                </a:lnTo>
                <a:lnTo>
                  <a:pt x="52" y="212"/>
                </a:lnTo>
                <a:lnTo>
                  <a:pt x="52" y="212"/>
                </a:lnTo>
                <a:lnTo>
                  <a:pt x="52" y="212"/>
                </a:lnTo>
                <a:lnTo>
                  <a:pt x="52" y="210"/>
                </a:lnTo>
                <a:lnTo>
                  <a:pt x="54" y="208"/>
                </a:lnTo>
                <a:lnTo>
                  <a:pt x="56" y="208"/>
                </a:lnTo>
                <a:lnTo>
                  <a:pt x="56" y="208"/>
                </a:lnTo>
                <a:lnTo>
                  <a:pt x="54" y="212"/>
                </a:lnTo>
                <a:lnTo>
                  <a:pt x="56" y="216"/>
                </a:lnTo>
                <a:lnTo>
                  <a:pt x="56" y="216"/>
                </a:lnTo>
                <a:close/>
                <a:moveTo>
                  <a:pt x="134" y="86"/>
                </a:moveTo>
                <a:lnTo>
                  <a:pt x="134" y="86"/>
                </a:lnTo>
                <a:lnTo>
                  <a:pt x="136" y="86"/>
                </a:lnTo>
                <a:lnTo>
                  <a:pt x="138" y="86"/>
                </a:lnTo>
                <a:lnTo>
                  <a:pt x="142" y="84"/>
                </a:lnTo>
                <a:lnTo>
                  <a:pt x="142" y="84"/>
                </a:lnTo>
                <a:lnTo>
                  <a:pt x="146" y="82"/>
                </a:lnTo>
                <a:lnTo>
                  <a:pt x="146" y="82"/>
                </a:lnTo>
                <a:lnTo>
                  <a:pt x="148" y="84"/>
                </a:lnTo>
                <a:lnTo>
                  <a:pt x="148" y="84"/>
                </a:lnTo>
                <a:lnTo>
                  <a:pt x="142" y="88"/>
                </a:lnTo>
                <a:lnTo>
                  <a:pt x="142" y="88"/>
                </a:lnTo>
                <a:lnTo>
                  <a:pt x="136" y="88"/>
                </a:lnTo>
                <a:lnTo>
                  <a:pt x="136" y="88"/>
                </a:lnTo>
                <a:lnTo>
                  <a:pt x="136" y="88"/>
                </a:lnTo>
                <a:lnTo>
                  <a:pt x="136" y="88"/>
                </a:lnTo>
                <a:lnTo>
                  <a:pt x="134" y="86"/>
                </a:lnTo>
                <a:lnTo>
                  <a:pt x="134" y="86"/>
                </a:lnTo>
                <a:close/>
                <a:moveTo>
                  <a:pt x="136" y="78"/>
                </a:moveTo>
                <a:lnTo>
                  <a:pt x="136" y="78"/>
                </a:lnTo>
                <a:lnTo>
                  <a:pt x="138" y="78"/>
                </a:lnTo>
                <a:lnTo>
                  <a:pt x="138" y="80"/>
                </a:lnTo>
                <a:lnTo>
                  <a:pt x="140" y="82"/>
                </a:lnTo>
                <a:lnTo>
                  <a:pt x="140" y="82"/>
                </a:lnTo>
                <a:lnTo>
                  <a:pt x="140" y="84"/>
                </a:lnTo>
                <a:lnTo>
                  <a:pt x="138" y="84"/>
                </a:lnTo>
                <a:lnTo>
                  <a:pt x="134" y="84"/>
                </a:lnTo>
                <a:lnTo>
                  <a:pt x="134" y="84"/>
                </a:lnTo>
                <a:lnTo>
                  <a:pt x="134" y="82"/>
                </a:lnTo>
                <a:lnTo>
                  <a:pt x="136" y="78"/>
                </a:lnTo>
                <a:lnTo>
                  <a:pt x="136" y="78"/>
                </a:lnTo>
                <a:close/>
                <a:moveTo>
                  <a:pt x="154" y="94"/>
                </a:moveTo>
                <a:lnTo>
                  <a:pt x="154" y="94"/>
                </a:lnTo>
                <a:lnTo>
                  <a:pt x="156" y="96"/>
                </a:lnTo>
                <a:lnTo>
                  <a:pt x="156" y="100"/>
                </a:lnTo>
                <a:lnTo>
                  <a:pt x="156" y="100"/>
                </a:lnTo>
                <a:lnTo>
                  <a:pt x="158" y="100"/>
                </a:lnTo>
                <a:lnTo>
                  <a:pt x="160" y="100"/>
                </a:lnTo>
                <a:lnTo>
                  <a:pt x="160" y="100"/>
                </a:lnTo>
                <a:lnTo>
                  <a:pt x="160" y="102"/>
                </a:lnTo>
                <a:lnTo>
                  <a:pt x="160" y="102"/>
                </a:lnTo>
                <a:lnTo>
                  <a:pt x="162" y="106"/>
                </a:lnTo>
                <a:lnTo>
                  <a:pt x="162" y="106"/>
                </a:lnTo>
                <a:lnTo>
                  <a:pt x="160" y="104"/>
                </a:lnTo>
                <a:lnTo>
                  <a:pt x="160" y="104"/>
                </a:lnTo>
                <a:lnTo>
                  <a:pt x="160" y="104"/>
                </a:lnTo>
                <a:lnTo>
                  <a:pt x="160" y="104"/>
                </a:lnTo>
                <a:lnTo>
                  <a:pt x="154" y="102"/>
                </a:lnTo>
                <a:lnTo>
                  <a:pt x="154" y="102"/>
                </a:lnTo>
                <a:lnTo>
                  <a:pt x="152" y="98"/>
                </a:lnTo>
                <a:lnTo>
                  <a:pt x="152" y="94"/>
                </a:lnTo>
                <a:lnTo>
                  <a:pt x="152" y="94"/>
                </a:lnTo>
                <a:lnTo>
                  <a:pt x="154" y="94"/>
                </a:lnTo>
                <a:lnTo>
                  <a:pt x="154" y="94"/>
                </a:lnTo>
                <a:close/>
                <a:moveTo>
                  <a:pt x="174" y="78"/>
                </a:moveTo>
                <a:lnTo>
                  <a:pt x="174" y="78"/>
                </a:lnTo>
                <a:lnTo>
                  <a:pt x="178" y="78"/>
                </a:lnTo>
                <a:lnTo>
                  <a:pt x="178" y="78"/>
                </a:lnTo>
                <a:lnTo>
                  <a:pt x="178" y="86"/>
                </a:lnTo>
                <a:lnTo>
                  <a:pt x="174" y="90"/>
                </a:lnTo>
                <a:lnTo>
                  <a:pt x="174" y="90"/>
                </a:lnTo>
                <a:lnTo>
                  <a:pt x="174" y="84"/>
                </a:lnTo>
                <a:lnTo>
                  <a:pt x="174" y="78"/>
                </a:lnTo>
                <a:lnTo>
                  <a:pt x="174" y="78"/>
                </a:lnTo>
                <a:close/>
                <a:moveTo>
                  <a:pt x="174" y="68"/>
                </a:moveTo>
                <a:lnTo>
                  <a:pt x="174" y="68"/>
                </a:lnTo>
                <a:lnTo>
                  <a:pt x="178" y="68"/>
                </a:lnTo>
                <a:lnTo>
                  <a:pt x="178" y="72"/>
                </a:lnTo>
                <a:lnTo>
                  <a:pt x="174" y="72"/>
                </a:lnTo>
                <a:lnTo>
                  <a:pt x="174" y="72"/>
                </a:lnTo>
                <a:lnTo>
                  <a:pt x="174" y="70"/>
                </a:lnTo>
                <a:lnTo>
                  <a:pt x="174" y="68"/>
                </a:lnTo>
                <a:lnTo>
                  <a:pt x="174" y="68"/>
                </a:lnTo>
                <a:close/>
                <a:moveTo>
                  <a:pt x="196" y="94"/>
                </a:moveTo>
                <a:lnTo>
                  <a:pt x="196" y="94"/>
                </a:lnTo>
                <a:lnTo>
                  <a:pt x="200" y="96"/>
                </a:lnTo>
                <a:lnTo>
                  <a:pt x="200" y="98"/>
                </a:lnTo>
                <a:lnTo>
                  <a:pt x="200" y="98"/>
                </a:lnTo>
                <a:lnTo>
                  <a:pt x="198" y="98"/>
                </a:lnTo>
                <a:lnTo>
                  <a:pt x="196" y="96"/>
                </a:lnTo>
                <a:lnTo>
                  <a:pt x="196" y="94"/>
                </a:lnTo>
                <a:lnTo>
                  <a:pt x="196" y="94"/>
                </a:lnTo>
                <a:close/>
                <a:moveTo>
                  <a:pt x="202" y="110"/>
                </a:moveTo>
                <a:lnTo>
                  <a:pt x="202" y="110"/>
                </a:lnTo>
                <a:lnTo>
                  <a:pt x="204" y="114"/>
                </a:lnTo>
                <a:lnTo>
                  <a:pt x="204" y="114"/>
                </a:lnTo>
                <a:lnTo>
                  <a:pt x="200" y="112"/>
                </a:lnTo>
                <a:lnTo>
                  <a:pt x="198" y="110"/>
                </a:lnTo>
                <a:lnTo>
                  <a:pt x="202" y="110"/>
                </a:lnTo>
                <a:close/>
                <a:moveTo>
                  <a:pt x="230" y="122"/>
                </a:moveTo>
                <a:lnTo>
                  <a:pt x="230" y="122"/>
                </a:lnTo>
                <a:lnTo>
                  <a:pt x="232" y="124"/>
                </a:lnTo>
                <a:lnTo>
                  <a:pt x="234" y="124"/>
                </a:lnTo>
                <a:lnTo>
                  <a:pt x="234" y="132"/>
                </a:lnTo>
                <a:lnTo>
                  <a:pt x="234" y="132"/>
                </a:lnTo>
                <a:lnTo>
                  <a:pt x="232" y="130"/>
                </a:lnTo>
                <a:lnTo>
                  <a:pt x="230" y="128"/>
                </a:lnTo>
                <a:lnTo>
                  <a:pt x="230" y="128"/>
                </a:lnTo>
                <a:lnTo>
                  <a:pt x="228" y="128"/>
                </a:lnTo>
                <a:lnTo>
                  <a:pt x="228" y="126"/>
                </a:lnTo>
                <a:lnTo>
                  <a:pt x="224" y="124"/>
                </a:lnTo>
                <a:lnTo>
                  <a:pt x="224" y="124"/>
                </a:lnTo>
                <a:lnTo>
                  <a:pt x="224" y="120"/>
                </a:lnTo>
                <a:lnTo>
                  <a:pt x="224" y="114"/>
                </a:lnTo>
                <a:lnTo>
                  <a:pt x="224" y="114"/>
                </a:lnTo>
                <a:lnTo>
                  <a:pt x="224" y="112"/>
                </a:lnTo>
                <a:lnTo>
                  <a:pt x="222" y="110"/>
                </a:lnTo>
                <a:lnTo>
                  <a:pt x="220" y="110"/>
                </a:lnTo>
                <a:lnTo>
                  <a:pt x="220" y="106"/>
                </a:lnTo>
                <a:lnTo>
                  <a:pt x="220" y="106"/>
                </a:lnTo>
                <a:lnTo>
                  <a:pt x="224" y="108"/>
                </a:lnTo>
                <a:lnTo>
                  <a:pt x="224" y="110"/>
                </a:lnTo>
                <a:lnTo>
                  <a:pt x="228" y="112"/>
                </a:lnTo>
                <a:lnTo>
                  <a:pt x="228" y="112"/>
                </a:lnTo>
                <a:lnTo>
                  <a:pt x="230" y="118"/>
                </a:lnTo>
                <a:lnTo>
                  <a:pt x="230" y="122"/>
                </a:lnTo>
                <a:lnTo>
                  <a:pt x="230" y="122"/>
                </a:lnTo>
                <a:close/>
                <a:moveTo>
                  <a:pt x="240" y="156"/>
                </a:moveTo>
                <a:lnTo>
                  <a:pt x="240" y="156"/>
                </a:lnTo>
                <a:lnTo>
                  <a:pt x="240" y="154"/>
                </a:lnTo>
                <a:lnTo>
                  <a:pt x="240" y="152"/>
                </a:lnTo>
                <a:lnTo>
                  <a:pt x="240" y="152"/>
                </a:lnTo>
                <a:lnTo>
                  <a:pt x="242" y="154"/>
                </a:lnTo>
                <a:lnTo>
                  <a:pt x="242" y="154"/>
                </a:lnTo>
                <a:lnTo>
                  <a:pt x="240" y="156"/>
                </a:lnTo>
                <a:lnTo>
                  <a:pt x="240" y="156"/>
                </a:lnTo>
                <a:close/>
                <a:moveTo>
                  <a:pt x="168" y="112"/>
                </a:moveTo>
                <a:lnTo>
                  <a:pt x="168" y="112"/>
                </a:lnTo>
                <a:lnTo>
                  <a:pt x="168" y="114"/>
                </a:lnTo>
                <a:lnTo>
                  <a:pt x="168" y="114"/>
                </a:lnTo>
                <a:lnTo>
                  <a:pt x="166" y="114"/>
                </a:lnTo>
                <a:lnTo>
                  <a:pt x="166" y="114"/>
                </a:lnTo>
                <a:lnTo>
                  <a:pt x="166" y="114"/>
                </a:lnTo>
                <a:lnTo>
                  <a:pt x="166" y="114"/>
                </a:lnTo>
                <a:lnTo>
                  <a:pt x="168" y="112"/>
                </a:lnTo>
                <a:lnTo>
                  <a:pt x="168" y="112"/>
                </a:lnTo>
                <a:lnTo>
                  <a:pt x="168" y="112"/>
                </a:lnTo>
                <a:lnTo>
                  <a:pt x="168" y="112"/>
                </a:lnTo>
                <a:close/>
                <a:moveTo>
                  <a:pt x="162" y="108"/>
                </a:moveTo>
                <a:lnTo>
                  <a:pt x="162" y="108"/>
                </a:lnTo>
                <a:lnTo>
                  <a:pt x="162" y="108"/>
                </a:lnTo>
                <a:lnTo>
                  <a:pt x="162" y="108"/>
                </a:lnTo>
                <a:lnTo>
                  <a:pt x="162" y="106"/>
                </a:lnTo>
                <a:lnTo>
                  <a:pt x="162" y="106"/>
                </a:lnTo>
                <a:lnTo>
                  <a:pt x="162" y="106"/>
                </a:lnTo>
                <a:lnTo>
                  <a:pt x="162" y="106"/>
                </a:lnTo>
                <a:lnTo>
                  <a:pt x="162" y="108"/>
                </a:lnTo>
                <a:lnTo>
                  <a:pt x="162" y="108"/>
                </a:lnTo>
                <a:close/>
                <a:moveTo>
                  <a:pt x="130" y="178"/>
                </a:moveTo>
                <a:lnTo>
                  <a:pt x="130" y="178"/>
                </a:lnTo>
                <a:lnTo>
                  <a:pt x="130" y="176"/>
                </a:lnTo>
                <a:lnTo>
                  <a:pt x="126" y="174"/>
                </a:lnTo>
                <a:lnTo>
                  <a:pt x="126" y="174"/>
                </a:lnTo>
                <a:lnTo>
                  <a:pt x="128" y="172"/>
                </a:lnTo>
                <a:lnTo>
                  <a:pt x="128" y="172"/>
                </a:lnTo>
                <a:lnTo>
                  <a:pt x="132" y="172"/>
                </a:lnTo>
                <a:lnTo>
                  <a:pt x="134" y="174"/>
                </a:lnTo>
                <a:lnTo>
                  <a:pt x="134" y="174"/>
                </a:lnTo>
                <a:lnTo>
                  <a:pt x="132" y="178"/>
                </a:lnTo>
                <a:lnTo>
                  <a:pt x="132" y="178"/>
                </a:lnTo>
                <a:lnTo>
                  <a:pt x="132" y="178"/>
                </a:lnTo>
                <a:lnTo>
                  <a:pt x="130" y="178"/>
                </a:lnTo>
                <a:lnTo>
                  <a:pt x="130" y="178"/>
                </a:lnTo>
                <a:close/>
                <a:moveTo>
                  <a:pt x="176" y="116"/>
                </a:moveTo>
                <a:lnTo>
                  <a:pt x="176" y="116"/>
                </a:lnTo>
                <a:lnTo>
                  <a:pt x="180" y="116"/>
                </a:lnTo>
                <a:lnTo>
                  <a:pt x="182" y="112"/>
                </a:lnTo>
                <a:lnTo>
                  <a:pt x="182" y="112"/>
                </a:lnTo>
                <a:lnTo>
                  <a:pt x="184" y="114"/>
                </a:lnTo>
                <a:lnTo>
                  <a:pt x="184" y="114"/>
                </a:lnTo>
                <a:lnTo>
                  <a:pt x="182" y="118"/>
                </a:lnTo>
                <a:lnTo>
                  <a:pt x="182" y="118"/>
                </a:lnTo>
                <a:lnTo>
                  <a:pt x="176" y="118"/>
                </a:lnTo>
                <a:lnTo>
                  <a:pt x="176" y="118"/>
                </a:lnTo>
                <a:lnTo>
                  <a:pt x="176" y="116"/>
                </a:lnTo>
                <a:lnTo>
                  <a:pt x="176" y="116"/>
                </a:lnTo>
                <a:close/>
                <a:moveTo>
                  <a:pt x="218" y="124"/>
                </a:moveTo>
                <a:lnTo>
                  <a:pt x="224" y="124"/>
                </a:lnTo>
                <a:lnTo>
                  <a:pt x="224" y="124"/>
                </a:lnTo>
                <a:lnTo>
                  <a:pt x="222" y="132"/>
                </a:lnTo>
                <a:lnTo>
                  <a:pt x="222" y="132"/>
                </a:lnTo>
                <a:lnTo>
                  <a:pt x="220" y="132"/>
                </a:lnTo>
                <a:lnTo>
                  <a:pt x="220" y="132"/>
                </a:lnTo>
                <a:lnTo>
                  <a:pt x="218" y="130"/>
                </a:lnTo>
                <a:lnTo>
                  <a:pt x="218" y="130"/>
                </a:lnTo>
                <a:lnTo>
                  <a:pt x="218" y="124"/>
                </a:lnTo>
                <a:lnTo>
                  <a:pt x="218" y="124"/>
                </a:lnTo>
                <a:close/>
                <a:moveTo>
                  <a:pt x="206" y="122"/>
                </a:moveTo>
                <a:lnTo>
                  <a:pt x="206" y="122"/>
                </a:lnTo>
                <a:lnTo>
                  <a:pt x="206" y="122"/>
                </a:lnTo>
                <a:lnTo>
                  <a:pt x="206" y="122"/>
                </a:lnTo>
                <a:lnTo>
                  <a:pt x="206" y="122"/>
                </a:lnTo>
                <a:lnTo>
                  <a:pt x="206" y="122"/>
                </a:lnTo>
                <a:lnTo>
                  <a:pt x="206" y="122"/>
                </a:lnTo>
                <a:lnTo>
                  <a:pt x="206" y="122"/>
                </a:lnTo>
                <a:lnTo>
                  <a:pt x="206" y="122"/>
                </a:lnTo>
                <a:close/>
                <a:moveTo>
                  <a:pt x="218" y="96"/>
                </a:moveTo>
                <a:lnTo>
                  <a:pt x="218" y="102"/>
                </a:lnTo>
                <a:lnTo>
                  <a:pt x="218" y="102"/>
                </a:lnTo>
                <a:lnTo>
                  <a:pt x="216" y="102"/>
                </a:lnTo>
                <a:lnTo>
                  <a:pt x="216" y="100"/>
                </a:lnTo>
                <a:lnTo>
                  <a:pt x="216" y="96"/>
                </a:lnTo>
                <a:lnTo>
                  <a:pt x="216" y="96"/>
                </a:lnTo>
                <a:lnTo>
                  <a:pt x="216" y="94"/>
                </a:lnTo>
                <a:lnTo>
                  <a:pt x="214" y="90"/>
                </a:lnTo>
                <a:lnTo>
                  <a:pt x="214" y="90"/>
                </a:lnTo>
                <a:lnTo>
                  <a:pt x="220" y="92"/>
                </a:lnTo>
                <a:lnTo>
                  <a:pt x="222" y="94"/>
                </a:lnTo>
                <a:lnTo>
                  <a:pt x="222" y="94"/>
                </a:lnTo>
                <a:lnTo>
                  <a:pt x="222" y="96"/>
                </a:lnTo>
                <a:lnTo>
                  <a:pt x="218" y="96"/>
                </a:lnTo>
                <a:lnTo>
                  <a:pt x="218" y="96"/>
                </a:lnTo>
                <a:close/>
                <a:moveTo>
                  <a:pt x="184" y="110"/>
                </a:moveTo>
                <a:lnTo>
                  <a:pt x="184" y="110"/>
                </a:lnTo>
                <a:lnTo>
                  <a:pt x="184" y="110"/>
                </a:lnTo>
                <a:lnTo>
                  <a:pt x="184" y="110"/>
                </a:lnTo>
                <a:lnTo>
                  <a:pt x="184" y="108"/>
                </a:lnTo>
                <a:lnTo>
                  <a:pt x="184" y="108"/>
                </a:lnTo>
                <a:lnTo>
                  <a:pt x="186" y="108"/>
                </a:lnTo>
                <a:lnTo>
                  <a:pt x="186" y="108"/>
                </a:lnTo>
                <a:lnTo>
                  <a:pt x="184" y="110"/>
                </a:lnTo>
                <a:lnTo>
                  <a:pt x="184" y="110"/>
                </a:lnTo>
                <a:close/>
                <a:moveTo>
                  <a:pt x="172" y="92"/>
                </a:moveTo>
                <a:lnTo>
                  <a:pt x="172" y="92"/>
                </a:lnTo>
                <a:lnTo>
                  <a:pt x="172" y="92"/>
                </a:lnTo>
                <a:lnTo>
                  <a:pt x="172" y="92"/>
                </a:lnTo>
                <a:lnTo>
                  <a:pt x="172" y="94"/>
                </a:lnTo>
                <a:lnTo>
                  <a:pt x="172" y="94"/>
                </a:lnTo>
                <a:lnTo>
                  <a:pt x="172" y="96"/>
                </a:lnTo>
                <a:lnTo>
                  <a:pt x="168" y="96"/>
                </a:lnTo>
                <a:lnTo>
                  <a:pt x="168" y="96"/>
                </a:lnTo>
                <a:lnTo>
                  <a:pt x="168" y="92"/>
                </a:lnTo>
                <a:lnTo>
                  <a:pt x="166" y="90"/>
                </a:lnTo>
                <a:lnTo>
                  <a:pt x="164" y="90"/>
                </a:lnTo>
                <a:lnTo>
                  <a:pt x="160" y="88"/>
                </a:lnTo>
                <a:lnTo>
                  <a:pt x="160" y="88"/>
                </a:lnTo>
                <a:lnTo>
                  <a:pt x="162" y="86"/>
                </a:lnTo>
                <a:lnTo>
                  <a:pt x="162" y="86"/>
                </a:lnTo>
                <a:lnTo>
                  <a:pt x="166" y="84"/>
                </a:lnTo>
                <a:lnTo>
                  <a:pt x="166" y="84"/>
                </a:lnTo>
                <a:lnTo>
                  <a:pt x="168" y="84"/>
                </a:lnTo>
                <a:lnTo>
                  <a:pt x="168" y="86"/>
                </a:lnTo>
                <a:lnTo>
                  <a:pt x="168" y="86"/>
                </a:lnTo>
                <a:lnTo>
                  <a:pt x="172" y="88"/>
                </a:lnTo>
                <a:lnTo>
                  <a:pt x="172" y="88"/>
                </a:lnTo>
                <a:lnTo>
                  <a:pt x="172" y="92"/>
                </a:lnTo>
                <a:lnTo>
                  <a:pt x="172" y="92"/>
                </a:lnTo>
                <a:close/>
                <a:moveTo>
                  <a:pt x="110" y="106"/>
                </a:moveTo>
                <a:lnTo>
                  <a:pt x="110" y="106"/>
                </a:lnTo>
                <a:lnTo>
                  <a:pt x="110" y="104"/>
                </a:lnTo>
                <a:lnTo>
                  <a:pt x="112" y="104"/>
                </a:lnTo>
                <a:lnTo>
                  <a:pt x="112" y="104"/>
                </a:lnTo>
                <a:lnTo>
                  <a:pt x="110" y="106"/>
                </a:lnTo>
                <a:lnTo>
                  <a:pt x="110" y="106"/>
                </a:lnTo>
                <a:close/>
                <a:moveTo>
                  <a:pt x="94" y="114"/>
                </a:moveTo>
                <a:lnTo>
                  <a:pt x="94" y="114"/>
                </a:lnTo>
                <a:lnTo>
                  <a:pt x="94" y="114"/>
                </a:lnTo>
                <a:lnTo>
                  <a:pt x="94" y="114"/>
                </a:lnTo>
                <a:lnTo>
                  <a:pt x="96" y="114"/>
                </a:lnTo>
                <a:lnTo>
                  <a:pt x="96" y="114"/>
                </a:lnTo>
                <a:lnTo>
                  <a:pt x="94" y="114"/>
                </a:lnTo>
                <a:lnTo>
                  <a:pt x="94" y="114"/>
                </a:lnTo>
                <a:close/>
                <a:moveTo>
                  <a:pt x="98" y="108"/>
                </a:moveTo>
                <a:lnTo>
                  <a:pt x="98" y="108"/>
                </a:lnTo>
                <a:lnTo>
                  <a:pt x="96" y="110"/>
                </a:lnTo>
                <a:lnTo>
                  <a:pt x="94" y="110"/>
                </a:lnTo>
                <a:lnTo>
                  <a:pt x="94" y="110"/>
                </a:lnTo>
                <a:lnTo>
                  <a:pt x="96" y="108"/>
                </a:lnTo>
                <a:lnTo>
                  <a:pt x="96" y="108"/>
                </a:lnTo>
                <a:lnTo>
                  <a:pt x="98" y="108"/>
                </a:lnTo>
                <a:lnTo>
                  <a:pt x="98" y="108"/>
                </a:lnTo>
                <a:close/>
                <a:moveTo>
                  <a:pt x="100" y="78"/>
                </a:moveTo>
                <a:lnTo>
                  <a:pt x="100" y="78"/>
                </a:lnTo>
                <a:lnTo>
                  <a:pt x="102" y="78"/>
                </a:lnTo>
                <a:lnTo>
                  <a:pt x="104" y="78"/>
                </a:lnTo>
                <a:lnTo>
                  <a:pt x="104" y="78"/>
                </a:lnTo>
                <a:lnTo>
                  <a:pt x="104" y="80"/>
                </a:lnTo>
                <a:lnTo>
                  <a:pt x="102" y="80"/>
                </a:lnTo>
                <a:lnTo>
                  <a:pt x="100" y="80"/>
                </a:lnTo>
                <a:lnTo>
                  <a:pt x="100" y="78"/>
                </a:lnTo>
                <a:lnTo>
                  <a:pt x="100" y="78"/>
                </a:lnTo>
                <a:close/>
                <a:moveTo>
                  <a:pt x="86" y="96"/>
                </a:moveTo>
                <a:lnTo>
                  <a:pt x="86" y="96"/>
                </a:lnTo>
                <a:lnTo>
                  <a:pt x="88" y="96"/>
                </a:lnTo>
                <a:lnTo>
                  <a:pt x="88" y="96"/>
                </a:lnTo>
                <a:lnTo>
                  <a:pt x="82" y="98"/>
                </a:lnTo>
                <a:lnTo>
                  <a:pt x="76" y="100"/>
                </a:lnTo>
                <a:lnTo>
                  <a:pt x="76" y="100"/>
                </a:lnTo>
                <a:lnTo>
                  <a:pt x="78" y="98"/>
                </a:lnTo>
                <a:lnTo>
                  <a:pt x="80" y="96"/>
                </a:lnTo>
                <a:lnTo>
                  <a:pt x="84" y="94"/>
                </a:lnTo>
                <a:lnTo>
                  <a:pt x="86" y="96"/>
                </a:lnTo>
                <a:lnTo>
                  <a:pt x="86" y="96"/>
                </a:lnTo>
                <a:close/>
                <a:moveTo>
                  <a:pt x="80" y="106"/>
                </a:moveTo>
                <a:lnTo>
                  <a:pt x="80" y="106"/>
                </a:lnTo>
                <a:lnTo>
                  <a:pt x="80" y="104"/>
                </a:lnTo>
                <a:lnTo>
                  <a:pt x="82" y="104"/>
                </a:lnTo>
                <a:lnTo>
                  <a:pt x="84" y="104"/>
                </a:lnTo>
                <a:lnTo>
                  <a:pt x="84" y="104"/>
                </a:lnTo>
                <a:lnTo>
                  <a:pt x="84" y="108"/>
                </a:lnTo>
                <a:lnTo>
                  <a:pt x="82" y="108"/>
                </a:lnTo>
                <a:lnTo>
                  <a:pt x="82" y="108"/>
                </a:lnTo>
                <a:lnTo>
                  <a:pt x="80" y="106"/>
                </a:lnTo>
                <a:lnTo>
                  <a:pt x="80" y="106"/>
                </a:lnTo>
                <a:lnTo>
                  <a:pt x="80" y="106"/>
                </a:lnTo>
                <a:lnTo>
                  <a:pt x="80" y="106"/>
                </a:lnTo>
                <a:close/>
                <a:moveTo>
                  <a:pt x="74" y="100"/>
                </a:moveTo>
                <a:lnTo>
                  <a:pt x="74" y="100"/>
                </a:lnTo>
                <a:lnTo>
                  <a:pt x="70" y="100"/>
                </a:lnTo>
                <a:lnTo>
                  <a:pt x="70" y="96"/>
                </a:lnTo>
                <a:lnTo>
                  <a:pt x="70" y="96"/>
                </a:lnTo>
                <a:lnTo>
                  <a:pt x="74" y="98"/>
                </a:lnTo>
                <a:lnTo>
                  <a:pt x="74" y="100"/>
                </a:lnTo>
                <a:lnTo>
                  <a:pt x="74" y="100"/>
                </a:lnTo>
                <a:close/>
                <a:moveTo>
                  <a:pt x="116" y="196"/>
                </a:moveTo>
                <a:lnTo>
                  <a:pt x="116" y="196"/>
                </a:lnTo>
                <a:lnTo>
                  <a:pt x="116" y="198"/>
                </a:lnTo>
                <a:lnTo>
                  <a:pt x="116" y="198"/>
                </a:lnTo>
                <a:lnTo>
                  <a:pt x="116" y="198"/>
                </a:lnTo>
                <a:lnTo>
                  <a:pt x="116" y="198"/>
                </a:lnTo>
                <a:lnTo>
                  <a:pt x="116" y="196"/>
                </a:lnTo>
                <a:lnTo>
                  <a:pt x="116" y="196"/>
                </a:lnTo>
                <a:close/>
                <a:moveTo>
                  <a:pt x="122" y="198"/>
                </a:moveTo>
                <a:lnTo>
                  <a:pt x="122" y="198"/>
                </a:lnTo>
                <a:lnTo>
                  <a:pt x="122" y="198"/>
                </a:lnTo>
                <a:lnTo>
                  <a:pt x="122" y="198"/>
                </a:lnTo>
                <a:lnTo>
                  <a:pt x="120" y="200"/>
                </a:lnTo>
                <a:lnTo>
                  <a:pt x="120" y="200"/>
                </a:lnTo>
                <a:lnTo>
                  <a:pt x="118" y="200"/>
                </a:lnTo>
                <a:lnTo>
                  <a:pt x="118" y="200"/>
                </a:lnTo>
                <a:lnTo>
                  <a:pt x="122" y="198"/>
                </a:lnTo>
                <a:lnTo>
                  <a:pt x="122" y="198"/>
                </a:lnTo>
                <a:close/>
                <a:moveTo>
                  <a:pt x="166" y="202"/>
                </a:moveTo>
                <a:lnTo>
                  <a:pt x="166" y="202"/>
                </a:lnTo>
                <a:lnTo>
                  <a:pt x="166" y="202"/>
                </a:lnTo>
                <a:lnTo>
                  <a:pt x="166" y="202"/>
                </a:lnTo>
                <a:lnTo>
                  <a:pt x="156" y="202"/>
                </a:lnTo>
                <a:lnTo>
                  <a:pt x="166" y="202"/>
                </a:lnTo>
                <a:close/>
                <a:moveTo>
                  <a:pt x="250" y="96"/>
                </a:moveTo>
                <a:lnTo>
                  <a:pt x="250" y="96"/>
                </a:lnTo>
                <a:lnTo>
                  <a:pt x="250" y="98"/>
                </a:lnTo>
                <a:lnTo>
                  <a:pt x="250" y="100"/>
                </a:lnTo>
                <a:lnTo>
                  <a:pt x="246" y="104"/>
                </a:lnTo>
                <a:lnTo>
                  <a:pt x="246" y="104"/>
                </a:lnTo>
                <a:lnTo>
                  <a:pt x="242" y="102"/>
                </a:lnTo>
                <a:lnTo>
                  <a:pt x="242" y="98"/>
                </a:lnTo>
                <a:lnTo>
                  <a:pt x="242" y="98"/>
                </a:lnTo>
                <a:lnTo>
                  <a:pt x="246" y="96"/>
                </a:lnTo>
                <a:lnTo>
                  <a:pt x="250" y="96"/>
                </a:lnTo>
                <a:lnTo>
                  <a:pt x="250" y="96"/>
                </a:lnTo>
                <a:close/>
                <a:moveTo>
                  <a:pt x="238" y="124"/>
                </a:moveTo>
                <a:lnTo>
                  <a:pt x="238" y="124"/>
                </a:lnTo>
                <a:lnTo>
                  <a:pt x="236" y="122"/>
                </a:lnTo>
                <a:lnTo>
                  <a:pt x="236" y="120"/>
                </a:lnTo>
                <a:lnTo>
                  <a:pt x="236" y="118"/>
                </a:lnTo>
                <a:lnTo>
                  <a:pt x="236" y="118"/>
                </a:lnTo>
                <a:lnTo>
                  <a:pt x="238" y="118"/>
                </a:lnTo>
                <a:lnTo>
                  <a:pt x="240" y="120"/>
                </a:lnTo>
                <a:lnTo>
                  <a:pt x="240" y="122"/>
                </a:lnTo>
                <a:lnTo>
                  <a:pt x="238" y="124"/>
                </a:lnTo>
                <a:lnTo>
                  <a:pt x="238" y="124"/>
                </a:lnTo>
                <a:close/>
                <a:moveTo>
                  <a:pt x="230" y="84"/>
                </a:moveTo>
                <a:lnTo>
                  <a:pt x="230" y="84"/>
                </a:lnTo>
                <a:lnTo>
                  <a:pt x="234" y="86"/>
                </a:lnTo>
                <a:lnTo>
                  <a:pt x="234" y="88"/>
                </a:lnTo>
                <a:lnTo>
                  <a:pt x="230" y="88"/>
                </a:lnTo>
                <a:lnTo>
                  <a:pt x="230" y="84"/>
                </a:lnTo>
                <a:close/>
                <a:moveTo>
                  <a:pt x="236" y="108"/>
                </a:moveTo>
                <a:lnTo>
                  <a:pt x="236" y="108"/>
                </a:lnTo>
                <a:lnTo>
                  <a:pt x="234" y="110"/>
                </a:lnTo>
                <a:lnTo>
                  <a:pt x="234" y="110"/>
                </a:lnTo>
                <a:lnTo>
                  <a:pt x="230" y="108"/>
                </a:lnTo>
                <a:lnTo>
                  <a:pt x="226" y="106"/>
                </a:lnTo>
                <a:lnTo>
                  <a:pt x="226" y="106"/>
                </a:lnTo>
                <a:lnTo>
                  <a:pt x="224" y="102"/>
                </a:lnTo>
                <a:lnTo>
                  <a:pt x="224" y="96"/>
                </a:lnTo>
                <a:lnTo>
                  <a:pt x="224" y="96"/>
                </a:lnTo>
                <a:lnTo>
                  <a:pt x="226" y="96"/>
                </a:lnTo>
                <a:lnTo>
                  <a:pt x="226" y="98"/>
                </a:lnTo>
                <a:lnTo>
                  <a:pt x="228" y="102"/>
                </a:lnTo>
                <a:lnTo>
                  <a:pt x="228" y="102"/>
                </a:lnTo>
                <a:lnTo>
                  <a:pt x="234" y="102"/>
                </a:lnTo>
                <a:lnTo>
                  <a:pt x="236" y="104"/>
                </a:lnTo>
                <a:lnTo>
                  <a:pt x="236" y="108"/>
                </a:lnTo>
                <a:lnTo>
                  <a:pt x="236" y="108"/>
                </a:lnTo>
                <a:close/>
                <a:moveTo>
                  <a:pt x="228" y="64"/>
                </a:moveTo>
                <a:lnTo>
                  <a:pt x="228" y="64"/>
                </a:lnTo>
                <a:lnTo>
                  <a:pt x="228" y="66"/>
                </a:lnTo>
                <a:lnTo>
                  <a:pt x="228" y="68"/>
                </a:lnTo>
                <a:lnTo>
                  <a:pt x="226" y="70"/>
                </a:lnTo>
                <a:lnTo>
                  <a:pt x="226" y="70"/>
                </a:lnTo>
                <a:lnTo>
                  <a:pt x="226" y="70"/>
                </a:lnTo>
                <a:lnTo>
                  <a:pt x="224" y="70"/>
                </a:lnTo>
                <a:lnTo>
                  <a:pt x="224" y="68"/>
                </a:lnTo>
                <a:lnTo>
                  <a:pt x="222" y="68"/>
                </a:lnTo>
                <a:lnTo>
                  <a:pt x="222" y="68"/>
                </a:lnTo>
                <a:lnTo>
                  <a:pt x="224" y="66"/>
                </a:lnTo>
                <a:lnTo>
                  <a:pt x="228" y="64"/>
                </a:lnTo>
                <a:lnTo>
                  <a:pt x="228" y="64"/>
                </a:lnTo>
                <a:close/>
                <a:moveTo>
                  <a:pt x="212" y="54"/>
                </a:moveTo>
                <a:lnTo>
                  <a:pt x="212" y="54"/>
                </a:lnTo>
                <a:lnTo>
                  <a:pt x="218" y="56"/>
                </a:lnTo>
                <a:lnTo>
                  <a:pt x="222" y="62"/>
                </a:lnTo>
                <a:lnTo>
                  <a:pt x="222" y="62"/>
                </a:lnTo>
                <a:lnTo>
                  <a:pt x="214" y="60"/>
                </a:lnTo>
                <a:lnTo>
                  <a:pt x="212" y="58"/>
                </a:lnTo>
                <a:lnTo>
                  <a:pt x="212" y="54"/>
                </a:lnTo>
                <a:lnTo>
                  <a:pt x="212" y="54"/>
                </a:lnTo>
                <a:close/>
                <a:moveTo>
                  <a:pt x="214" y="74"/>
                </a:moveTo>
                <a:lnTo>
                  <a:pt x="214" y="74"/>
                </a:lnTo>
                <a:lnTo>
                  <a:pt x="214" y="70"/>
                </a:lnTo>
                <a:lnTo>
                  <a:pt x="212" y="68"/>
                </a:lnTo>
                <a:lnTo>
                  <a:pt x="214" y="66"/>
                </a:lnTo>
                <a:lnTo>
                  <a:pt x="214" y="66"/>
                </a:lnTo>
                <a:lnTo>
                  <a:pt x="216" y="68"/>
                </a:lnTo>
                <a:lnTo>
                  <a:pt x="218" y="68"/>
                </a:lnTo>
                <a:lnTo>
                  <a:pt x="218" y="68"/>
                </a:lnTo>
                <a:lnTo>
                  <a:pt x="216" y="72"/>
                </a:lnTo>
                <a:lnTo>
                  <a:pt x="216" y="76"/>
                </a:lnTo>
                <a:lnTo>
                  <a:pt x="216" y="76"/>
                </a:lnTo>
                <a:lnTo>
                  <a:pt x="222" y="74"/>
                </a:lnTo>
                <a:lnTo>
                  <a:pt x="226" y="74"/>
                </a:lnTo>
                <a:lnTo>
                  <a:pt x="230" y="74"/>
                </a:lnTo>
                <a:lnTo>
                  <a:pt x="230" y="74"/>
                </a:lnTo>
                <a:lnTo>
                  <a:pt x="230" y="76"/>
                </a:lnTo>
                <a:lnTo>
                  <a:pt x="228" y="78"/>
                </a:lnTo>
                <a:lnTo>
                  <a:pt x="228" y="78"/>
                </a:lnTo>
                <a:lnTo>
                  <a:pt x="224" y="78"/>
                </a:lnTo>
                <a:lnTo>
                  <a:pt x="224" y="78"/>
                </a:lnTo>
                <a:lnTo>
                  <a:pt x="220" y="82"/>
                </a:lnTo>
                <a:lnTo>
                  <a:pt x="220" y="82"/>
                </a:lnTo>
                <a:lnTo>
                  <a:pt x="214" y="78"/>
                </a:lnTo>
                <a:lnTo>
                  <a:pt x="214" y="78"/>
                </a:lnTo>
                <a:lnTo>
                  <a:pt x="212" y="78"/>
                </a:lnTo>
                <a:lnTo>
                  <a:pt x="208" y="78"/>
                </a:lnTo>
                <a:lnTo>
                  <a:pt x="208" y="78"/>
                </a:lnTo>
                <a:lnTo>
                  <a:pt x="208" y="76"/>
                </a:lnTo>
                <a:lnTo>
                  <a:pt x="208" y="72"/>
                </a:lnTo>
                <a:lnTo>
                  <a:pt x="208" y="72"/>
                </a:lnTo>
                <a:lnTo>
                  <a:pt x="212" y="74"/>
                </a:lnTo>
                <a:lnTo>
                  <a:pt x="214" y="74"/>
                </a:lnTo>
                <a:lnTo>
                  <a:pt x="214" y="74"/>
                </a:lnTo>
                <a:close/>
                <a:moveTo>
                  <a:pt x="198" y="30"/>
                </a:moveTo>
                <a:lnTo>
                  <a:pt x="198" y="30"/>
                </a:lnTo>
                <a:lnTo>
                  <a:pt x="200" y="30"/>
                </a:lnTo>
                <a:lnTo>
                  <a:pt x="200" y="32"/>
                </a:lnTo>
                <a:lnTo>
                  <a:pt x="200" y="36"/>
                </a:lnTo>
                <a:lnTo>
                  <a:pt x="200" y="36"/>
                </a:lnTo>
                <a:lnTo>
                  <a:pt x="202" y="44"/>
                </a:lnTo>
                <a:lnTo>
                  <a:pt x="208" y="44"/>
                </a:lnTo>
                <a:lnTo>
                  <a:pt x="208" y="44"/>
                </a:lnTo>
                <a:lnTo>
                  <a:pt x="206" y="48"/>
                </a:lnTo>
                <a:lnTo>
                  <a:pt x="206" y="50"/>
                </a:lnTo>
                <a:lnTo>
                  <a:pt x="200" y="54"/>
                </a:lnTo>
                <a:lnTo>
                  <a:pt x="200" y="54"/>
                </a:lnTo>
                <a:lnTo>
                  <a:pt x="198" y="52"/>
                </a:lnTo>
                <a:lnTo>
                  <a:pt x="198" y="52"/>
                </a:lnTo>
                <a:lnTo>
                  <a:pt x="200" y="48"/>
                </a:lnTo>
                <a:lnTo>
                  <a:pt x="202" y="46"/>
                </a:lnTo>
                <a:lnTo>
                  <a:pt x="202" y="46"/>
                </a:lnTo>
                <a:lnTo>
                  <a:pt x="200" y="44"/>
                </a:lnTo>
                <a:lnTo>
                  <a:pt x="198" y="44"/>
                </a:lnTo>
                <a:lnTo>
                  <a:pt x="198" y="44"/>
                </a:lnTo>
                <a:lnTo>
                  <a:pt x="198" y="40"/>
                </a:lnTo>
                <a:lnTo>
                  <a:pt x="196" y="38"/>
                </a:lnTo>
                <a:lnTo>
                  <a:pt x="194" y="36"/>
                </a:lnTo>
                <a:lnTo>
                  <a:pt x="192" y="34"/>
                </a:lnTo>
                <a:lnTo>
                  <a:pt x="192" y="34"/>
                </a:lnTo>
                <a:lnTo>
                  <a:pt x="196" y="32"/>
                </a:lnTo>
                <a:lnTo>
                  <a:pt x="198" y="30"/>
                </a:lnTo>
                <a:lnTo>
                  <a:pt x="198" y="30"/>
                </a:lnTo>
                <a:close/>
                <a:moveTo>
                  <a:pt x="188" y="70"/>
                </a:moveTo>
                <a:lnTo>
                  <a:pt x="188" y="70"/>
                </a:lnTo>
                <a:lnTo>
                  <a:pt x="184" y="68"/>
                </a:lnTo>
                <a:lnTo>
                  <a:pt x="182" y="66"/>
                </a:lnTo>
                <a:lnTo>
                  <a:pt x="182" y="62"/>
                </a:lnTo>
                <a:lnTo>
                  <a:pt x="182" y="62"/>
                </a:lnTo>
                <a:lnTo>
                  <a:pt x="186" y="62"/>
                </a:lnTo>
                <a:lnTo>
                  <a:pt x="188" y="64"/>
                </a:lnTo>
                <a:lnTo>
                  <a:pt x="188" y="68"/>
                </a:lnTo>
                <a:lnTo>
                  <a:pt x="188" y="70"/>
                </a:lnTo>
                <a:lnTo>
                  <a:pt x="188" y="70"/>
                </a:lnTo>
                <a:close/>
                <a:moveTo>
                  <a:pt x="178" y="24"/>
                </a:moveTo>
                <a:lnTo>
                  <a:pt x="178" y="24"/>
                </a:lnTo>
                <a:lnTo>
                  <a:pt x="180" y="24"/>
                </a:lnTo>
                <a:lnTo>
                  <a:pt x="182" y="26"/>
                </a:lnTo>
                <a:lnTo>
                  <a:pt x="184" y="30"/>
                </a:lnTo>
                <a:lnTo>
                  <a:pt x="184" y="30"/>
                </a:lnTo>
                <a:lnTo>
                  <a:pt x="184" y="30"/>
                </a:lnTo>
                <a:lnTo>
                  <a:pt x="184" y="30"/>
                </a:lnTo>
                <a:lnTo>
                  <a:pt x="182" y="32"/>
                </a:lnTo>
                <a:lnTo>
                  <a:pt x="182" y="32"/>
                </a:lnTo>
                <a:lnTo>
                  <a:pt x="180" y="30"/>
                </a:lnTo>
                <a:lnTo>
                  <a:pt x="176" y="28"/>
                </a:lnTo>
                <a:lnTo>
                  <a:pt x="176" y="28"/>
                </a:lnTo>
                <a:lnTo>
                  <a:pt x="178" y="24"/>
                </a:lnTo>
                <a:lnTo>
                  <a:pt x="178" y="24"/>
                </a:lnTo>
                <a:close/>
                <a:moveTo>
                  <a:pt x="180" y="40"/>
                </a:moveTo>
                <a:lnTo>
                  <a:pt x="180" y="40"/>
                </a:lnTo>
                <a:lnTo>
                  <a:pt x="170" y="40"/>
                </a:lnTo>
                <a:lnTo>
                  <a:pt x="170" y="40"/>
                </a:lnTo>
                <a:lnTo>
                  <a:pt x="176" y="36"/>
                </a:lnTo>
                <a:lnTo>
                  <a:pt x="180" y="38"/>
                </a:lnTo>
                <a:lnTo>
                  <a:pt x="180" y="40"/>
                </a:lnTo>
                <a:lnTo>
                  <a:pt x="180" y="40"/>
                </a:lnTo>
                <a:close/>
                <a:moveTo>
                  <a:pt x="164" y="54"/>
                </a:moveTo>
                <a:lnTo>
                  <a:pt x="168" y="54"/>
                </a:lnTo>
                <a:lnTo>
                  <a:pt x="168" y="54"/>
                </a:lnTo>
                <a:lnTo>
                  <a:pt x="168" y="56"/>
                </a:lnTo>
                <a:lnTo>
                  <a:pt x="168" y="58"/>
                </a:lnTo>
                <a:lnTo>
                  <a:pt x="166" y="60"/>
                </a:lnTo>
                <a:lnTo>
                  <a:pt x="164" y="58"/>
                </a:lnTo>
                <a:lnTo>
                  <a:pt x="164" y="56"/>
                </a:lnTo>
                <a:lnTo>
                  <a:pt x="164" y="54"/>
                </a:lnTo>
                <a:lnTo>
                  <a:pt x="164" y="54"/>
                </a:lnTo>
                <a:close/>
                <a:moveTo>
                  <a:pt x="158" y="64"/>
                </a:moveTo>
                <a:lnTo>
                  <a:pt x="162" y="64"/>
                </a:lnTo>
                <a:lnTo>
                  <a:pt x="162" y="64"/>
                </a:lnTo>
                <a:lnTo>
                  <a:pt x="162" y="68"/>
                </a:lnTo>
                <a:lnTo>
                  <a:pt x="162" y="68"/>
                </a:lnTo>
                <a:lnTo>
                  <a:pt x="168" y="70"/>
                </a:lnTo>
                <a:lnTo>
                  <a:pt x="168" y="70"/>
                </a:lnTo>
                <a:lnTo>
                  <a:pt x="166" y="74"/>
                </a:lnTo>
                <a:lnTo>
                  <a:pt x="166" y="80"/>
                </a:lnTo>
                <a:lnTo>
                  <a:pt x="162" y="80"/>
                </a:lnTo>
                <a:lnTo>
                  <a:pt x="162" y="80"/>
                </a:lnTo>
                <a:lnTo>
                  <a:pt x="160" y="78"/>
                </a:lnTo>
                <a:lnTo>
                  <a:pt x="160" y="76"/>
                </a:lnTo>
                <a:lnTo>
                  <a:pt x="160" y="76"/>
                </a:lnTo>
                <a:lnTo>
                  <a:pt x="160" y="72"/>
                </a:lnTo>
                <a:lnTo>
                  <a:pt x="160" y="68"/>
                </a:lnTo>
                <a:lnTo>
                  <a:pt x="158" y="64"/>
                </a:lnTo>
                <a:lnTo>
                  <a:pt x="158" y="64"/>
                </a:lnTo>
                <a:close/>
                <a:moveTo>
                  <a:pt x="150" y="92"/>
                </a:moveTo>
                <a:lnTo>
                  <a:pt x="150" y="92"/>
                </a:lnTo>
                <a:lnTo>
                  <a:pt x="150" y="90"/>
                </a:lnTo>
                <a:lnTo>
                  <a:pt x="150" y="90"/>
                </a:lnTo>
                <a:lnTo>
                  <a:pt x="150" y="90"/>
                </a:lnTo>
                <a:lnTo>
                  <a:pt x="150" y="90"/>
                </a:lnTo>
                <a:lnTo>
                  <a:pt x="150" y="90"/>
                </a:lnTo>
                <a:lnTo>
                  <a:pt x="150" y="90"/>
                </a:lnTo>
                <a:lnTo>
                  <a:pt x="150" y="92"/>
                </a:lnTo>
                <a:lnTo>
                  <a:pt x="150" y="92"/>
                </a:lnTo>
                <a:close/>
                <a:moveTo>
                  <a:pt x="146" y="58"/>
                </a:moveTo>
                <a:lnTo>
                  <a:pt x="146" y="58"/>
                </a:lnTo>
                <a:lnTo>
                  <a:pt x="142" y="56"/>
                </a:lnTo>
                <a:lnTo>
                  <a:pt x="142" y="56"/>
                </a:lnTo>
                <a:lnTo>
                  <a:pt x="144" y="54"/>
                </a:lnTo>
                <a:lnTo>
                  <a:pt x="146" y="52"/>
                </a:lnTo>
                <a:lnTo>
                  <a:pt x="146" y="52"/>
                </a:lnTo>
                <a:lnTo>
                  <a:pt x="148" y="56"/>
                </a:lnTo>
                <a:lnTo>
                  <a:pt x="146" y="58"/>
                </a:lnTo>
                <a:lnTo>
                  <a:pt x="146" y="58"/>
                </a:lnTo>
                <a:close/>
                <a:moveTo>
                  <a:pt x="142" y="16"/>
                </a:moveTo>
                <a:lnTo>
                  <a:pt x="142" y="16"/>
                </a:lnTo>
                <a:lnTo>
                  <a:pt x="140" y="20"/>
                </a:lnTo>
                <a:lnTo>
                  <a:pt x="136" y="22"/>
                </a:lnTo>
                <a:lnTo>
                  <a:pt x="136" y="22"/>
                </a:lnTo>
                <a:lnTo>
                  <a:pt x="136" y="18"/>
                </a:lnTo>
                <a:lnTo>
                  <a:pt x="136" y="16"/>
                </a:lnTo>
                <a:lnTo>
                  <a:pt x="138" y="14"/>
                </a:lnTo>
                <a:lnTo>
                  <a:pt x="142" y="16"/>
                </a:lnTo>
                <a:lnTo>
                  <a:pt x="142" y="16"/>
                </a:lnTo>
                <a:close/>
                <a:moveTo>
                  <a:pt x="130" y="30"/>
                </a:moveTo>
                <a:lnTo>
                  <a:pt x="130" y="30"/>
                </a:lnTo>
                <a:lnTo>
                  <a:pt x="136" y="32"/>
                </a:lnTo>
                <a:lnTo>
                  <a:pt x="140" y="32"/>
                </a:lnTo>
                <a:lnTo>
                  <a:pt x="144" y="32"/>
                </a:lnTo>
                <a:lnTo>
                  <a:pt x="144" y="32"/>
                </a:lnTo>
                <a:lnTo>
                  <a:pt x="146" y="34"/>
                </a:lnTo>
                <a:lnTo>
                  <a:pt x="146" y="34"/>
                </a:lnTo>
                <a:lnTo>
                  <a:pt x="146" y="36"/>
                </a:lnTo>
                <a:lnTo>
                  <a:pt x="144" y="36"/>
                </a:lnTo>
                <a:lnTo>
                  <a:pt x="144" y="36"/>
                </a:lnTo>
                <a:lnTo>
                  <a:pt x="142" y="38"/>
                </a:lnTo>
                <a:lnTo>
                  <a:pt x="142" y="38"/>
                </a:lnTo>
                <a:lnTo>
                  <a:pt x="140" y="36"/>
                </a:lnTo>
                <a:lnTo>
                  <a:pt x="138" y="34"/>
                </a:lnTo>
                <a:lnTo>
                  <a:pt x="130" y="36"/>
                </a:lnTo>
                <a:lnTo>
                  <a:pt x="130" y="36"/>
                </a:lnTo>
                <a:lnTo>
                  <a:pt x="128" y="32"/>
                </a:lnTo>
                <a:lnTo>
                  <a:pt x="130" y="30"/>
                </a:lnTo>
                <a:lnTo>
                  <a:pt x="130" y="30"/>
                </a:lnTo>
                <a:close/>
                <a:moveTo>
                  <a:pt x="126" y="40"/>
                </a:moveTo>
                <a:lnTo>
                  <a:pt x="126" y="40"/>
                </a:lnTo>
                <a:lnTo>
                  <a:pt x="128" y="44"/>
                </a:lnTo>
                <a:lnTo>
                  <a:pt x="128" y="48"/>
                </a:lnTo>
                <a:lnTo>
                  <a:pt x="128" y="48"/>
                </a:lnTo>
                <a:lnTo>
                  <a:pt x="132" y="48"/>
                </a:lnTo>
                <a:lnTo>
                  <a:pt x="134" y="46"/>
                </a:lnTo>
                <a:lnTo>
                  <a:pt x="134" y="42"/>
                </a:lnTo>
                <a:lnTo>
                  <a:pt x="134" y="42"/>
                </a:lnTo>
                <a:lnTo>
                  <a:pt x="136" y="44"/>
                </a:lnTo>
                <a:lnTo>
                  <a:pt x="138" y="46"/>
                </a:lnTo>
                <a:lnTo>
                  <a:pt x="144" y="48"/>
                </a:lnTo>
                <a:lnTo>
                  <a:pt x="144" y="48"/>
                </a:lnTo>
                <a:lnTo>
                  <a:pt x="134" y="50"/>
                </a:lnTo>
                <a:lnTo>
                  <a:pt x="130" y="50"/>
                </a:lnTo>
                <a:lnTo>
                  <a:pt x="126" y="48"/>
                </a:lnTo>
                <a:lnTo>
                  <a:pt x="126" y="48"/>
                </a:lnTo>
                <a:lnTo>
                  <a:pt x="126" y="46"/>
                </a:lnTo>
                <a:lnTo>
                  <a:pt x="126" y="44"/>
                </a:lnTo>
                <a:lnTo>
                  <a:pt x="126" y="40"/>
                </a:lnTo>
                <a:lnTo>
                  <a:pt x="126" y="40"/>
                </a:lnTo>
                <a:close/>
                <a:moveTo>
                  <a:pt x="104" y="62"/>
                </a:moveTo>
                <a:lnTo>
                  <a:pt x="104" y="62"/>
                </a:lnTo>
                <a:lnTo>
                  <a:pt x="102" y="68"/>
                </a:lnTo>
                <a:lnTo>
                  <a:pt x="98" y="68"/>
                </a:lnTo>
                <a:lnTo>
                  <a:pt x="98" y="68"/>
                </a:lnTo>
                <a:lnTo>
                  <a:pt x="100" y="64"/>
                </a:lnTo>
                <a:lnTo>
                  <a:pt x="104" y="62"/>
                </a:lnTo>
                <a:lnTo>
                  <a:pt x="104" y="62"/>
                </a:lnTo>
                <a:close/>
                <a:moveTo>
                  <a:pt x="78" y="88"/>
                </a:moveTo>
                <a:lnTo>
                  <a:pt x="78" y="88"/>
                </a:lnTo>
                <a:lnTo>
                  <a:pt x="82" y="86"/>
                </a:lnTo>
                <a:lnTo>
                  <a:pt x="86" y="86"/>
                </a:lnTo>
                <a:lnTo>
                  <a:pt x="88" y="84"/>
                </a:lnTo>
                <a:lnTo>
                  <a:pt x="88" y="84"/>
                </a:lnTo>
                <a:lnTo>
                  <a:pt x="90" y="86"/>
                </a:lnTo>
                <a:lnTo>
                  <a:pt x="90" y="86"/>
                </a:lnTo>
                <a:lnTo>
                  <a:pt x="82" y="90"/>
                </a:lnTo>
                <a:lnTo>
                  <a:pt x="74" y="92"/>
                </a:lnTo>
                <a:lnTo>
                  <a:pt x="74" y="92"/>
                </a:lnTo>
                <a:lnTo>
                  <a:pt x="74" y="90"/>
                </a:lnTo>
                <a:lnTo>
                  <a:pt x="74" y="86"/>
                </a:lnTo>
                <a:lnTo>
                  <a:pt x="72" y="86"/>
                </a:lnTo>
                <a:lnTo>
                  <a:pt x="72" y="84"/>
                </a:lnTo>
                <a:lnTo>
                  <a:pt x="72" y="84"/>
                </a:lnTo>
                <a:lnTo>
                  <a:pt x="74" y="84"/>
                </a:lnTo>
                <a:lnTo>
                  <a:pt x="76" y="84"/>
                </a:lnTo>
                <a:lnTo>
                  <a:pt x="78" y="88"/>
                </a:lnTo>
                <a:lnTo>
                  <a:pt x="78" y="88"/>
                </a:lnTo>
                <a:close/>
                <a:moveTo>
                  <a:pt x="74" y="54"/>
                </a:moveTo>
                <a:lnTo>
                  <a:pt x="74" y="54"/>
                </a:lnTo>
                <a:lnTo>
                  <a:pt x="76" y="58"/>
                </a:lnTo>
                <a:lnTo>
                  <a:pt x="74" y="62"/>
                </a:lnTo>
                <a:lnTo>
                  <a:pt x="74" y="62"/>
                </a:lnTo>
                <a:lnTo>
                  <a:pt x="70" y="60"/>
                </a:lnTo>
                <a:lnTo>
                  <a:pt x="70" y="58"/>
                </a:lnTo>
                <a:lnTo>
                  <a:pt x="70" y="54"/>
                </a:lnTo>
                <a:lnTo>
                  <a:pt x="74" y="54"/>
                </a:lnTo>
                <a:lnTo>
                  <a:pt x="74" y="54"/>
                </a:lnTo>
                <a:close/>
                <a:moveTo>
                  <a:pt x="62" y="110"/>
                </a:moveTo>
                <a:lnTo>
                  <a:pt x="62" y="110"/>
                </a:lnTo>
                <a:lnTo>
                  <a:pt x="62" y="110"/>
                </a:lnTo>
                <a:lnTo>
                  <a:pt x="64" y="110"/>
                </a:lnTo>
                <a:lnTo>
                  <a:pt x="64" y="110"/>
                </a:lnTo>
                <a:lnTo>
                  <a:pt x="66" y="110"/>
                </a:lnTo>
                <a:lnTo>
                  <a:pt x="66" y="112"/>
                </a:lnTo>
                <a:lnTo>
                  <a:pt x="66" y="112"/>
                </a:lnTo>
                <a:lnTo>
                  <a:pt x="64" y="114"/>
                </a:lnTo>
                <a:lnTo>
                  <a:pt x="62" y="114"/>
                </a:lnTo>
                <a:lnTo>
                  <a:pt x="62" y="114"/>
                </a:lnTo>
                <a:lnTo>
                  <a:pt x="62" y="112"/>
                </a:lnTo>
                <a:lnTo>
                  <a:pt x="62" y="110"/>
                </a:lnTo>
                <a:close/>
                <a:moveTo>
                  <a:pt x="48" y="84"/>
                </a:moveTo>
                <a:lnTo>
                  <a:pt x="48" y="84"/>
                </a:lnTo>
                <a:lnTo>
                  <a:pt x="50" y="84"/>
                </a:lnTo>
                <a:lnTo>
                  <a:pt x="52" y="86"/>
                </a:lnTo>
                <a:lnTo>
                  <a:pt x="52" y="86"/>
                </a:lnTo>
                <a:lnTo>
                  <a:pt x="52" y="88"/>
                </a:lnTo>
                <a:lnTo>
                  <a:pt x="52" y="88"/>
                </a:lnTo>
                <a:lnTo>
                  <a:pt x="48" y="88"/>
                </a:lnTo>
                <a:lnTo>
                  <a:pt x="48" y="88"/>
                </a:lnTo>
                <a:lnTo>
                  <a:pt x="48" y="84"/>
                </a:lnTo>
                <a:lnTo>
                  <a:pt x="48" y="84"/>
                </a:lnTo>
                <a:close/>
                <a:moveTo>
                  <a:pt x="36" y="120"/>
                </a:moveTo>
                <a:lnTo>
                  <a:pt x="36" y="120"/>
                </a:lnTo>
                <a:lnTo>
                  <a:pt x="38" y="122"/>
                </a:lnTo>
                <a:lnTo>
                  <a:pt x="38" y="124"/>
                </a:lnTo>
                <a:lnTo>
                  <a:pt x="36" y="126"/>
                </a:lnTo>
                <a:lnTo>
                  <a:pt x="34" y="126"/>
                </a:lnTo>
                <a:lnTo>
                  <a:pt x="34" y="126"/>
                </a:lnTo>
                <a:lnTo>
                  <a:pt x="32" y="124"/>
                </a:lnTo>
                <a:lnTo>
                  <a:pt x="34" y="122"/>
                </a:lnTo>
                <a:lnTo>
                  <a:pt x="36" y="120"/>
                </a:lnTo>
                <a:lnTo>
                  <a:pt x="36" y="120"/>
                </a:lnTo>
                <a:close/>
                <a:moveTo>
                  <a:pt x="32" y="166"/>
                </a:moveTo>
                <a:lnTo>
                  <a:pt x="32" y="166"/>
                </a:lnTo>
                <a:lnTo>
                  <a:pt x="34" y="168"/>
                </a:lnTo>
                <a:lnTo>
                  <a:pt x="36" y="168"/>
                </a:lnTo>
                <a:lnTo>
                  <a:pt x="36" y="168"/>
                </a:lnTo>
                <a:lnTo>
                  <a:pt x="36" y="172"/>
                </a:lnTo>
                <a:lnTo>
                  <a:pt x="36" y="172"/>
                </a:lnTo>
                <a:lnTo>
                  <a:pt x="32" y="172"/>
                </a:lnTo>
                <a:lnTo>
                  <a:pt x="32" y="170"/>
                </a:lnTo>
                <a:lnTo>
                  <a:pt x="32" y="166"/>
                </a:lnTo>
                <a:lnTo>
                  <a:pt x="32" y="166"/>
                </a:lnTo>
                <a:close/>
                <a:moveTo>
                  <a:pt x="40" y="236"/>
                </a:moveTo>
                <a:lnTo>
                  <a:pt x="36" y="236"/>
                </a:lnTo>
                <a:lnTo>
                  <a:pt x="36" y="234"/>
                </a:lnTo>
                <a:lnTo>
                  <a:pt x="40" y="234"/>
                </a:lnTo>
                <a:lnTo>
                  <a:pt x="40" y="234"/>
                </a:lnTo>
                <a:lnTo>
                  <a:pt x="40" y="236"/>
                </a:lnTo>
                <a:lnTo>
                  <a:pt x="40" y="236"/>
                </a:lnTo>
                <a:close/>
                <a:moveTo>
                  <a:pt x="56" y="228"/>
                </a:moveTo>
                <a:lnTo>
                  <a:pt x="56" y="228"/>
                </a:lnTo>
                <a:lnTo>
                  <a:pt x="52" y="228"/>
                </a:lnTo>
                <a:lnTo>
                  <a:pt x="50" y="226"/>
                </a:lnTo>
                <a:lnTo>
                  <a:pt x="48" y="222"/>
                </a:lnTo>
                <a:lnTo>
                  <a:pt x="48" y="218"/>
                </a:lnTo>
                <a:lnTo>
                  <a:pt x="48" y="218"/>
                </a:lnTo>
                <a:lnTo>
                  <a:pt x="52" y="220"/>
                </a:lnTo>
                <a:lnTo>
                  <a:pt x="54" y="222"/>
                </a:lnTo>
                <a:lnTo>
                  <a:pt x="56" y="224"/>
                </a:lnTo>
                <a:lnTo>
                  <a:pt x="56" y="228"/>
                </a:lnTo>
                <a:lnTo>
                  <a:pt x="56" y="228"/>
                </a:lnTo>
                <a:close/>
                <a:moveTo>
                  <a:pt x="64" y="220"/>
                </a:moveTo>
                <a:lnTo>
                  <a:pt x="64" y="220"/>
                </a:lnTo>
                <a:lnTo>
                  <a:pt x="62" y="222"/>
                </a:lnTo>
                <a:lnTo>
                  <a:pt x="62" y="222"/>
                </a:lnTo>
                <a:lnTo>
                  <a:pt x="60" y="222"/>
                </a:lnTo>
                <a:lnTo>
                  <a:pt x="60" y="222"/>
                </a:lnTo>
                <a:lnTo>
                  <a:pt x="58" y="220"/>
                </a:lnTo>
                <a:lnTo>
                  <a:pt x="60" y="218"/>
                </a:lnTo>
                <a:lnTo>
                  <a:pt x="60" y="212"/>
                </a:lnTo>
                <a:lnTo>
                  <a:pt x="60" y="212"/>
                </a:lnTo>
                <a:lnTo>
                  <a:pt x="66" y="214"/>
                </a:lnTo>
                <a:lnTo>
                  <a:pt x="72" y="216"/>
                </a:lnTo>
                <a:lnTo>
                  <a:pt x="72" y="216"/>
                </a:lnTo>
                <a:lnTo>
                  <a:pt x="72" y="218"/>
                </a:lnTo>
                <a:lnTo>
                  <a:pt x="70" y="220"/>
                </a:lnTo>
                <a:lnTo>
                  <a:pt x="66" y="220"/>
                </a:lnTo>
                <a:lnTo>
                  <a:pt x="64" y="220"/>
                </a:lnTo>
                <a:lnTo>
                  <a:pt x="64" y="220"/>
                </a:lnTo>
                <a:close/>
                <a:moveTo>
                  <a:pt x="80" y="240"/>
                </a:moveTo>
                <a:lnTo>
                  <a:pt x="80" y="240"/>
                </a:lnTo>
                <a:lnTo>
                  <a:pt x="82" y="242"/>
                </a:lnTo>
                <a:lnTo>
                  <a:pt x="84" y="244"/>
                </a:lnTo>
                <a:lnTo>
                  <a:pt x="84" y="244"/>
                </a:lnTo>
                <a:lnTo>
                  <a:pt x="80" y="244"/>
                </a:lnTo>
                <a:lnTo>
                  <a:pt x="78" y="242"/>
                </a:lnTo>
                <a:lnTo>
                  <a:pt x="78" y="242"/>
                </a:lnTo>
                <a:lnTo>
                  <a:pt x="80" y="240"/>
                </a:lnTo>
                <a:lnTo>
                  <a:pt x="80" y="240"/>
                </a:lnTo>
                <a:close/>
                <a:moveTo>
                  <a:pt x="82" y="278"/>
                </a:moveTo>
                <a:lnTo>
                  <a:pt x="82" y="278"/>
                </a:lnTo>
                <a:lnTo>
                  <a:pt x="82" y="274"/>
                </a:lnTo>
                <a:lnTo>
                  <a:pt x="82" y="272"/>
                </a:lnTo>
                <a:lnTo>
                  <a:pt x="82" y="272"/>
                </a:lnTo>
                <a:lnTo>
                  <a:pt x="88" y="272"/>
                </a:lnTo>
                <a:lnTo>
                  <a:pt x="88" y="272"/>
                </a:lnTo>
                <a:lnTo>
                  <a:pt x="86" y="276"/>
                </a:lnTo>
                <a:lnTo>
                  <a:pt x="84" y="278"/>
                </a:lnTo>
                <a:lnTo>
                  <a:pt x="82" y="278"/>
                </a:lnTo>
                <a:lnTo>
                  <a:pt x="82" y="278"/>
                </a:lnTo>
                <a:close/>
                <a:moveTo>
                  <a:pt x="98" y="258"/>
                </a:moveTo>
                <a:lnTo>
                  <a:pt x="98" y="258"/>
                </a:lnTo>
                <a:lnTo>
                  <a:pt x="98" y="260"/>
                </a:lnTo>
                <a:lnTo>
                  <a:pt x="96" y="262"/>
                </a:lnTo>
                <a:lnTo>
                  <a:pt x="92" y="264"/>
                </a:lnTo>
                <a:lnTo>
                  <a:pt x="92" y="264"/>
                </a:lnTo>
                <a:lnTo>
                  <a:pt x="94" y="260"/>
                </a:lnTo>
                <a:lnTo>
                  <a:pt x="98" y="258"/>
                </a:lnTo>
                <a:lnTo>
                  <a:pt x="98" y="258"/>
                </a:lnTo>
                <a:close/>
                <a:moveTo>
                  <a:pt x="104" y="284"/>
                </a:moveTo>
                <a:lnTo>
                  <a:pt x="104" y="284"/>
                </a:lnTo>
                <a:lnTo>
                  <a:pt x="98" y="278"/>
                </a:lnTo>
                <a:lnTo>
                  <a:pt x="94" y="276"/>
                </a:lnTo>
                <a:lnTo>
                  <a:pt x="92" y="274"/>
                </a:lnTo>
                <a:lnTo>
                  <a:pt x="92" y="274"/>
                </a:lnTo>
                <a:lnTo>
                  <a:pt x="98" y="272"/>
                </a:lnTo>
                <a:lnTo>
                  <a:pt x="98" y="272"/>
                </a:lnTo>
                <a:lnTo>
                  <a:pt x="100" y="278"/>
                </a:lnTo>
                <a:lnTo>
                  <a:pt x="104" y="280"/>
                </a:lnTo>
                <a:lnTo>
                  <a:pt x="104" y="280"/>
                </a:lnTo>
                <a:lnTo>
                  <a:pt x="106" y="278"/>
                </a:lnTo>
                <a:lnTo>
                  <a:pt x="110" y="278"/>
                </a:lnTo>
                <a:lnTo>
                  <a:pt x="110" y="278"/>
                </a:lnTo>
                <a:lnTo>
                  <a:pt x="110" y="280"/>
                </a:lnTo>
                <a:lnTo>
                  <a:pt x="108" y="280"/>
                </a:lnTo>
                <a:lnTo>
                  <a:pt x="106" y="282"/>
                </a:lnTo>
                <a:lnTo>
                  <a:pt x="104" y="284"/>
                </a:lnTo>
                <a:lnTo>
                  <a:pt x="104" y="284"/>
                </a:lnTo>
                <a:close/>
                <a:moveTo>
                  <a:pt x="116" y="272"/>
                </a:moveTo>
                <a:lnTo>
                  <a:pt x="116" y="272"/>
                </a:lnTo>
                <a:lnTo>
                  <a:pt x="114" y="270"/>
                </a:lnTo>
                <a:lnTo>
                  <a:pt x="114" y="268"/>
                </a:lnTo>
                <a:lnTo>
                  <a:pt x="114" y="268"/>
                </a:lnTo>
                <a:lnTo>
                  <a:pt x="116" y="268"/>
                </a:lnTo>
                <a:lnTo>
                  <a:pt x="116" y="268"/>
                </a:lnTo>
                <a:lnTo>
                  <a:pt x="116" y="272"/>
                </a:lnTo>
                <a:lnTo>
                  <a:pt x="116" y="272"/>
                </a:lnTo>
                <a:close/>
                <a:moveTo>
                  <a:pt x="108" y="266"/>
                </a:moveTo>
                <a:lnTo>
                  <a:pt x="108" y="266"/>
                </a:lnTo>
                <a:lnTo>
                  <a:pt x="104" y="262"/>
                </a:lnTo>
                <a:lnTo>
                  <a:pt x="100" y="258"/>
                </a:lnTo>
                <a:lnTo>
                  <a:pt x="100" y="258"/>
                </a:lnTo>
                <a:lnTo>
                  <a:pt x="100" y="256"/>
                </a:lnTo>
                <a:lnTo>
                  <a:pt x="102" y="254"/>
                </a:lnTo>
                <a:lnTo>
                  <a:pt x="102" y="254"/>
                </a:lnTo>
                <a:lnTo>
                  <a:pt x="106" y="256"/>
                </a:lnTo>
                <a:lnTo>
                  <a:pt x="108" y="260"/>
                </a:lnTo>
                <a:lnTo>
                  <a:pt x="108" y="260"/>
                </a:lnTo>
                <a:lnTo>
                  <a:pt x="110" y="258"/>
                </a:lnTo>
                <a:lnTo>
                  <a:pt x="112" y="256"/>
                </a:lnTo>
                <a:lnTo>
                  <a:pt x="112" y="256"/>
                </a:lnTo>
                <a:lnTo>
                  <a:pt x="116" y="256"/>
                </a:lnTo>
                <a:lnTo>
                  <a:pt x="118" y="256"/>
                </a:lnTo>
                <a:lnTo>
                  <a:pt x="118" y="256"/>
                </a:lnTo>
                <a:lnTo>
                  <a:pt x="116" y="262"/>
                </a:lnTo>
                <a:lnTo>
                  <a:pt x="114" y="262"/>
                </a:lnTo>
                <a:lnTo>
                  <a:pt x="110" y="262"/>
                </a:lnTo>
                <a:lnTo>
                  <a:pt x="108" y="266"/>
                </a:lnTo>
                <a:lnTo>
                  <a:pt x="108" y="266"/>
                </a:lnTo>
                <a:close/>
                <a:moveTo>
                  <a:pt x="114" y="204"/>
                </a:moveTo>
                <a:lnTo>
                  <a:pt x="114" y="204"/>
                </a:lnTo>
                <a:lnTo>
                  <a:pt x="114" y="202"/>
                </a:lnTo>
                <a:lnTo>
                  <a:pt x="122" y="202"/>
                </a:lnTo>
                <a:lnTo>
                  <a:pt x="122" y="202"/>
                </a:lnTo>
                <a:lnTo>
                  <a:pt x="120" y="204"/>
                </a:lnTo>
                <a:lnTo>
                  <a:pt x="114" y="204"/>
                </a:lnTo>
                <a:lnTo>
                  <a:pt x="114" y="204"/>
                </a:lnTo>
                <a:close/>
                <a:moveTo>
                  <a:pt x="166" y="232"/>
                </a:moveTo>
                <a:lnTo>
                  <a:pt x="166" y="232"/>
                </a:lnTo>
                <a:lnTo>
                  <a:pt x="164" y="230"/>
                </a:lnTo>
                <a:lnTo>
                  <a:pt x="160" y="226"/>
                </a:lnTo>
                <a:lnTo>
                  <a:pt x="160" y="226"/>
                </a:lnTo>
                <a:lnTo>
                  <a:pt x="164" y="224"/>
                </a:lnTo>
                <a:lnTo>
                  <a:pt x="166" y="226"/>
                </a:lnTo>
                <a:lnTo>
                  <a:pt x="168" y="230"/>
                </a:lnTo>
                <a:lnTo>
                  <a:pt x="166" y="232"/>
                </a:lnTo>
                <a:lnTo>
                  <a:pt x="166" y="232"/>
                </a:lnTo>
                <a:close/>
                <a:moveTo>
                  <a:pt x="170" y="204"/>
                </a:moveTo>
                <a:lnTo>
                  <a:pt x="170" y="204"/>
                </a:lnTo>
                <a:lnTo>
                  <a:pt x="172" y="204"/>
                </a:lnTo>
                <a:lnTo>
                  <a:pt x="172" y="204"/>
                </a:lnTo>
                <a:lnTo>
                  <a:pt x="174" y="206"/>
                </a:lnTo>
                <a:lnTo>
                  <a:pt x="174" y="206"/>
                </a:lnTo>
                <a:lnTo>
                  <a:pt x="174" y="208"/>
                </a:lnTo>
                <a:lnTo>
                  <a:pt x="172" y="208"/>
                </a:lnTo>
                <a:lnTo>
                  <a:pt x="170" y="206"/>
                </a:lnTo>
                <a:lnTo>
                  <a:pt x="170" y="204"/>
                </a:lnTo>
                <a:lnTo>
                  <a:pt x="170" y="204"/>
                </a:lnTo>
                <a:close/>
                <a:moveTo>
                  <a:pt x="178" y="206"/>
                </a:moveTo>
                <a:lnTo>
                  <a:pt x="178" y="206"/>
                </a:lnTo>
                <a:lnTo>
                  <a:pt x="176" y="204"/>
                </a:lnTo>
                <a:lnTo>
                  <a:pt x="176" y="202"/>
                </a:lnTo>
                <a:lnTo>
                  <a:pt x="180" y="202"/>
                </a:lnTo>
                <a:lnTo>
                  <a:pt x="180" y="202"/>
                </a:lnTo>
                <a:lnTo>
                  <a:pt x="180" y="204"/>
                </a:lnTo>
                <a:lnTo>
                  <a:pt x="178" y="206"/>
                </a:lnTo>
                <a:lnTo>
                  <a:pt x="178" y="206"/>
                </a:lnTo>
                <a:close/>
                <a:moveTo>
                  <a:pt x="190" y="204"/>
                </a:moveTo>
                <a:lnTo>
                  <a:pt x="190" y="204"/>
                </a:lnTo>
                <a:lnTo>
                  <a:pt x="190" y="206"/>
                </a:lnTo>
                <a:lnTo>
                  <a:pt x="190" y="206"/>
                </a:lnTo>
                <a:lnTo>
                  <a:pt x="188" y="204"/>
                </a:lnTo>
                <a:lnTo>
                  <a:pt x="188" y="204"/>
                </a:lnTo>
                <a:lnTo>
                  <a:pt x="184" y="202"/>
                </a:lnTo>
                <a:lnTo>
                  <a:pt x="194" y="202"/>
                </a:lnTo>
                <a:lnTo>
                  <a:pt x="194" y="202"/>
                </a:lnTo>
                <a:lnTo>
                  <a:pt x="190" y="202"/>
                </a:lnTo>
                <a:lnTo>
                  <a:pt x="190" y="204"/>
                </a:lnTo>
                <a:lnTo>
                  <a:pt x="190" y="204"/>
                </a:lnTo>
                <a:lnTo>
                  <a:pt x="190" y="204"/>
                </a:lnTo>
                <a:close/>
                <a:moveTo>
                  <a:pt x="202" y="218"/>
                </a:moveTo>
                <a:lnTo>
                  <a:pt x="202" y="218"/>
                </a:lnTo>
                <a:lnTo>
                  <a:pt x="204" y="218"/>
                </a:lnTo>
                <a:lnTo>
                  <a:pt x="204" y="220"/>
                </a:lnTo>
                <a:lnTo>
                  <a:pt x="206" y="222"/>
                </a:lnTo>
                <a:lnTo>
                  <a:pt x="206" y="222"/>
                </a:lnTo>
                <a:lnTo>
                  <a:pt x="204" y="222"/>
                </a:lnTo>
                <a:lnTo>
                  <a:pt x="202" y="222"/>
                </a:lnTo>
                <a:lnTo>
                  <a:pt x="202" y="222"/>
                </a:lnTo>
                <a:lnTo>
                  <a:pt x="202" y="218"/>
                </a:lnTo>
                <a:lnTo>
                  <a:pt x="202" y="218"/>
                </a:lnTo>
                <a:close/>
                <a:moveTo>
                  <a:pt x="204" y="260"/>
                </a:moveTo>
                <a:lnTo>
                  <a:pt x="204" y="260"/>
                </a:lnTo>
                <a:lnTo>
                  <a:pt x="204" y="258"/>
                </a:lnTo>
                <a:lnTo>
                  <a:pt x="206" y="256"/>
                </a:lnTo>
                <a:lnTo>
                  <a:pt x="206" y="256"/>
                </a:lnTo>
                <a:lnTo>
                  <a:pt x="208" y="256"/>
                </a:lnTo>
                <a:lnTo>
                  <a:pt x="208" y="256"/>
                </a:lnTo>
                <a:lnTo>
                  <a:pt x="208" y="260"/>
                </a:lnTo>
                <a:lnTo>
                  <a:pt x="204" y="260"/>
                </a:lnTo>
                <a:lnTo>
                  <a:pt x="204" y="260"/>
                </a:lnTo>
                <a:close/>
                <a:moveTo>
                  <a:pt x="208" y="208"/>
                </a:moveTo>
                <a:lnTo>
                  <a:pt x="208" y="208"/>
                </a:lnTo>
                <a:lnTo>
                  <a:pt x="208" y="204"/>
                </a:lnTo>
                <a:lnTo>
                  <a:pt x="208" y="202"/>
                </a:lnTo>
                <a:lnTo>
                  <a:pt x="214" y="202"/>
                </a:lnTo>
                <a:lnTo>
                  <a:pt x="214" y="202"/>
                </a:lnTo>
                <a:lnTo>
                  <a:pt x="214" y="206"/>
                </a:lnTo>
                <a:lnTo>
                  <a:pt x="214" y="206"/>
                </a:lnTo>
                <a:lnTo>
                  <a:pt x="216" y="208"/>
                </a:lnTo>
                <a:lnTo>
                  <a:pt x="218" y="208"/>
                </a:lnTo>
                <a:lnTo>
                  <a:pt x="218" y="214"/>
                </a:lnTo>
                <a:lnTo>
                  <a:pt x="218" y="214"/>
                </a:lnTo>
                <a:lnTo>
                  <a:pt x="216" y="214"/>
                </a:lnTo>
                <a:lnTo>
                  <a:pt x="214" y="210"/>
                </a:lnTo>
                <a:lnTo>
                  <a:pt x="214" y="210"/>
                </a:lnTo>
                <a:lnTo>
                  <a:pt x="212" y="210"/>
                </a:lnTo>
                <a:lnTo>
                  <a:pt x="212" y="210"/>
                </a:lnTo>
                <a:lnTo>
                  <a:pt x="208" y="208"/>
                </a:lnTo>
                <a:lnTo>
                  <a:pt x="208" y="208"/>
                </a:lnTo>
                <a:close/>
                <a:moveTo>
                  <a:pt x="218" y="256"/>
                </a:moveTo>
                <a:lnTo>
                  <a:pt x="218" y="256"/>
                </a:lnTo>
                <a:lnTo>
                  <a:pt x="216" y="256"/>
                </a:lnTo>
                <a:lnTo>
                  <a:pt x="214" y="252"/>
                </a:lnTo>
                <a:lnTo>
                  <a:pt x="214" y="252"/>
                </a:lnTo>
                <a:lnTo>
                  <a:pt x="216" y="252"/>
                </a:lnTo>
                <a:lnTo>
                  <a:pt x="216" y="248"/>
                </a:lnTo>
                <a:lnTo>
                  <a:pt x="216" y="248"/>
                </a:lnTo>
                <a:lnTo>
                  <a:pt x="218" y="248"/>
                </a:lnTo>
                <a:lnTo>
                  <a:pt x="220" y="250"/>
                </a:lnTo>
                <a:lnTo>
                  <a:pt x="220" y="250"/>
                </a:lnTo>
                <a:lnTo>
                  <a:pt x="220" y="250"/>
                </a:lnTo>
                <a:lnTo>
                  <a:pt x="220" y="254"/>
                </a:lnTo>
                <a:lnTo>
                  <a:pt x="218" y="256"/>
                </a:lnTo>
                <a:lnTo>
                  <a:pt x="218" y="256"/>
                </a:lnTo>
                <a:close/>
                <a:moveTo>
                  <a:pt x="220" y="202"/>
                </a:moveTo>
                <a:lnTo>
                  <a:pt x="220" y="202"/>
                </a:lnTo>
                <a:lnTo>
                  <a:pt x="220" y="202"/>
                </a:lnTo>
                <a:lnTo>
                  <a:pt x="224" y="204"/>
                </a:lnTo>
                <a:lnTo>
                  <a:pt x="222" y="208"/>
                </a:lnTo>
                <a:lnTo>
                  <a:pt x="222" y="208"/>
                </a:lnTo>
                <a:lnTo>
                  <a:pt x="220" y="204"/>
                </a:lnTo>
                <a:lnTo>
                  <a:pt x="220" y="202"/>
                </a:lnTo>
                <a:lnTo>
                  <a:pt x="220" y="202"/>
                </a:lnTo>
                <a:lnTo>
                  <a:pt x="220" y="202"/>
                </a:lnTo>
                <a:close/>
                <a:moveTo>
                  <a:pt x="224" y="240"/>
                </a:moveTo>
                <a:lnTo>
                  <a:pt x="224" y="240"/>
                </a:lnTo>
                <a:lnTo>
                  <a:pt x="224" y="238"/>
                </a:lnTo>
                <a:lnTo>
                  <a:pt x="224" y="236"/>
                </a:lnTo>
                <a:lnTo>
                  <a:pt x="224" y="236"/>
                </a:lnTo>
                <a:lnTo>
                  <a:pt x="226" y="236"/>
                </a:lnTo>
                <a:lnTo>
                  <a:pt x="226" y="238"/>
                </a:lnTo>
                <a:lnTo>
                  <a:pt x="226" y="240"/>
                </a:lnTo>
                <a:lnTo>
                  <a:pt x="224" y="240"/>
                </a:lnTo>
                <a:lnTo>
                  <a:pt x="224" y="240"/>
                </a:lnTo>
                <a:close/>
                <a:moveTo>
                  <a:pt x="238" y="278"/>
                </a:moveTo>
                <a:lnTo>
                  <a:pt x="238" y="278"/>
                </a:lnTo>
                <a:lnTo>
                  <a:pt x="234" y="276"/>
                </a:lnTo>
                <a:lnTo>
                  <a:pt x="234" y="274"/>
                </a:lnTo>
                <a:lnTo>
                  <a:pt x="234" y="272"/>
                </a:lnTo>
                <a:lnTo>
                  <a:pt x="234" y="272"/>
                </a:lnTo>
                <a:lnTo>
                  <a:pt x="236" y="272"/>
                </a:lnTo>
                <a:lnTo>
                  <a:pt x="238" y="272"/>
                </a:lnTo>
                <a:lnTo>
                  <a:pt x="238" y="278"/>
                </a:lnTo>
                <a:lnTo>
                  <a:pt x="238" y="278"/>
                </a:lnTo>
                <a:close/>
                <a:moveTo>
                  <a:pt x="232" y="240"/>
                </a:moveTo>
                <a:lnTo>
                  <a:pt x="232" y="240"/>
                </a:lnTo>
                <a:lnTo>
                  <a:pt x="232" y="238"/>
                </a:lnTo>
                <a:lnTo>
                  <a:pt x="230" y="236"/>
                </a:lnTo>
                <a:lnTo>
                  <a:pt x="232" y="234"/>
                </a:lnTo>
                <a:lnTo>
                  <a:pt x="232" y="234"/>
                </a:lnTo>
                <a:lnTo>
                  <a:pt x="234" y="234"/>
                </a:lnTo>
                <a:lnTo>
                  <a:pt x="236" y="236"/>
                </a:lnTo>
                <a:lnTo>
                  <a:pt x="236" y="236"/>
                </a:lnTo>
                <a:lnTo>
                  <a:pt x="234" y="240"/>
                </a:lnTo>
                <a:lnTo>
                  <a:pt x="232" y="240"/>
                </a:lnTo>
                <a:lnTo>
                  <a:pt x="232" y="240"/>
                </a:lnTo>
                <a:close/>
                <a:moveTo>
                  <a:pt x="282" y="216"/>
                </a:moveTo>
                <a:lnTo>
                  <a:pt x="282" y="216"/>
                </a:lnTo>
                <a:lnTo>
                  <a:pt x="284" y="216"/>
                </a:lnTo>
                <a:lnTo>
                  <a:pt x="286" y="218"/>
                </a:lnTo>
                <a:lnTo>
                  <a:pt x="286" y="220"/>
                </a:lnTo>
                <a:lnTo>
                  <a:pt x="284" y="222"/>
                </a:lnTo>
                <a:lnTo>
                  <a:pt x="284" y="222"/>
                </a:lnTo>
                <a:lnTo>
                  <a:pt x="282" y="222"/>
                </a:lnTo>
                <a:lnTo>
                  <a:pt x="282" y="220"/>
                </a:lnTo>
                <a:lnTo>
                  <a:pt x="282" y="216"/>
                </a:lnTo>
                <a:lnTo>
                  <a:pt x="282" y="216"/>
                </a:lnTo>
                <a:close/>
                <a:moveTo>
                  <a:pt x="280" y="230"/>
                </a:moveTo>
                <a:lnTo>
                  <a:pt x="280" y="230"/>
                </a:lnTo>
                <a:lnTo>
                  <a:pt x="276" y="230"/>
                </a:lnTo>
                <a:lnTo>
                  <a:pt x="276" y="230"/>
                </a:lnTo>
                <a:lnTo>
                  <a:pt x="276" y="224"/>
                </a:lnTo>
                <a:lnTo>
                  <a:pt x="280" y="224"/>
                </a:lnTo>
                <a:lnTo>
                  <a:pt x="280" y="224"/>
                </a:lnTo>
                <a:lnTo>
                  <a:pt x="280" y="228"/>
                </a:lnTo>
                <a:lnTo>
                  <a:pt x="280" y="230"/>
                </a:lnTo>
                <a:lnTo>
                  <a:pt x="280" y="230"/>
                </a:lnTo>
                <a:lnTo>
                  <a:pt x="280" y="230"/>
                </a:lnTo>
                <a:close/>
                <a:moveTo>
                  <a:pt x="276" y="202"/>
                </a:moveTo>
                <a:lnTo>
                  <a:pt x="276" y="202"/>
                </a:lnTo>
                <a:lnTo>
                  <a:pt x="274" y="202"/>
                </a:lnTo>
                <a:lnTo>
                  <a:pt x="274" y="202"/>
                </a:lnTo>
                <a:lnTo>
                  <a:pt x="276" y="204"/>
                </a:lnTo>
                <a:lnTo>
                  <a:pt x="276" y="206"/>
                </a:lnTo>
                <a:lnTo>
                  <a:pt x="276" y="206"/>
                </a:lnTo>
                <a:lnTo>
                  <a:pt x="274" y="208"/>
                </a:lnTo>
                <a:lnTo>
                  <a:pt x="272" y="210"/>
                </a:lnTo>
                <a:lnTo>
                  <a:pt x="272" y="210"/>
                </a:lnTo>
                <a:lnTo>
                  <a:pt x="266" y="212"/>
                </a:lnTo>
                <a:lnTo>
                  <a:pt x="264" y="212"/>
                </a:lnTo>
                <a:lnTo>
                  <a:pt x="264" y="212"/>
                </a:lnTo>
                <a:lnTo>
                  <a:pt x="266" y="214"/>
                </a:lnTo>
                <a:lnTo>
                  <a:pt x="268" y="214"/>
                </a:lnTo>
                <a:lnTo>
                  <a:pt x="268" y="214"/>
                </a:lnTo>
                <a:lnTo>
                  <a:pt x="270" y="214"/>
                </a:lnTo>
                <a:lnTo>
                  <a:pt x="272" y="214"/>
                </a:lnTo>
                <a:lnTo>
                  <a:pt x="272" y="212"/>
                </a:lnTo>
                <a:lnTo>
                  <a:pt x="274" y="210"/>
                </a:lnTo>
                <a:lnTo>
                  <a:pt x="274" y="210"/>
                </a:lnTo>
                <a:lnTo>
                  <a:pt x="276" y="214"/>
                </a:lnTo>
                <a:lnTo>
                  <a:pt x="276" y="216"/>
                </a:lnTo>
                <a:lnTo>
                  <a:pt x="276" y="216"/>
                </a:lnTo>
                <a:lnTo>
                  <a:pt x="272" y="216"/>
                </a:lnTo>
                <a:lnTo>
                  <a:pt x="268" y="218"/>
                </a:lnTo>
                <a:lnTo>
                  <a:pt x="266" y="222"/>
                </a:lnTo>
                <a:lnTo>
                  <a:pt x="266" y="222"/>
                </a:lnTo>
                <a:lnTo>
                  <a:pt x="262" y="220"/>
                </a:lnTo>
                <a:lnTo>
                  <a:pt x="258" y="220"/>
                </a:lnTo>
                <a:lnTo>
                  <a:pt x="254" y="220"/>
                </a:lnTo>
                <a:lnTo>
                  <a:pt x="250" y="222"/>
                </a:lnTo>
                <a:lnTo>
                  <a:pt x="250" y="222"/>
                </a:lnTo>
                <a:lnTo>
                  <a:pt x="250" y="220"/>
                </a:lnTo>
                <a:lnTo>
                  <a:pt x="248" y="218"/>
                </a:lnTo>
                <a:lnTo>
                  <a:pt x="248" y="218"/>
                </a:lnTo>
                <a:lnTo>
                  <a:pt x="246" y="214"/>
                </a:lnTo>
                <a:lnTo>
                  <a:pt x="246" y="214"/>
                </a:lnTo>
                <a:lnTo>
                  <a:pt x="242" y="214"/>
                </a:lnTo>
                <a:lnTo>
                  <a:pt x="240" y="212"/>
                </a:lnTo>
                <a:lnTo>
                  <a:pt x="238" y="210"/>
                </a:lnTo>
                <a:lnTo>
                  <a:pt x="238" y="210"/>
                </a:lnTo>
                <a:lnTo>
                  <a:pt x="240" y="210"/>
                </a:lnTo>
                <a:lnTo>
                  <a:pt x="244" y="210"/>
                </a:lnTo>
                <a:lnTo>
                  <a:pt x="244" y="210"/>
                </a:lnTo>
                <a:lnTo>
                  <a:pt x="246" y="208"/>
                </a:lnTo>
                <a:lnTo>
                  <a:pt x="246" y="206"/>
                </a:lnTo>
                <a:lnTo>
                  <a:pt x="250" y="204"/>
                </a:lnTo>
                <a:lnTo>
                  <a:pt x="250" y="204"/>
                </a:lnTo>
                <a:lnTo>
                  <a:pt x="250" y="204"/>
                </a:lnTo>
                <a:lnTo>
                  <a:pt x="250" y="202"/>
                </a:lnTo>
                <a:lnTo>
                  <a:pt x="260" y="202"/>
                </a:lnTo>
                <a:lnTo>
                  <a:pt x="260" y="202"/>
                </a:lnTo>
                <a:lnTo>
                  <a:pt x="258" y="196"/>
                </a:lnTo>
                <a:lnTo>
                  <a:pt x="258" y="196"/>
                </a:lnTo>
                <a:lnTo>
                  <a:pt x="260" y="198"/>
                </a:lnTo>
                <a:lnTo>
                  <a:pt x="262" y="200"/>
                </a:lnTo>
                <a:lnTo>
                  <a:pt x="262" y="200"/>
                </a:lnTo>
                <a:lnTo>
                  <a:pt x="262" y="202"/>
                </a:lnTo>
                <a:lnTo>
                  <a:pt x="262" y="202"/>
                </a:lnTo>
                <a:lnTo>
                  <a:pt x="262" y="202"/>
                </a:lnTo>
                <a:lnTo>
                  <a:pt x="266" y="202"/>
                </a:lnTo>
                <a:lnTo>
                  <a:pt x="266" y="202"/>
                </a:lnTo>
                <a:lnTo>
                  <a:pt x="266" y="202"/>
                </a:lnTo>
                <a:lnTo>
                  <a:pt x="276" y="202"/>
                </a:lnTo>
                <a:close/>
                <a:moveTo>
                  <a:pt x="256" y="172"/>
                </a:moveTo>
                <a:lnTo>
                  <a:pt x="256" y="172"/>
                </a:lnTo>
                <a:lnTo>
                  <a:pt x="254" y="172"/>
                </a:lnTo>
                <a:lnTo>
                  <a:pt x="252" y="172"/>
                </a:lnTo>
                <a:lnTo>
                  <a:pt x="252" y="172"/>
                </a:lnTo>
                <a:lnTo>
                  <a:pt x="254" y="168"/>
                </a:lnTo>
                <a:lnTo>
                  <a:pt x="254" y="168"/>
                </a:lnTo>
                <a:lnTo>
                  <a:pt x="256" y="170"/>
                </a:lnTo>
                <a:lnTo>
                  <a:pt x="256" y="170"/>
                </a:lnTo>
                <a:lnTo>
                  <a:pt x="256" y="172"/>
                </a:lnTo>
                <a:lnTo>
                  <a:pt x="256" y="172"/>
                </a:lnTo>
                <a:close/>
                <a:moveTo>
                  <a:pt x="296" y="148"/>
                </a:moveTo>
                <a:lnTo>
                  <a:pt x="296" y="148"/>
                </a:lnTo>
                <a:lnTo>
                  <a:pt x="294" y="148"/>
                </a:lnTo>
                <a:lnTo>
                  <a:pt x="292" y="146"/>
                </a:lnTo>
                <a:lnTo>
                  <a:pt x="292" y="140"/>
                </a:lnTo>
                <a:lnTo>
                  <a:pt x="296" y="140"/>
                </a:lnTo>
                <a:lnTo>
                  <a:pt x="296" y="140"/>
                </a:lnTo>
                <a:lnTo>
                  <a:pt x="296" y="144"/>
                </a:lnTo>
                <a:lnTo>
                  <a:pt x="298" y="146"/>
                </a:lnTo>
                <a:lnTo>
                  <a:pt x="296" y="148"/>
                </a:lnTo>
                <a:lnTo>
                  <a:pt x="296" y="148"/>
                </a:lnTo>
                <a:close/>
                <a:moveTo>
                  <a:pt x="300" y="138"/>
                </a:moveTo>
                <a:lnTo>
                  <a:pt x="300" y="138"/>
                </a:lnTo>
                <a:lnTo>
                  <a:pt x="298" y="138"/>
                </a:lnTo>
                <a:lnTo>
                  <a:pt x="298" y="138"/>
                </a:lnTo>
                <a:lnTo>
                  <a:pt x="298" y="132"/>
                </a:lnTo>
                <a:lnTo>
                  <a:pt x="298" y="132"/>
                </a:lnTo>
                <a:lnTo>
                  <a:pt x="300" y="132"/>
                </a:lnTo>
                <a:lnTo>
                  <a:pt x="302" y="134"/>
                </a:lnTo>
                <a:lnTo>
                  <a:pt x="302" y="138"/>
                </a:lnTo>
                <a:lnTo>
                  <a:pt x="300" y="138"/>
                </a:lnTo>
                <a:lnTo>
                  <a:pt x="300" y="138"/>
                </a:lnTo>
                <a:close/>
                <a:moveTo>
                  <a:pt x="306" y="124"/>
                </a:moveTo>
                <a:lnTo>
                  <a:pt x="310" y="124"/>
                </a:lnTo>
                <a:lnTo>
                  <a:pt x="310" y="124"/>
                </a:lnTo>
                <a:lnTo>
                  <a:pt x="310" y="128"/>
                </a:lnTo>
                <a:lnTo>
                  <a:pt x="310" y="130"/>
                </a:lnTo>
                <a:lnTo>
                  <a:pt x="310" y="130"/>
                </a:lnTo>
                <a:lnTo>
                  <a:pt x="306" y="130"/>
                </a:lnTo>
                <a:lnTo>
                  <a:pt x="304" y="128"/>
                </a:lnTo>
                <a:lnTo>
                  <a:pt x="304" y="126"/>
                </a:lnTo>
                <a:lnTo>
                  <a:pt x="306" y="124"/>
                </a:lnTo>
                <a:lnTo>
                  <a:pt x="306" y="124"/>
                </a:lnTo>
                <a:close/>
              </a:path>
            </a:pathLst>
          </a:custGeom>
          <a:solidFill>
            <a:srgbClr val="C0BAA7"/>
          </a:solidFill>
          <a:ln>
            <a:noFill/>
          </a:ln>
        </p:spPr>
        <p:txBody>
          <a:bodyPr vert="horz" wrap="square" lIns="80147" tIns="40074" rIns="80147" bIns="40074" numCol="1" anchor="t" anchorCtr="0" compatLnSpc="1">
            <a:prstTxWarp prst="textNoShape">
              <a:avLst/>
            </a:prstTxWarp>
          </a:bodyPr>
          <a:lstStyle/>
          <a:p>
            <a:endParaRPr lang="en-GB"/>
          </a:p>
        </p:txBody>
      </p:sp>
      <p:sp>
        <p:nvSpPr>
          <p:cNvPr id="19" name="Freeform 783">
            <a:extLst>
              <a:ext uri="{FF2B5EF4-FFF2-40B4-BE49-F238E27FC236}">
                <a16:creationId xmlns:a16="http://schemas.microsoft.com/office/drawing/2014/main" id="{D71C1637-1047-46F7-B2EB-E8DA6D50B402}"/>
              </a:ext>
            </a:extLst>
          </p:cNvPr>
          <p:cNvSpPr>
            <a:spLocks noEditPoints="1"/>
          </p:cNvSpPr>
          <p:nvPr/>
        </p:nvSpPr>
        <p:spPr bwMode="auto">
          <a:xfrm>
            <a:off x="7102422" y="3814978"/>
            <a:ext cx="1410005" cy="1632766"/>
          </a:xfrm>
          <a:custGeom>
            <a:avLst/>
            <a:gdLst>
              <a:gd name="T0" fmla="*/ 144 w 218"/>
              <a:gd name="T1" fmla="*/ 22 h 238"/>
              <a:gd name="T2" fmla="*/ 124 w 218"/>
              <a:gd name="T3" fmla="*/ 40 h 238"/>
              <a:gd name="T4" fmla="*/ 146 w 218"/>
              <a:gd name="T5" fmla="*/ 36 h 238"/>
              <a:gd name="T6" fmla="*/ 164 w 218"/>
              <a:gd name="T7" fmla="*/ 36 h 238"/>
              <a:gd name="T8" fmla="*/ 152 w 218"/>
              <a:gd name="T9" fmla="*/ 54 h 238"/>
              <a:gd name="T10" fmla="*/ 186 w 218"/>
              <a:gd name="T11" fmla="*/ 42 h 238"/>
              <a:gd name="T12" fmla="*/ 186 w 218"/>
              <a:gd name="T13" fmla="*/ 66 h 238"/>
              <a:gd name="T14" fmla="*/ 194 w 218"/>
              <a:gd name="T15" fmla="*/ 76 h 238"/>
              <a:gd name="T16" fmla="*/ 204 w 218"/>
              <a:gd name="T17" fmla="*/ 108 h 238"/>
              <a:gd name="T18" fmla="*/ 218 w 218"/>
              <a:gd name="T19" fmla="*/ 126 h 238"/>
              <a:gd name="T20" fmla="*/ 204 w 218"/>
              <a:gd name="T21" fmla="*/ 146 h 238"/>
              <a:gd name="T22" fmla="*/ 196 w 218"/>
              <a:gd name="T23" fmla="*/ 154 h 238"/>
              <a:gd name="T24" fmla="*/ 160 w 218"/>
              <a:gd name="T25" fmla="*/ 174 h 238"/>
              <a:gd name="T26" fmla="*/ 154 w 218"/>
              <a:gd name="T27" fmla="*/ 180 h 238"/>
              <a:gd name="T28" fmla="*/ 130 w 218"/>
              <a:gd name="T29" fmla="*/ 176 h 238"/>
              <a:gd name="T30" fmla="*/ 112 w 218"/>
              <a:gd name="T31" fmla="*/ 204 h 238"/>
              <a:gd name="T32" fmla="*/ 48 w 218"/>
              <a:gd name="T33" fmla="*/ 238 h 238"/>
              <a:gd name="T34" fmla="*/ 100 w 218"/>
              <a:gd name="T35" fmla="*/ 184 h 238"/>
              <a:gd name="T36" fmla="*/ 60 w 218"/>
              <a:gd name="T37" fmla="*/ 182 h 238"/>
              <a:gd name="T38" fmla="*/ 56 w 218"/>
              <a:gd name="T39" fmla="*/ 156 h 238"/>
              <a:gd name="T40" fmla="*/ 48 w 218"/>
              <a:gd name="T41" fmla="*/ 160 h 238"/>
              <a:gd name="T42" fmla="*/ 4 w 218"/>
              <a:gd name="T43" fmla="*/ 154 h 238"/>
              <a:gd name="T44" fmla="*/ 16 w 218"/>
              <a:gd name="T45" fmla="*/ 134 h 238"/>
              <a:gd name="T46" fmla="*/ 20 w 218"/>
              <a:gd name="T47" fmla="*/ 124 h 238"/>
              <a:gd name="T48" fmla="*/ 50 w 218"/>
              <a:gd name="T49" fmla="*/ 122 h 238"/>
              <a:gd name="T50" fmla="*/ 18 w 218"/>
              <a:gd name="T51" fmla="*/ 114 h 238"/>
              <a:gd name="T52" fmla="*/ 40 w 218"/>
              <a:gd name="T53" fmla="*/ 102 h 238"/>
              <a:gd name="T54" fmla="*/ 20 w 218"/>
              <a:gd name="T55" fmla="*/ 94 h 238"/>
              <a:gd name="T56" fmla="*/ 48 w 218"/>
              <a:gd name="T57" fmla="*/ 74 h 238"/>
              <a:gd name="T58" fmla="*/ 54 w 218"/>
              <a:gd name="T59" fmla="*/ 40 h 238"/>
              <a:gd name="T60" fmla="*/ 68 w 218"/>
              <a:gd name="T61" fmla="*/ 30 h 238"/>
              <a:gd name="T62" fmla="*/ 66 w 218"/>
              <a:gd name="T63" fmla="*/ 14 h 238"/>
              <a:gd name="T64" fmla="*/ 100 w 218"/>
              <a:gd name="T65" fmla="*/ 24 h 238"/>
              <a:gd name="T66" fmla="*/ 100 w 218"/>
              <a:gd name="T67" fmla="*/ 10 h 238"/>
              <a:gd name="T68" fmla="*/ 124 w 218"/>
              <a:gd name="T69" fmla="*/ 8 h 238"/>
              <a:gd name="T70" fmla="*/ 120 w 218"/>
              <a:gd name="T71" fmla="*/ 10 h 238"/>
              <a:gd name="T72" fmla="*/ 132 w 218"/>
              <a:gd name="T73" fmla="*/ 20 h 238"/>
              <a:gd name="T74" fmla="*/ 152 w 218"/>
              <a:gd name="T75" fmla="*/ 14 h 238"/>
              <a:gd name="T76" fmla="*/ 80 w 218"/>
              <a:gd name="T77" fmla="*/ 28 h 238"/>
              <a:gd name="T78" fmla="*/ 96 w 218"/>
              <a:gd name="T79" fmla="*/ 28 h 238"/>
              <a:gd name="T80" fmla="*/ 136 w 218"/>
              <a:gd name="T81" fmla="*/ 28 h 238"/>
              <a:gd name="T82" fmla="*/ 98 w 218"/>
              <a:gd name="T83" fmla="*/ 38 h 238"/>
              <a:gd name="T84" fmla="*/ 76 w 218"/>
              <a:gd name="T85" fmla="*/ 60 h 238"/>
              <a:gd name="T86" fmla="*/ 172 w 218"/>
              <a:gd name="T87" fmla="*/ 62 h 238"/>
              <a:gd name="T88" fmla="*/ 150 w 218"/>
              <a:gd name="T89" fmla="*/ 64 h 238"/>
              <a:gd name="T90" fmla="*/ 172 w 218"/>
              <a:gd name="T91" fmla="*/ 72 h 238"/>
              <a:gd name="T92" fmla="*/ 34 w 218"/>
              <a:gd name="T93" fmla="*/ 88 h 238"/>
              <a:gd name="T94" fmla="*/ 120 w 218"/>
              <a:gd name="T95" fmla="*/ 96 h 238"/>
              <a:gd name="T96" fmla="*/ 166 w 218"/>
              <a:gd name="T97" fmla="*/ 94 h 238"/>
              <a:gd name="T98" fmla="*/ 84 w 218"/>
              <a:gd name="T99" fmla="*/ 112 h 238"/>
              <a:gd name="T100" fmla="*/ 108 w 218"/>
              <a:gd name="T101" fmla="*/ 118 h 238"/>
              <a:gd name="T102" fmla="*/ 60 w 218"/>
              <a:gd name="T103" fmla="*/ 114 h 238"/>
              <a:gd name="T104" fmla="*/ 150 w 218"/>
              <a:gd name="T105" fmla="*/ 122 h 238"/>
              <a:gd name="T106" fmla="*/ 162 w 218"/>
              <a:gd name="T107" fmla="*/ 118 h 238"/>
              <a:gd name="T108" fmla="*/ 72 w 218"/>
              <a:gd name="T109" fmla="*/ 132 h 238"/>
              <a:gd name="T110" fmla="*/ 162 w 218"/>
              <a:gd name="T111" fmla="*/ 142 h 238"/>
              <a:gd name="T112" fmla="*/ 126 w 218"/>
              <a:gd name="T113" fmla="*/ 146 h 238"/>
              <a:gd name="T114" fmla="*/ 132 w 218"/>
              <a:gd name="T115" fmla="*/ 146 h 238"/>
              <a:gd name="T116" fmla="*/ 148 w 218"/>
              <a:gd name="T117" fmla="*/ 160 h 238"/>
              <a:gd name="T118" fmla="*/ 162 w 218"/>
              <a:gd name="T119" fmla="*/ 158 h 238"/>
              <a:gd name="T120" fmla="*/ 78 w 218"/>
              <a:gd name="T121" fmla="*/ 16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238">
                <a:moveTo>
                  <a:pt x="152" y="14"/>
                </a:moveTo>
                <a:lnTo>
                  <a:pt x="152" y="14"/>
                </a:lnTo>
                <a:lnTo>
                  <a:pt x="152" y="16"/>
                </a:lnTo>
                <a:lnTo>
                  <a:pt x="150" y="16"/>
                </a:lnTo>
                <a:lnTo>
                  <a:pt x="148" y="16"/>
                </a:lnTo>
                <a:lnTo>
                  <a:pt x="148" y="16"/>
                </a:lnTo>
                <a:lnTo>
                  <a:pt x="148" y="16"/>
                </a:lnTo>
                <a:lnTo>
                  <a:pt x="148" y="18"/>
                </a:lnTo>
                <a:lnTo>
                  <a:pt x="150" y="20"/>
                </a:lnTo>
                <a:lnTo>
                  <a:pt x="156" y="24"/>
                </a:lnTo>
                <a:lnTo>
                  <a:pt x="156" y="24"/>
                </a:lnTo>
                <a:lnTo>
                  <a:pt x="156" y="26"/>
                </a:lnTo>
                <a:lnTo>
                  <a:pt x="154" y="28"/>
                </a:lnTo>
                <a:lnTo>
                  <a:pt x="154" y="28"/>
                </a:lnTo>
                <a:lnTo>
                  <a:pt x="150" y="26"/>
                </a:lnTo>
                <a:lnTo>
                  <a:pt x="150" y="24"/>
                </a:lnTo>
                <a:lnTo>
                  <a:pt x="148" y="22"/>
                </a:lnTo>
                <a:lnTo>
                  <a:pt x="144" y="22"/>
                </a:lnTo>
                <a:lnTo>
                  <a:pt x="144" y="22"/>
                </a:lnTo>
                <a:lnTo>
                  <a:pt x="144" y="20"/>
                </a:lnTo>
                <a:lnTo>
                  <a:pt x="142" y="18"/>
                </a:lnTo>
                <a:lnTo>
                  <a:pt x="142" y="18"/>
                </a:lnTo>
                <a:lnTo>
                  <a:pt x="140" y="18"/>
                </a:lnTo>
                <a:lnTo>
                  <a:pt x="138" y="20"/>
                </a:lnTo>
                <a:lnTo>
                  <a:pt x="138" y="24"/>
                </a:lnTo>
                <a:lnTo>
                  <a:pt x="138" y="24"/>
                </a:lnTo>
                <a:lnTo>
                  <a:pt x="142" y="28"/>
                </a:lnTo>
                <a:lnTo>
                  <a:pt x="148" y="30"/>
                </a:lnTo>
                <a:lnTo>
                  <a:pt x="148" y="30"/>
                </a:lnTo>
                <a:lnTo>
                  <a:pt x="146" y="32"/>
                </a:lnTo>
                <a:lnTo>
                  <a:pt x="146" y="32"/>
                </a:lnTo>
                <a:lnTo>
                  <a:pt x="140" y="32"/>
                </a:lnTo>
                <a:lnTo>
                  <a:pt x="140" y="32"/>
                </a:lnTo>
                <a:lnTo>
                  <a:pt x="138" y="36"/>
                </a:lnTo>
                <a:lnTo>
                  <a:pt x="136" y="38"/>
                </a:lnTo>
                <a:lnTo>
                  <a:pt x="136" y="38"/>
                </a:lnTo>
                <a:lnTo>
                  <a:pt x="128" y="40"/>
                </a:lnTo>
                <a:lnTo>
                  <a:pt x="124" y="40"/>
                </a:lnTo>
                <a:lnTo>
                  <a:pt x="120" y="38"/>
                </a:lnTo>
                <a:lnTo>
                  <a:pt x="120" y="38"/>
                </a:lnTo>
                <a:lnTo>
                  <a:pt x="118" y="40"/>
                </a:lnTo>
                <a:lnTo>
                  <a:pt x="118" y="42"/>
                </a:lnTo>
                <a:lnTo>
                  <a:pt x="120" y="42"/>
                </a:lnTo>
                <a:lnTo>
                  <a:pt x="124" y="42"/>
                </a:lnTo>
                <a:lnTo>
                  <a:pt x="124" y="42"/>
                </a:lnTo>
                <a:lnTo>
                  <a:pt x="124" y="46"/>
                </a:lnTo>
                <a:lnTo>
                  <a:pt x="126" y="48"/>
                </a:lnTo>
                <a:lnTo>
                  <a:pt x="126" y="48"/>
                </a:lnTo>
                <a:lnTo>
                  <a:pt x="130" y="46"/>
                </a:lnTo>
                <a:lnTo>
                  <a:pt x="130" y="42"/>
                </a:lnTo>
                <a:lnTo>
                  <a:pt x="130" y="42"/>
                </a:lnTo>
                <a:lnTo>
                  <a:pt x="134" y="44"/>
                </a:lnTo>
                <a:lnTo>
                  <a:pt x="138" y="42"/>
                </a:lnTo>
                <a:lnTo>
                  <a:pt x="146" y="40"/>
                </a:lnTo>
                <a:lnTo>
                  <a:pt x="146" y="40"/>
                </a:lnTo>
                <a:lnTo>
                  <a:pt x="146" y="38"/>
                </a:lnTo>
                <a:lnTo>
                  <a:pt x="146" y="36"/>
                </a:lnTo>
                <a:lnTo>
                  <a:pt x="146" y="36"/>
                </a:lnTo>
                <a:lnTo>
                  <a:pt x="148" y="34"/>
                </a:lnTo>
                <a:lnTo>
                  <a:pt x="148" y="32"/>
                </a:lnTo>
                <a:lnTo>
                  <a:pt x="148" y="32"/>
                </a:lnTo>
                <a:lnTo>
                  <a:pt x="152" y="32"/>
                </a:lnTo>
                <a:lnTo>
                  <a:pt x="154" y="30"/>
                </a:lnTo>
                <a:lnTo>
                  <a:pt x="156" y="30"/>
                </a:lnTo>
                <a:lnTo>
                  <a:pt x="158" y="30"/>
                </a:lnTo>
                <a:lnTo>
                  <a:pt x="158" y="30"/>
                </a:lnTo>
                <a:lnTo>
                  <a:pt x="160" y="28"/>
                </a:lnTo>
                <a:lnTo>
                  <a:pt x="162" y="26"/>
                </a:lnTo>
                <a:lnTo>
                  <a:pt x="162" y="26"/>
                </a:lnTo>
                <a:lnTo>
                  <a:pt x="166" y="28"/>
                </a:lnTo>
                <a:lnTo>
                  <a:pt x="168" y="30"/>
                </a:lnTo>
                <a:lnTo>
                  <a:pt x="168" y="30"/>
                </a:lnTo>
                <a:lnTo>
                  <a:pt x="168" y="32"/>
                </a:lnTo>
                <a:lnTo>
                  <a:pt x="166" y="34"/>
                </a:lnTo>
                <a:lnTo>
                  <a:pt x="164" y="36"/>
                </a:lnTo>
                <a:lnTo>
                  <a:pt x="164" y="36"/>
                </a:lnTo>
                <a:lnTo>
                  <a:pt x="164" y="38"/>
                </a:lnTo>
                <a:lnTo>
                  <a:pt x="164" y="38"/>
                </a:lnTo>
                <a:lnTo>
                  <a:pt x="166" y="40"/>
                </a:lnTo>
                <a:lnTo>
                  <a:pt x="166" y="42"/>
                </a:lnTo>
                <a:lnTo>
                  <a:pt x="166" y="42"/>
                </a:lnTo>
                <a:lnTo>
                  <a:pt x="164" y="44"/>
                </a:lnTo>
                <a:lnTo>
                  <a:pt x="162" y="46"/>
                </a:lnTo>
                <a:lnTo>
                  <a:pt x="162" y="46"/>
                </a:lnTo>
                <a:lnTo>
                  <a:pt x="160" y="46"/>
                </a:lnTo>
                <a:lnTo>
                  <a:pt x="160" y="44"/>
                </a:lnTo>
                <a:lnTo>
                  <a:pt x="158" y="44"/>
                </a:lnTo>
                <a:lnTo>
                  <a:pt x="158" y="44"/>
                </a:lnTo>
                <a:lnTo>
                  <a:pt x="158" y="44"/>
                </a:lnTo>
                <a:lnTo>
                  <a:pt x="156" y="46"/>
                </a:lnTo>
                <a:lnTo>
                  <a:pt x="156" y="48"/>
                </a:lnTo>
                <a:lnTo>
                  <a:pt x="158" y="50"/>
                </a:lnTo>
                <a:lnTo>
                  <a:pt x="158" y="52"/>
                </a:lnTo>
                <a:lnTo>
                  <a:pt x="158" y="52"/>
                </a:lnTo>
                <a:lnTo>
                  <a:pt x="152" y="54"/>
                </a:lnTo>
                <a:lnTo>
                  <a:pt x="152" y="54"/>
                </a:lnTo>
                <a:lnTo>
                  <a:pt x="154" y="58"/>
                </a:lnTo>
                <a:lnTo>
                  <a:pt x="158" y="60"/>
                </a:lnTo>
                <a:lnTo>
                  <a:pt x="162" y="60"/>
                </a:lnTo>
                <a:lnTo>
                  <a:pt x="166" y="58"/>
                </a:lnTo>
                <a:lnTo>
                  <a:pt x="166" y="58"/>
                </a:lnTo>
                <a:lnTo>
                  <a:pt x="164" y="56"/>
                </a:lnTo>
                <a:lnTo>
                  <a:pt x="162" y="54"/>
                </a:lnTo>
                <a:lnTo>
                  <a:pt x="162" y="54"/>
                </a:lnTo>
                <a:lnTo>
                  <a:pt x="164" y="50"/>
                </a:lnTo>
                <a:lnTo>
                  <a:pt x="166" y="48"/>
                </a:lnTo>
                <a:lnTo>
                  <a:pt x="174" y="44"/>
                </a:lnTo>
                <a:lnTo>
                  <a:pt x="174" y="44"/>
                </a:lnTo>
                <a:lnTo>
                  <a:pt x="174" y="44"/>
                </a:lnTo>
                <a:lnTo>
                  <a:pt x="174" y="40"/>
                </a:lnTo>
                <a:lnTo>
                  <a:pt x="174" y="40"/>
                </a:lnTo>
                <a:lnTo>
                  <a:pt x="180" y="42"/>
                </a:lnTo>
                <a:lnTo>
                  <a:pt x="184" y="42"/>
                </a:lnTo>
                <a:lnTo>
                  <a:pt x="186" y="42"/>
                </a:lnTo>
                <a:lnTo>
                  <a:pt x="186" y="42"/>
                </a:lnTo>
                <a:lnTo>
                  <a:pt x="186" y="44"/>
                </a:lnTo>
                <a:lnTo>
                  <a:pt x="182" y="46"/>
                </a:lnTo>
                <a:lnTo>
                  <a:pt x="180" y="46"/>
                </a:lnTo>
                <a:lnTo>
                  <a:pt x="176" y="46"/>
                </a:lnTo>
                <a:lnTo>
                  <a:pt x="176" y="46"/>
                </a:lnTo>
                <a:lnTo>
                  <a:pt x="174" y="48"/>
                </a:lnTo>
                <a:lnTo>
                  <a:pt x="176" y="50"/>
                </a:lnTo>
                <a:lnTo>
                  <a:pt x="178" y="54"/>
                </a:lnTo>
                <a:lnTo>
                  <a:pt x="178" y="54"/>
                </a:lnTo>
                <a:lnTo>
                  <a:pt x="180" y="54"/>
                </a:lnTo>
                <a:lnTo>
                  <a:pt x="182" y="52"/>
                </a:lnTo>
                <a:lnTo>
                  <a:pt x="184" y="50"/>
                </a:lnTo>
                <a:lnTo>
                  <a:pt x="186" y="50"/>
                </a:lnTo>
                <a:lnTo>
                  <a:pt x="186" y="50"/>
                </a:lnTo>
                <a:lnTo>
                  <a:pt x="186" y="58"/>
                </a:lnTo>
                <a:lnTo>
                  <a:pt x="186" y="62"/>
                </a:lnTo>
                <a:lnTo>
                  <a:pt x="186" y="66"/>
                </a:lnTo>
                <a:lnTo>
                  <a:pt x="186" y="66"/>
                </a:lnTo>
                <a:lnTo>
                  <a:pt x="192" y="64"/>
                </a:lnTo>
                <a:lnTo>
                  <a:pt x="196" y="62"/>
                </a:lnTo>
                <a:lnTo>
                  <a:pt x="196" y="62"/>
                </a:lnTo>
                <a:lnTo>
                  <a:pt x="198" y="58"/>
                </a:lnTo>
                <a:lnTo>
                  <a:pt x="200" y="56"/>
                </a:lnTo>
                <a:lnTo>
                  <a:pt x="202" y="56"/>
                </a:lnTo>
                <a:lnTo>
                  <a:pt x="202" y="56"/>
                </a:lnTo>
                <a:lnTo>
                  <a:pt x="204" y="58"/>
                </a:lnTo>
                <a:lnTo>
                  <a:pt x="202" y="60"/>
                </a:lnTo>
                <a:lnTo>
                  <a:pt x="200" y="62"/>
                </a:lnTo>
                <a:lnTo>
                  <a:pt x="198" y="62"/>
                </a:lnTo>
                <a:lnTo>
                  <a:pt x="198" y="62"/>
                </a:lnTo>
                <a:lnTo>
                  <a:pt x="198" y="66"/>
                </a:lnTo>
                <a:lnTo>
                  <a:pt x="196" y="68"/>
                </a:lnTo>
                <a:lnTo>
                  <a:pt x="192" y="72"/>
                </a:lnTo>
                <a:lnTo>
                  <a:pt x="192" y="72"/>
                </a:lnTo>
                <a:lnTo>
                  <a:pt x="194" y="74"/>
                </a:lnTo>
                <a:lnTo>
                  <a:pt x="194" y="76"/>
                </a:lnTo>
                <a:lnTo>
                  <a:pt x="194" y="76"/>
                </a:lnTo>
                <a:lnTo>
                  <a:pt x="196" y="76"/>
                </a:lnTo>
                <a:lnTo>
                  <a:pt x="200" y="76"/>
                </a:lnTo>
                <a:lnTo>
                  <a:pt x="200" y="76"/>
                </a:lnTo>
                <a:lnTo>
                  <a:pt x="198" y="80"/>
                </a:lnTo>
                <a:lnTo>
                  <a:pt x="196" y="82"/>
                </a:lnTo>
                <a:lnTo>
                  <a:pt x="196" y="84"/>
                </a:lnTo>
                <a:lnTo>
                  <a:pt x="198" y="88"/>
                </a:lnTo>
                <a:lnTo>
                  <a:pt x="198" y="88"/>
                </a:lnTo>
                <a:lnTo>
                  <a:pt x="194" y="92"/>
                </a:lnTo>
                <a:lnTo>
                  <a:pt x="194" y="92"/>
                </a:lnTo>
                <a:lnTo>
                  <a:pt x="196" y="96"/>
                </a:lnTo>
                <a:lnTo>
                  <a:pt x="200" y="98"/>
                </a:lnTo>
                <a:lnTo>
                  <a:pt x="200" y="98"/>
                </a:lnTo>
                <a:lnTo>
                  <a:pt x="202" y="98"/>
                </a:lnTo>
                <a:lnTo>
                  <a:pt x="206" y="96"/>
                </a:lnTo>
                <a:lnTo>
                  <a:pt x="206" y="96"/>
                </a:lnTo>
                <a:lnTo>
                  <a:pt x="200" y="104"/>
                </a:lnTo>
                <a:lnTo>
                  <a:pt x="200" y="104"/>
                </a:lnTo>
                <a:lnTo>
                  <a:pt x="204" y="108"/>
                </a:lnTo>
                <a:lnTo>
                  <a:pt x="206" y="112"/>
                </a:lnTo>
                <a:lnTo>
                  <a:pt x="206" y="112"/>
                </a:lnTo>
                <a:lnTo>
                  <a:pt x="210" y="110"/>
                </a:lnTo>
                <a:lnTo>
                  <a:pt x="212" y="108"/>
                </a:lnTo>
                <a:lnTo>
                  <a:pt x="214" y="110"/>
                </a:lnTo>
                <a:lnTo>
                  <a:pt x="214" y="110"/>
                </a:lnTo>
                <a:lnTo>
                  <a:pt x="214" y="114"/>
                </a:lnTo>
                <a:lnTo>
                  <a:pt x="212" y="114"/>
                </a:lnTo>
                <a:lnTo>
                  <a:pt x="210" y="116"/>
                </a:lnTo>
                <a:lnTo>
                  <a:pt x="210" y="116"/>
                </a:lnTo>
                <a:lnTo>
                  <a:pt x="210" y="116"/>
                </a:lnTo>
                <a:lnTo>
                  <a:pt x="210" y="118"/>
                </a:lnTo>
                <a:lnTo>
                  <a:pt x="212" y="120"/>
                </a:lnTo>
                <a:lnTo>
                  <a:pt x="214" y="122"/>
                </a:lnTo>
                <a:lnTo>
                  <a:pt x="214" y="124"/>
                </a:lnTo>
                <a:lnTo>
                  <a:pt x="214" y="124"/>
                </a:lnTo>
                <a:lnTo>
                  <a:pt x="218" y="124"/>
                </a:lnTo>
                <a:lnTo>
                  <a:pt x="218" y="126"/>
                </a:lnTo>
                <a:lnTo>
                  <a:pt x="218" y="126"/>
                </a:lnTo>
                <a:lnTo>
                  <a:pt x="218" y="128"/>
                </a:lnTo>
                <a:lnTo>
                  <a:pt x="216" y="128"/>
                </a:lnTo>
                <a:lnTo>
                  <a:pt x="214" y="128"/>
                </a:lnTo>
                <a:lnTo>
                  <a:pt x="214" y="128"/>
                </a:lnTo>
                <a:lnTo>
                  <a:pt x="214" y="128"/>
                </a:lnTo>
                <a:lnTo>
                  <a:pt x="212" y="134"/>
                </a:lnTo>
                <a:lnTo>
                  <a:pt x="212" y="138"/>
                </a:lnTo>
                <a:lnTo>
                  <a:pt x="212" y="138"/>
                </a:lnTo>
                <a:lnTo>
                  <a:pt x="214" y="140"/>
                </a:lnTo>
                <a:lnTo>
                  <a:pt x="214" y="140"/>
                </a:lnTo>
                <a:lnTo>
                  <a:pt x="212" y="142"/>
                </a:lnTo>
                <a:lnTo>
                  <a:pt x="212" y="148"/>
                </a:lnTo>
                <a:lnTo>
                  <a:pt x="212" y="148"/>
                </a:lnTo>
                <a:lnTo>
                  <a:pt x="208" y="148"/>
                </a:lnTo>
                <a:lnTo>
                  <a:pt x="208" y="146"/>
                </a:lnTo>
                <a:lnTo>
                  <a:pt x="206" y="146"/>
                </a:lnTo>
                <a:lnTo>
                  <a:pt x="204" y="146"/>
                </a:lnTo>
                <a:lnTo>
                  <a:pt x="204" y="146"/>
                </a:lnTo>
                <a:lnTo>
                  <a:pt x="204" y="146"/>
                </a:lnTo>
                <a:lnTo>
                  <a:pt x="204" y="148"/>
                </a:lnTo>
                <a:lnTo>
                  <a:pt x="206" y="150"/>
                </a:lnTo>
                <a:lnTo>
                  <a:pt x="204" y="152"/>
                </a:lnTo>
                <a:lnTo>
                  <a:pt x="204" y="152"/>
                </a:lnTo>
                <a:lnTo>
                  <a:pt x="202" y="150"/>
                </a:lnTo>
                <a:lnTo>
                  <a:pt x="202" y="150"/>
                </a:lnTo>
                <a:lnTo>
                  <a:pt x="200" y="148"/>
                </a:lnTo>
                <a:lnTo>
                  <a:pt x="200" y="148"/>
                </a:lnTo>
                <a:lnTo>
                  <a:pt x="194" y="148"/>
                </a:lnTo>
                <a:lnTo>
                  <a:pt x="190" y="146"/>
                </a:lnTo>
                <a:lnTo>
                  <a:pt x="186" y="146"/>
                </a:lnTo>
                <a:lnTo>
                  <a:pt x="184" y="150"/>
                </a:lnTo>
                <a:lnTo>
                  <a:pt x="184" y="150"/>
                </a:lnTo>
                <a:lnTo>
                  <a:pt x="184" y="150"/>
                </a:lnTo>
                <a:lnTo>
                  <a:pt x="184" y="152"/>
                </a:lnTo>
                <a:lnTo>
                  <a:pt x="186" y="154"/>
                </a:lnTo>
                <a:lnTo>
                  <a:pt x="186" y="154"/>
                </a:lnTo>
                <a:lnTo>
                  <a:pt x="196" y="154"/>
                </a:lnTo>
                <a:lnTo>
                  <a:pt x="196" y="154"/>
                </a:lnTo>
                <a:lnTo>
                  <a:pt x="200" y="158"/>
                </a:lnTo>
                <a:lnTo>
                  <a:pt x="206" y="160"/>
                </a:lnTo>
                <a:lnTo>
                  <a:pt x="206" y="160"/>
                </a:lnTo>
                <a:lnTo>
                  <a:pt x="204" y="160"/>
                </a:lnTo>
                <a:lnTo>
                  <a:pt x="202" y="160"/>
                </a:lnTo>
                <a:lnTo>
                  <a:pt x="202" y="160"/>
                </a:lnTo>
                <a:lnTo>
                  <a:pt x="194" y="168"/>
                </a:lnTo>
                <a:lnTo>
                  <a:pt x="190" y="170"/>
                </a:lnTo>
                <a:lnTo>
                  <a:pt x="182" y="170"/>
                </a:lnTo>
                <a:lnTo>
                  <a:pt x="182" y="170"/>
                </a:lnTo>
                <a:lnTo>
                  <a:pt x="180" y="172"/>
                </a:lnTo>
                <a:lnTo>
                  <a:pt x="180" y="172"/>
                </a:lnTo>
                <a:lnTo>
                  <a:pt x="178" y="174"/>
                </a:lnTo>
                <a:lnTo>
                  <a:pt x="176" y="174"/>
                </a:lnTo>
                <a:lnTo>
                  <a:pt x="176" y="174"/>
                </a:lnTo>
                <a:lnTo>
                  <a:pt x="168" y="172"/>
                </a:lnTo>
                <a:lnTo>
                  <a:pt x="164" y="172"/>
                </a:lnTo>
                <a:lnTo>
                  <a:pt x="160" y="174"/>
                </a:lnTo>
                <a:lnTo>
                  <a:pt x="160" y="174"/>
                </a:lnTo>
                <a:lnTo>
                  <a:pt x="174" y="180"/>
                </a:lnTo>
                <a:lnTo>
                  <a:pt x="174" y="180"/>
                </a:lnTo>
                <a:lnTo>
                  <a:pt x="178" y="178"/>
                </a:lnTo>
                <a:lnTo>
                  <a:pt x="180" y="178"/>
                </a:lnTo>
                <a:lnTo>
                  <a:pt x="180" y="178"/>
                </a:lnTo>
                <a:lnTo>
                  <a:pt x="182" y="180"/>
                </a:lnTo>
                <a:lnTo>
                  <a:pt x="182" y="184"/>
                </a:lnTo>
                <a:lnTo>
                  <a:pt x="182" y="184"/>
                </a:lnTo>
                <a:lnTo>
                  <a:pt x="184" y="186"/>
                </a:lnTo>
                <a:lnTo>
                  <a:pt x="186" y="188"/>
                </a:lnTo>
                <a:lnTo>
                  <a:pt x="186" y="190"/>
                </a:lnTo>
                <a:lnTo>
                  <a:pt x="186" y="190"/>
                </a:lnTo>
                <a:lnTo>
                  <a:pt x="180" y="190"/>
                </a:lnTo>
                <a:lnTo>
                  <a:pt x="176" y="188"/>
                </a:lnTo>
                <a:lnTo>
                  <a:pt x="172" y="186"/>
                </a:lnTo>
                <a:lnTo>
                  <a:pt x="168" y="188"/>
                </a:lnTo>
                <a:lnTo>
                  <a:pt x="168" y="188"/>
                </a:lnTo>
                <a:lnTo>
                  <a:pt x="160" y="184"/>
                </a:lnTo>
                <a:lnTo>
                  <a:pt x="154" y="180"/>
                </a:lnTo>
                <a:lnTo>
                  <a:pt x="154" y="180"/>
                </a:lnTo>
                <a:lnTo>
                  <a:pt x="148" y="182"/>
                </a:lnTo>
                <a:lnTo>
                  <a:pt x="144" y="184"/>
                </a:lnTo>
                <a:lnTo>
                  <a:pt x="144" y="184"/>
                </a:lnTo>
                <a:lnTo>
                  <a:pt x="142" y="182"/>
                </a:lnTo>
                <a:lnTo>
                  <a:pt x="142" y="180"/>
                </a:lnTo>
                <a:lnTo>
                  <a:pt x="144" y="174"/>
                </a:lnTo>
                <a:lnTo>
                  <a:pt x="144" y="174"/>
                </a:lnTo>
                <a:lnTo>
                  <a:pt x="142" y="174"/>
                </a:lnTo>
                <a:lnTo>
                  <a:pt x="140" y="172"/>
                </a:lnTo>
                <a:lnTo>
                  <a:pt x="140" y="172"/>
                </a:lnTo>
                <a:lnTo>
                  <a:pt x="138" y="172"/>
                </a:lnTo>
                <a:lnTo>
                  <a:pt x="138" y="174"/>
                </a:lnTo>
                <a:lnTo>
                  <a:pt x="138" y="176"/>
                </a:lnTo>
                <a:lnTo>
                  <a:pt x="138" y="178"/>
                </a:lnTo>
                <a:lnTo>
                  <a:pt x="138" y="178"/>
                </a:lnTo>
                <a:lnTo>
                  <a:pt x="134" y="176"/>
                </a:lnTo>
                <a:lnTo>
                  <a:pt x="130" y="176"/>
                </a:lnTo>
                <a:lnTo>
                  <a:pt x="130" y="176"/>
                </a:lnTo>
                <a:lnTo>
                  <a:pt x="128" y="176"/>
                </a:lnTo>
                <a:lnTo>
                  <a:pt x="128" y="178"/>
                </a:lnTo>
                <a:lnTo>
                  <a:pt x="126" y="180"/>
                </a:lnTo>
                <a:lnTo>
                  <a:pt x="124" y="180"/>
                </a:lnTo>
                <a:lnTo>
                  <a:pt x="124" y="180"/>
                </a:lnTo>
                <a:lnTo>
                  <a:pt x="122" y="176"/>
                </a:lnTo>
                <a:lnTo>
                  <a:pt x="122" y="174"/>
                </a:lnTo>
                <a:lnTo>
                  <a:pt x="118" y="172"/>
                </a:lnTo>
                <a:lnTo>
                  <a:pt x="118" y="172"/>
                </a:lnTo>
                <a:lnTo>
                  <a:pt x="116" y="174"/>
                </a:lnTo>
                <a:lnTo>
                  <a:pt x="116" y="174"/>
                </a:lnTo>
                <a:lnTo>
                  <a:pt x="118" y="178"/>
                </a:lnTo>
                <a:lnTo>
                  <a:pt x="118" y="180"/>
                </a:lnTo>
                <a:lnTo>
                  <a:pt x="118" y="182"/>
                </a:lnTo>
                <a:lnTo>
                  <a:pt x="118" y="182"/>
                </a:lnTo>
                <a:lnTo>
                  <a:pt x="114" y="184"/>
                </a:lnTo>
                <a:lnTo>
                  <a:pt x="110" y="184"/>
                </a:lnTo>
                <a:lnTo>
                  <a:pt x="110" y="184"/>
                </a:lnTo>
                <a:lnTo>
                  <a:pt x="112" y="204"/>
                </a:lnTo>
                <a:lnTo>
                  <a:pt x="114" y="226"/>
                </a:lnTo>
                <a:lnTo>
                  <a:pt x="114" y="226"/>
                </a:lnTo>
                <a:lnTo>
                  <a:pt x="118" y="228"/>
                </a:lnTo>
                <a:lnTo>
                  <a:pt x="122" y="230"/>
                </a:lnTo>
                <a:lnTo>
                  <a:pt x="122" y="230"/>
                </a:lnTo>
                <a:lnTo>
                  <a:pt x="128" y="232"/>
                </a:lnTo>
                <a:lnTo>
                  <a:pt x="128" y="232"/>
                </a:lnTo>
                <a:lnTo>
                  <a:pt x="140" y="232"/>
                </a:lnTo>
                <a:lnTo>
                  <a:pt x="154" y="232"/>
                </a:lnTo>
                <a:lnTo>
                  <a:pt x="154" y="232"/>
                </a:lnTo>
                <a:lnTo>
                  <a:pt x="164" y="234"/>
                </a:lnTo>
                <a:lnTo>
                  <a:pt x="172" y="236"/>
                </a:lnTo>
                <a:lnTo>
                  <a:pt x="172" y="236"/>
                </a:lnTo>
                <a:lnTo>
                  <a:pt x="170" y="238"/>
                </a:lnTo>
                <a:lnTo>
                  <a:pt x="170" y="238"/>
                </a:lnTo>
                <a:lnTo>
                  <a:pt x="166" y="238"/>
                </a:lnTo>
                <a:lnTo>
                  <a:pt x="166" y="238"/>
                </a:lnTo>
                <a:lnTo>
                  <a:pt x="108" y="238"/>
                </a:lnTo>
                <a:lnTo>
                  <a:pt x="48" y="238"/>
                </a:lnTo>
                <a:lnTo>
                  <a:pt x="48" y="238"/>
                </a:lnTo>
                <a:lnTo>
                  <a:pt x="50" y="236"/>
                </a:lnTo>
                <a:lnTo>
                  <a:pt x="54" y="234"/>
                </a:lnTo>
                <a:lnTo>
                  <a:pt x="62" y="232"/>
                </a:lnTo>
                <a:lnTo>
                  <a:pt x="62" y="232"/>
                </a:lnTo>
                <a:lnTo>
                  <a:pt x="76" y="232"/>
                </a:lnTo>
                <a:lnTo>
                  <a:pt x="76" y="232"/>
                </a:lnTo>
                <a:lnTo>
                  <a:pt x="80" y="230"/>
                </a:lnTo>
                <a:lnTo>
                  <a:pt x="80" y="230"/>
                </a:lnTo>
                <a:lnTo>
                  <a:pt x="94" y="232"/>
                </a:lnTo>
                <a:lnTo>
                  <a:pt x="100" y="232"/>
                </a:lnTo>
                <a:lnTo>
                  <a:pt x="104" y="228"/>
                </a:lnTo>
                <a:lnTo>
                  <a:pt x="104" y="228"/>
                </a:lnTo>
                <a:lnTo>
                  <a:pt x="104" y="212"/>
                </a:lnTo>
                <a:lnTo>
                  <a:pt x="104" y="212"/>
                </a:lnTo>
                <a:lnTo>
                  <a:pt x="104" y="198"/>
                </a:lnTo>
                <a:lnTo>
                  <a:pt x="104" y="188"/>
                </a:lnTo>
                <a:lnTo>
                  <a:pt x="104" y="188"/>
                </a:lnTo>
                <a:lnTo>
                  <a:pt x="100" y="184"/>
                </a:lnTo>
                <a:lnTo>
                  <a:pt x="96" y="180"/>
                </a:lnTo>
                <a:lnTo>
                  <a:pt x="96" y="180"/>
                </a:lnTo>
                <a:lnTo>
                  <a:pt x="92" y="182"/>
                </a:lnTo>
                <a:lnTo>
                  <a:pt x="88" y="180"/>
                </a:lnTo>
                <a:lnTo>
                  <a:pt x="78" y="180"/>
                </a:lnTo>
                <a:lnTo>
                  <a:pt x="78" y="180"/>
                </a:lnTo>
                <a:lnTo>
                  <a:pt x="76" y="180"/>
                </a:lnTo>
                <a:lnTo>
                  <a:pt x="74" y="178"/>
                </a:lnTo>
                <a:lnTo>
                  <a:pt x="72" y="176"/>
                </a:lnTo>
                <a:lnTo>
                  <a:pt x="72" y="176"/>
                </a:lnTo>
                <a:lnTo>
                  <a:pt x="70" y="178"/>
                </a:lnTo>
                <a:lnTo>
                  <a:pt x="70" y="182"/>
                </a:lnTo>
                <a:lnTo>
                  <a:pt x="70" y="182"/>
                </a:lnTo>
                <a:lnTo>
                  <a:pt x="66" y="182"/>
                </a:lnTo>
                <a:lnTo>
                  <a:pt x="64" y="182"/>
                </a:lnTo>
                <a:lnTo>
                  <a:pt x="62" y="184"/>
                </a:lnTo>
                <a:lnTo>
                  <a:pt x="60" y="186"/>
                </a:lnTo>
                <a:lnTo>
                  <a:pt x="60" y="186"/>
                </a:lnTo>
                <a:lnTo>
                  <a:pt x="60" y="182"/>
                </a:lnTo>
                <a:lnTo>
                  <a:pt x="62" y="178"/>
                </a:lnTo>
                <a:lnTo>
                  <a:pt x="66" y="176"/>
                </a:lnTo>
                <a:lnTo>
                  <a:pt x="68" y="172"/>
                </a:lnTo>
                <a:lnTo>
                  <a:pt x="68" y="172"/>
                </a:lnTo>
                <a:lnTo>
                  <a:pt x="68" y="172"/>
                </a:lnTo>
                <a:lnTo>
                  <a:pt x="66" y="170"/>
                </a:lnTo>
                <a:lnTo>
                  <a:pt x="64" y="170"/>
                </a:lnTo>
                <a:lnTo>
                  <a:pt x="64" y="170"/>
                </a:lnTo>
                <a:lnTo>
                  <a:pt x="66" y="164"/>
                </a:lnTo>
                <a:lnTo>
                  <a:pt x="70" y="160"/>
                </a:lnTo>
                <a:lnTo>
                  <a:pt x="70" y="160"/>
                </a:lnTo>
                <a:lnTo>
                  <a:pt x="68" y="156"/>
                </a:lnTo>
                <a:lnTo>
                  <a:pt x="68" y="156"/>
                </a:lnTo>
                <a:lnTo>
                  <a:pt x="64" y="156"/>
                </a:lnTo>
                <a:lnTo>
                  <a:pt x="60" y="154"/>
                </a:lnTo>
                <a:lnTo>
                  <a:pt x="58" y="152"/>
                </a:lnTo>
                <a:lnTo>
                  <a:pt x="54" y="154"/>
                </a:lnTo>
                <a:lnTo>
                  <a:pt x="54" y="154"/>
                </a:lnTo>
                <a:lnTo>
                  <a:pt x="56" y="156"/>
                </a:lnTo>
                <a:lnTo>
                  <a:pt x="58" y="158"/>
                </a:lnTo>
                <a:lnTo>
                  <a:pt x="62" y="158"/>
                </a:lnTo>
                <a:lnTo>
                  <a:pt x="66" y="158"/>
                </a:lnTo>
                <a:lnTo>
                  <a:pt x="66" y="158"/>
                </a:lnTo>
                <a:lnTo>
                  <a:pt x="64" y="162"/>
                </a:lnTo>
                <a:lnTo>
                  <a:pt x="62" y="164"/>
                </a:lnTo>
                <a:lnTo>
                  <a:pt x="60" y="166"/>
                </a:lnTo>
                <a:lnTo>
                  <a:pt x="58" y="168"/>
                </a:lnTo>
                <a:lnTo>
                  <a:pt x="58" y="168"/>
                </a:lnTo>
                <a:lnTo>
                  <a:pt x="56" y="168"/>
                </a:lnTo>
                <a:lnTo>
                  <a:pt x="54" y="168"/>
                </a:lnTo>
                <a:lnTo>
                  <a:pt x="50" y="168"/>
                </a:lnTo>
                <a:lnTo>
                  <a:pt x="48" y="166"/>
                </a:lnTo>
                <a:lnTo>
                  <a:pt x="48" y="166"/>
                </a:lnTo>
                <a:lnTo>
                  <a:pt x="50" y="166"/>
                </a:lnTo>
                <a:lnTo>
                  <a:pt x="52" y="162"/>
                </a:lnTo>
                <a:lnTo>
                  <a:pt x="52" y="162"/>
                </a:lnTo>
                <a:lnTo>
                  <a:pt x="50" y="160"/>
                </a:lnTo>
                <a:lnTo>
                  <a:pt x="48" y="160"/>
                </a:lnTo>
                <a:lnTo>
                  <a:pt x="48" y="160"/>
                </a:lnTo>
                <a:lnTo>
                  <a:pt x="38" y="162"/>
                </a:lnTo>
                <a:lnTo>
                  <a:pt x="38" y="162"/>
                </a:lnTo>
                <a:lnTo>
                  <a:pt x="34" y="162"/>
                </a:lnTo>
                <a:lnTo>
                  <a:pt x="30" y="162"/>
                </a:lnTo>
                <a:lnTo>
                  <a:pt x="22" y="164"/>
                </a:lnTo>
                <a:lnTo>
                  <a:pt x="22" y="164"/>
                </a:lnTo>
                <a:lnTo>
                  <a:pt x="14" y="164"/>
                </a:lnTo>
                <a:lnTo>
                  <a:pt x="4" y="162"/>
                </a:lnTo>
                <a:lnTo>
                  <a:pt x="4" y="162"/>
                </a:lnTo>
                <a:lnTo>
                  <a:pt x="4" y="158"/>
                </a:lnTo>
                <a:lnTo>
                  <a:pt x="4" y="158"/>
                </a:lnTo>
                <a:lnTo>
                  <a:pt x="4" y="156"/>
                </a:lnTo>
                <a:lnTo>
                  <a:pt x="2" y="154"/>
                </a:lnTo>
                <a:lnTo>
                  <a:pt x="0" y="154"/>
                </a:lnTo>
                <a:lnTo>
                  <a:pt x="0" y="152"/>
                </a:lnTo>
                <a:lnTo>
                  <a:pt x="0" y="152"/>
                </a:lnTo>
                <a:lnTo>
                  <a:pt x="2" y="152"/>
                </a:lnTo>
                <a:lnTo>
                  <a:pt x="4" y="154"/>
                </a:lnTo>
                <a:lnTo>
                  <a:pt x="6" y="156"/>
                </a:lnTo>
                <a:lnTo>
                  <a:pt x="6" y="156"/>
                </a:lnTo>
                <a:lnTo>
                  <a:pt x="16" y="156"/>
                </a:lnTo>
                <a:lnTo>
                  <a:pt x="20" y="156"/>
                </a:lnTo>
                <a:lnTo>
                  <a:pt x="22" y="154"/>
                </a:lnTo>
                <a:lnTo>
                  <a:pt x="22" y="154"/>
                </a:lnTo>
                <a:lnTo>
                  <a:pt x="22" y="150"/>
                </a:lnTo>
                <a:lnTo>
                  <a:pt x="20" y="148"/>
                </a:lnTo>
                <a:lnTo>
                  <a:pt x="16" y="146"/>
                </a:lnTo>
                <a:lnTo>
                  <a:pt x="16" y="146"/>
                </a:lnTo>
                <a:lnTo>
                  <a:pt x="18" y="144"/>
                </a:lnTo>
                <a:lnTo>
                  <a:pt x="20" y="140"/>
                </a:lnTo>
                <a:lnTo>
                  <a:pt x="20" y="140"/>
                </a:lnTo>
                <a:lnTo>
                  <a:pt x="18" y="138"/>
                </a:lnTo>
                <a:lnTo>
                  <a:pt x="18" y="138"/>
                </a:lnTo>
                <a:lnTo>
                  <a:pt x="14" y="138"/>
                </a:lnTo>
                <a:lnTo>
                  <a:pt x="14" y="138"/>
                </a:lnTo>
                <a:lnTo>
                  <a:pt x="14" y="136"/>
                </a:lnTo>
                <a:lnTo>
                  <a:pt x="16" y="134"/>
                </a:lnTo>
                <a:lnTo>
                  <a:pt x="18" y="134"/>
                </a:lnTo>
                <a:lnTo>
                  <a:pt x="18" y="132"/>
                </a:lnTo>
                <a:lnTo>
                  <a:pt x="18" y="132"/>
                </a:lnTo>
                <a:lnTo>
                  <a:pt x="22" y="132"/>
                </a:lnTo>
                <a:lnTo>
                  <a:pt x="26" y="132"/>
                </a:lnTo>
                <a:lnTo>
                  <a:pt x="26" y="132"/>
                </a:lnTo>
                <a:lnTo>
                  <a:pt x="26" y="130"/>
                </a:lnTo>
                <a:lnTo>
                  <a:pt x="24" y="130"/>
                </a:lnTo>
                <a:lnTo>
                  <a:pt x="20" y="128"/>
                </a:lnTo>
                <a:lnTo>
                  <a:pt x="20" y="128"/>
                </a:lnTo>
                <a:lnTo>
                  <a:pt x="18" y="130"/>
                </a:lnTo>
                <a:lnTo>
                  <a:pt x="18" y="132"/>
                </a:lnTo>
                <a:lnTo>
                  <a:pt x="18" y="132"/>
                </a:lnTo>
                <a:lnTo>
                  <a:pt x="16" y="130"/>
                </a:lnTo>
                <a:lnTo>
                  <a:pt x="14" y="128"/>
                </a:lnTo>
                <a:lnTo>
                  <a:pt x="12" y="126"/>
                </a:lnTo>
                <a:lnTo>
                  <a:pt x="14" y="122"/>
                </a:lnTo>
                <a:lnTo>
                  <a:pt x="14" y="122"/>
                </a:lnTo>
                <a:lnTo>
                  <a:pt x="20" y="124"/>
                </a:lnTo>
                <a:lnTo>
                  <a:pt x="22" y="124"/>
                </a:lnTo>
                <a:lnTo>
                  <a:pt x="26" y="122"/>
                </a:lnTo>
                <a:lnTo>
                  <a:pt x="26" y="122"/>
                </a:lnTo>
                <a:lnTo>
                  <a:pt x="28" y="126"/>
                </a:lnTo>
                <a:lnTo>
                  <a:pt x="30" y="128"/>
                </a:lnTo>
                <a:lnTo>
                  <a:pt x="30" y="128"/>
                </a:lnTo>
                <a:lnTo>
                  <a:pt x="34" y="128"/>
                </a:lnTo>
                <a:lnTo>
                  <a:pt x="36" y="126"/>
                </a:lnTo>
                <a:lnTo>
                  <a:pt x="36" y="126"/>
                </a:lnTo>
                <a:lnTo>
                  <a:pt x="38" y="128"/>
                </a:lnTo>
                <a:lnTo>
                  <a:pt x="38" y="128"/>
                </a:lnTo>
                <a:lnTo>
                  <a:pt x="38" y="130"/>
                </a:lnTo>
                <a:lnTo>
                  <a:pt x="40" y="130"/>
                </a:lnTo>
                <a:lnTo>
                  <a:pt x="40" y="130"/>
                </a:lnTo>
                <a:lnTo>
                  <a:pt x="48" y="128"/>
                </a:lnTo>
                <a:lnTo>
                  <a:pt x="52" y="122"/>
                </a:lnTo>
                <a:lnTo>
                  <a:pt x="52" y="122"/>
                </a:lnTo>
                <a:lnTo>
                  <a:pt x="50" y="122"/>
                </a:lnTo>
                <a:lnTo>
                  <a:pt x="50" y="122"/>
                </a:lnTo>
                <a:lnTo>
                  <a:pt x="48" y="124"/>
                </a:lnTo>
                <a:lnTo>
                  <a:pt x="44" y="124"/>
                </a:lnTo>
                <a:lnTo>
                  <a:pt x="44" y="124"/>
                </a:lnTo>
                <a:lnTo>
                  <a:pt x="44" y="122"/>
                </a:lnTo>
                <a:lnTo>
                  <a:pt x="46" y="120"/>
                </a:lnTo>
                <a:lnTo>
                  <a:pt x="48" y="120"/>
                </a:lnTo>
                <a:lnTo>
                  <a:pt x="48" y="120"/>
                </a:lnTo>
                <a:lnTo>
                  <a:pt x="48" y="118"/>
                </a:lnTo>
                <a:lnTo>
                  <a:pt x="46" y="116"/>
                </a:lnTo>
                <a:lnTo>
                  <a:pt x="46" y="116"/>
                </a:lnTo>
                <a:lnTo>
                  <a:pt x="42" y="116"/>
                </a:lnTo>
                <a:lnTo>
                  <a:pt x="38" y="120"/>
                </a:lnTo>
                <a:lnTo>
                  <a:pt x="38" y="120"/>
                </a:lnTo>
                <a:lnTo>
                  <a:pt x="34" y="118"/>
                </a:lnTo>
                <a:lnTo>
                  <a:pt x="32" y="114"/>
                </a:lnTo>
                <a:lnTo>
                  <a:pt x="32" y="114"/>
                </a:lnTo>
                <a:lnTo>
                  <a:pt x="24" y="114"/>
                </a:lnTo>
                <a:lnTo>
                  <a:pt x="18" y="114"/>
                </a:lnTo>
                <a:lnTo>
                  <a:pt x="18" y="114"/>
                </a:lnTo>
                <a:lnTo>
                  <a:pt x="16" y="112"/>
                </a:lnTo>
                <a:lnTo>
                  <a:pt x="14" y="110"/>
                </a:lnTo>
                <a:lnTo>
                  <a:pt x="12" y="108"/>
                </a:lnTo>
                <a:lnTo>
                  <a:pt x="10" y="106"/>
                </a:lnTo>
                <a:lnTo>
                  <a:pt x="10" y="106"/>
                </a:lnTo>
                <a:lnTo>
                  <a:pt x="10" y="104"/>
                </a:lnTo>
                <a:lnTo>
                  <a:pt x="12" y="104"/>
                </a:lnTo>
                <a:lnTo>
                  <a:pt x="14" y="104"/>
                </a:lnTo>
                <a:lnTo>
                  <a:pt x="16" y="104"/>
                </a:lnTo>
                <a:lnTo>
                  <a:pt x="16" y="104"/>
                </a:lnTo>
                <a:lnTo>
                  <a:pt x="20" y="100"/>
                </a:lnTo>
                <a:lnTo>
                  <a:pt x="20" y="100"/>
                </a:lnTo>
                <a:lnTo>
                  <a:pt x="24" y="100"/>
                </a:lnTo>
                <a:lnTo>
                  <a:pt x="24" y="102"/>
                </a:lnTo>
                <a:lnTo>
                  <a:pt x="28" y="104"/>
                </a:lnTo>
                <a:lnTo>
                  <a:pt x="28" y="104"/>
                </a:lnTo>
                <a:lnTo>
                  <a:pt x="36" y="104"/>
                </a:lnTo>
                <a:lnTo>
                  <a:pt x="40" y="102"/>
                </a:lnTo>
                <a:lnTo>
                  <a:pt x="40" y="102"/>
                </a:lnTo>
                <a:lnTo>
                  <a:pt x="42" y="98"/>
                </a:lnTo>
                <a:lnTo>
                  <a:pt x="40" y="94"/>
                </a:lnTo>
                <a:lnTo>
                  <a:pt x="40" y="94"/>
                </a:lnTo>
                <a:lnTo>
                  <a:pt x="38" y="94"/>
                </a:lnTo>
                <a:lnTo>
                  <a:pt x="36" y="96"/>
                </a:lnTo>
                <a:lnTo>
                  <a:pt x="34" y="96"/>
                </a:lnTo>
                <a:lnTo>
                  <a:pt x="34" y="96"/>
                </a:lnTo>
                <a:lnTo>
                  <a:pt x="30" y="88"/>
                </a:lnTo>
                <a:lnTo>
                  <a:pt x="30" y="88"/>
                </a:lnTo>
                <a:lnTo>
                  <a:pt x="26" y="88"/>
                </a:lnTo>
                <a:lnTo>
                  <a:pt x="26" y="88"/>
                </a:lnTo>
                <a:lnTo>
                  <a:pt x="24" y="90"/>
                </a:lnTo>
                <a:lnTo>
                  <a:pt x="26" y="90"/>
                </a:lnTo>
                <a:lnTo>
                  <a:pt x="28" y="92"/>
                </a:lnTo>
                <a:lnTo>
                  <a:pt x="26" y="94"/>
                </a:lnTo>
                <a:lnTo>
                  <a:pt x="26" y="94"/>
                </a:lnTo>
                <a:lnTo>
                  <a:pt x="24" y="94"/>
                </a:lnTo>
                <a:lnTo>
                  <a:pt x="20" y="94"/>
                </a:lnTo>
                <a:lnTo>
                  <a:pt x="20" y="94"/>
                </a:lnTo>
                <a:lnTo>
                  <a:pt x="20" y="92"/>
                </a:lnTo>
                <a:lnTo>
                  <a:pt x="24" y="90"/>
                </a:lnTo>
                <a:lnTo>
                  <a:pt x="24" y="90"/>
                </a:lnTo>
                <a:lnTo>
                  <a:pt x="22" y="86"/>
                </a:lnTo>
                <a:lnTo>
                  <a:pt x="24" y="82"/>
                </a:lnTo>
                <a:lnTo>
                  <a:pt x="24" y="82"/>
                </a:lnTo>
                <a:lnTo>
                  <a:pt x="22" y="80"/>
                </a:lnTo>
                <a:lnTo>
                  <a:pt x="20" y="76"/>
                </a:lnTo>
                <a:lnTo>
                  <a:pt x="20" y="76"/>
                </a:lnTo>
                <a:lnTo>
                  <a:pt x="30" y="72"/>
                </a:lnTo>
                <a:lnTo>
                  <a:pt x="38" y="68"/>
                </a:lnTo>
                <a:lnTo>
                  <a:pt x="38" y="68"/>
                </a:lnTo>
                <a:lnTo>
                  <a:pt x="40" y="70"/>
                </a:lnTo>
                <a:lnTo>
                  <a:pt x="40" y="74"/>
                </a:lnTo>
                <a:lnTo>
                  <a:pt x="40" y="74"/>
                </a:lnTo>
                <a:lnTo>
                  <a:pt x="46" y="76"/>
                </a:lnTo>
                <a:lnTo>
                  <a:pt x="48" y="76"/>
                </a:lnTo>
                <a:lnTo>
                  <a:pt x="48" y="74"/>
                </a:lnTo>
                <a:lnTo>
                  <a:pt x="48" y="74"/>
                </a:lnTo>
                <a:lnTo>
                  <a:pt x="48" y="72"/>
                </a:lnTo>
                <a:lnTo>
                  <a:pt x="46" y="72"/>
                </a:lnTo>
                <a:lnTo>
                  <a:pt x="44" y="70"/>
                </a:lnTo>
                <a:lnTo>
                  <a:pt x="44" y="70"/>
                </a:lnTo>
                <a:lnTo>
                  <a:pt x="44" y="66"/>
                </a:lnTo>
                <a:lnTo>
                  <a:pt x="46" y="64"/>
                </a:lnTo>
                <a:lnTo>
                  <a:pt x="46" y="64"/>
                </a:lnTo>
                <a:lnTo>
                  <a:pt x="44" y="60"/>
                </a:lnTo>
                <a:lnTo>
                  <a:pt x="44" y="54"/>
                </a:lnTo>
                <a:lnTo>
                  <a:pt x="44" y="54"/>
                </a:lnTo>
                <a:lnTo>
                  <a:pt x="50" y="54"/>
                </a:lnTo>
                <a:lnTo>
                  <a:pt x="50" y="54"/>
                </a:lnTo>
                <a:lnTo>
                  <a:pt x="56" y="50"/>
                </a:lnTo>
                <a:lnTo>
                  <a:pt x="58" y="48"/>
                </a:lnTo>
                <a:lnTo>
                  <a:pt x="60" y="46"/>
                </a:lnTo>
                <a:lnTo>
                  <a:pt x="60" y="46"/>
                </a:lnTo>
                <a:lnTo>
                  <a:pt x="60" y="44"/>
                </a:lnTo>
                <a:lnTo>
                  <a:pt x="58" y="42"/>
                </a:lnTo>
                <a:lnTo>
                  <a:pt x="54" y="40"/>
                </a:lnTo>
                <a:lnTo>
                  <a:pt x="54" y="40"/>
                </a:lnTo>
                <a:lnTo>
                  <a:pt x="54" y="38"/>
                </a:lnTo>
                <a:lnTo>
                  <a:pt x="56" y="38"/>
                </a:lnTo>
                <a:lnTo>
                  <a:pt x="60" y="38"/>
                </a:lnTo>
                <a:lnTo>
                  <a:pt x="60" y="38"/>
                </a:lnTo>
                <a:lnTo>
                  <a:pt x="60" y="38"/>
                </a:lnTo>
                <a:lnTo>
                  <a:pt x="62" y="36"/>
                </a:lnTo>
                <a:lnTo>
                  <a:pt x="62" y="36"/>
                </a:lnTo>
                <a:lnTo>
                  <a:pt x="62" y="36"/>
                </a:lnTo>
                <a:lnTo>
                  <a:pt x="66" y="38"/>
                </a:lnTo>
                <a:lnTo>
                  <a:pt x="70" y="38"/>
                </a:lnTo>
                <a:lnTo>
                  <a:pt x="70" y="38"/>
                </a:lnTo>
                <a:lnTo>
                  <a:pt x="72" y="38"/>
                </a:lnTo>
                <a:lnTo>
                  <a:pt x="72" y="38"/>
                </a:lnTo>
                <a:lnTo>
                  <a:pt x="72" y="36"/>
                </a:lnTo>
                <a:lnTo>
                  <a:pt x="70" y="34"/>
                </a:lnTo>
                <a:lnTo>
                  <a:pt x="68" y="32"/>
                </a:lnTo>
                <a:lnTo>
                  <a:pt x="68" y="32"/>
                </a:lnTo>
                <a:lnTo>
                  <a:pt x="68" y="30"/>
                </a:lnTo>
                <a:lnTo>
                  <a:pt x="68" y="30"/>
                </a:lnTo>
                <a:lnTo>
                  <a:pt x="64" y="28"/>
                </a:lnTo>
                <a:lnTo>
                  <a:pt x="64" y="28"/>
                </a:lnTo>
                <a:lnTo>
                  <a:pt x="64" y="24"/>
                </a:lnTo>
                <a:lnTo>
                  <a:pt x="62" y="22"/>
                </a:lnTo>
                <a:lnTo>
                  <a:pt x="56" y="20"/>
                </a:lnTo>
                <a:lnTo>
                  <a:pt x="56" y="20"/>
                </a:lnTo>
                <a:lnTo>
                  <a:pt x="56" y="16"/>
                </a:lnTo>
                <a:lnTo>
                  <a:pt x="58" y="14"/>
                </a:lnTo>
                <a:lnTo>
                  <a:pt x="58" y="14"/>
                </a:lnTo>
                <a:lnTo>
                  <a:pt x="62" y="16"/>
                </a:lnTo>
                <a:lnTo>
                  <a:pt x="64" y="18"/>
                </a:lnTo>
                <a:lnTo>
                  <a:pt x="64" y="18"/>
                </a:lnTo>
                <a:lnTo>
                  <a:pt x="68" y="16"/>
                </a:lnTo>
                <a:lnTo>
                  <a:pt x="68" y="16"/>
                </a:lnTo>
                <a:lnTo>
                  <a:pt x="68" y="16"/>
                </a:lnTo>
                <a:lnTo>
                  <a:pt x="66" y="14"/>
                </a:lnTo>
                <a:lnTo>
                  <a:pt x="66" y="14"/>
                </a:lnTo>
                <a:lnTo>
                  <a:pt x="66" y="14"/>
                </a:lnTo>
                <a:lnTo>
                  <a:pt x="66" y="10"/>
                </a:lnTo>
                <a:lnTo>
                  <a:pt x="66" y="10"/>
                </a:lnTo>
                <a:lnTo>
                  <a:pt x="64" y="8"/>
                </a:lnTo>
                <a:lnTo>
                  <a:pt x="62" y="8"/>
                </a:lnTo>
                <a:lnTo>
                  <a:pt x="62" y="6"/>
                </a:lnTo>
                <a:lnTo>
                  <a:pt x="62" y="6"/>
                </a:lnTo>
                <a:lnTo>
                  <a:pt x="66" y="8"/>
                </a:lnTo>
                <a:lnTo>
                  <a:pt x="70" y="10"/>
                </a:lnTo>
                <a:lnTo>
                  <a:pt x="74" y="16"/>
                </a:lnTo>
                <a:lnTo>
                  <a:pt x="74" y="16"/>
                </a:lnTo>
                <a:lnTo>
                  <a:pt x="82" y="18"/>
                </a:lnTo>
                <a:lnTo>
                  <a:pt x="84" y="18"/>
                </a:lnTo>
                <a:lnTo>
                  <a:pt x="88" y="18"/>
                </a:lnTo>
                <a:lnTo>
                  <a:pt x="88" y="18"/>
                </a:lnTo>
                <a:lnTo>
                  <a:pt x="88" y="20"/>
                </a:lnTo>
                <a:lnTo>
                  <a:pt x="88" y="22"/>
                </a:lnTo>
                <a:lnTo>
                  <a:pt x="88" y="22"/>
                </a:lnTo>
                <a:lnTo>
                  <a:pt x="100" y="24"/>
                </a:lnTo>
                <a:lnTo>
                  <a:pt x="100" y="24"/>
                </a:lnTo>
                <a:lnTo>
                  <a:pt x="96" y="20"/>
                </a:lnTo>
                <a:lnTo>
                  <a:pt x="92" y="16"/>
                </a:lnTo>
                <a:lnTo>
                  <a:pt x="92" y="16"/>
                </a:lnTo>
                <a:lnTo>
                  <a:pt x="100" y="16"/>
                </a:lnTo>
                <a:lnTo>
                  <a:pt x="106" y="20"/>
                </a:lnTo>
                <a:lnTo>
                  <a:pt x="106" y="20"/>
                </a:lnTo>
                <a:lnTo>
                  <a:pt x="110" y="18"/>
                </a:lnTo>
                <a:lnTo>
                  <a:pt x="116" y="16"/>
                </a:lnTo>
                <a:lnTo>
                  <a:pt x="116" y="16"/>
                </a:lnTo>
                <a:lnTo>
                  <a:pt x="118" y="12"/>
                </a:lnTo>
                <a:lnTo>
                  <a:pt x="118" y="10"/>
                </a:lnTo>
                <a:lnTo>
                  <a:pt x="118" y="10"/>
                </a:lnTo>
                <a:lnTo>
                  <a:pt x="114" y="10"/>
                </a:lnTo>
                <a:lnTo>
                  <a:pt x="112" y="10"/>
                </a:lnTo>
                <a:lnTo>
                  <a:pt x="110" y="14"/>
                </a:lnTo>
                <a:lnTo>
                  <a:pt x="110" y="14"/>
                </a:lnTo>
                <a:lnTo>
                  <a:pt x="100" y="14"/>
                </a:lnTo>
                <a:lnTo>
                  <a:pt x="100" y="14"/>
                </a:lnTo>
                <a:lnTo>
                  <a:pt x="100" y="10"/>
                </a:lnTo>
                <a:lnTo>
                  <a:pt x="100" y="8"/>
                </a:lnTo>
                <a:lnTo>
                  <a:pt x="102" y="6"/>
                </a:lnTo>
                <a:lnTo>
                  <a:pt x="102" y="2"/>
                </a:lnTo>
                <a:lnTo>
                  <a:pt x="102" y="2"/>
                </a:lnTo>
                <a:lnTo>
                  <a:pt x="104" y="2"/>
                </a:lnTo>
                <a:lnTo>
                  <a:pt x="106" y="4"/>
                </a:lnTo>
                <a:lnTo>
                  <a:pt x="110" y="8"/>
                </a:lnTo>
                <a:lnTo>
                  <a:pt x="110" y="8"/>
                </a:lnTo>
                <a:lnTo>
                  <a:pt x="112" y="6"/>
                </a:lnTo>
                <a:lnTo>
                  <a:pt x="114" y="6"/>
                </a:lnTo>
                <a:lnTo>
                  <a:pt x="114" y="6"/>
                </a:lnTo>
                <a:lnTo>
                  <a:pt x="114" y="4"/>
                </a:lnTo>
                <a:lnTo>
                  <a:pt x="116" y="2"/>
                </a:lnTo>
                <a:lnTo>
                  <a:pt x="118" y="0"/>
                </a:lnTo>
                <a:lnTo>
                  <a:pt x="118" y="0"/>
                </a:lnTo>
                <a:lnTo>
                  <a:pt x="120" y="2"/>
                </a:lnTo>
                <a:lnTo>
                  <a:pt x="120" y="4"/>
                </a:lnTo>
                <a:lnTo>
                  <a:pt x="122" y="6"/>
                </a:lnTo>
                <a:lnTo>
                  <a:pt x="124" y="8"/>
                </a:lnTo>
                <a:lnTo>
                  <a:pt x="124" y="8"/>
                </a:lnTo>
                <a:lnTo>
                  <a:pt x="126" y="6"/>
                </a:lnTo>
                <a:lnTo>
                  <a:pt x="126" y="6"/>
                </a:lnTo>
                <a:lnTo>
                  <a:pt x="128" y="8"/>
                </a:lnTo>
                <a:lnTo>
                  <a:pt x="128" y="8"/>
                </a:lnTo>
                <a:lnTo>
                  <a:pt x="132" y="8"/>
                </a:lnTo>
                <a:lnTo>
                  <a:pt x="134" y="8"/>
                </a:lnTo>
                <a:lnTo>
                  <a:pt x="134" y="10"/>
                </a:lnTo>
                <a:lnTo>
                  <a:pt x="134" y="10"/>
                </a:lnTo>
                <a:lnTo>
                  <a:pt x="132" y="12"/>
                </a:lnTo>
                <a:lnTo>
                  <a:pt x="130" y="14"/>
                </a:lnTo>
                <a:lnTo>
                  <a:pt x="126" y="12"/>
                </a:lnTo>
                <a:lnTo>
                  <a:pt x="126" y="12"/>
                </a:lnTo>
                <a:lnTo>
                  <a:pt x="126" y="12"/>
                </a:lnTo>
                <a:lnTo>
                  <a:pt x="124" y="10"/>
                </a:lnTo>
                <a:lnTo>
                  <a:pt x="122" y="10"/>
                </a:lnTo>
                <a:lnTo>
                  <a:pt x="120" y="10"/>
                </a:lnTo>
                <a:lnTo>
                  <a:pt x="120" y="10"/>
                </a:lnTo>
                <a:lnTo>
                  <a:pt x="120" y="10"/>
                </a:lnTo>
                <a:lnTo>
                  <a:pt x="120" y="12"/>
                </a:lnTo>
                <a:lnTo>
                  <a:pt x="122" y="14"/>
                </a:lnTo>
                <a:lnTo>
                  <a:pt x="122" y="14"/>
                </a:lnTo>
                <a:lnTo>
                  <a:pt x="120" y="18"/>
                </a:lnTo>
                <a:lnTo>
                  <a:pt x="120" y="20"/>
                </a:lnTo>
                <a:lnTo>
                  <a:pt x="120" y="20"/>
                </a:lnTo>
                <a:lnTo>
                  <a:pt x="120" y="22"/>
                </a:lnTo>
                <a:lnTo>
                  <a:pt x="122" y="24"/>
                </a:lnTo>
                <a:lnTo>
                  <a:pt x="126" y="26"/>
                </a:lnTo>
                <a:lnTo>
                  <a:pt x="126" y="26"/>
                </a:lnTo>
                <a:lnTo>
                  <a:pt x="128" y="24"/>
                </a:lnTo>
                <a:lnTo>
                  <a:pt x="128" y="24"/>
                </a:lnTo>
                <a:lnTo>
                  <a:pt x="126" y="20"/>
                </a:lnTo>
                <a:lnTo>
                  <a:pt x="124" y="18"/>
                </a:lnTo>
                <a:lnTo>
                  <a:pt x="124" y="16"/>
                </a:lnTo>
                <a:lnTo>
                  <a:pt x="124" y="16"/>
                </a:lnTo>
                <a:lnTo>
                  <a:pt x="126" y="16"/>
                </a:lnTo>
                <a:lnTo>
                  <a:pt x="128" y="16"/>
                </a:lnTo>
                <a:lnTo>
                  <a:pt x="132" y="20"/>
                </a:lnTo>
                <a:lnTo>
                  <a:pt x="132" y="20"/>
                </a:lnTo>
                <a:lnTo>
                  <a:pt x="136" y="18"/>
                </a:lnTo>
                <a:lnTo>
                  <a:pt x="138" y="14"/>
                </a:lnTo>
                <a:lnTo>
                  <a:pt x="142" y="12"/>
                </a:lnTo>
                <a:lnTo>
                  <a:pt x="144" y="10"/>
                </a:lnTo>
                <a:lnTo>
                  <a:pt x="144" y="10"/>
                </a:lnTo>
                <a:lnTo>
                  <a:pt x="144" y="12"/>
                </a:lnTo>
                <a:lnTo>
                  <a:pt x="144" y="14"/>
                </a:lnTo>
                <a:lnTo>
                  <a:pt x="148" y="16"/>
                </a:lnTo>
                <a:lnTo>
                  <a:pt x="148" y="16"/>
                </a:lnTo>
                <a:lnTo>
                  <a:pt x="148" y="14"/>
                </a:lnTo>
                <a:lnTo>
                  <a:pt x="148" y="12"/>
                </a:lnTo>
                <a:lnTo>
                  <a:pt x="148" y="12"/>
                </a:lnTo>
                <a:lnTo>
                  <a:pt x="148" y="10"/>
                </a:lnTo>
                <a:lnTo>
                  <a:pt x="148" y="10"/>
                </a:lnTo>
                <a:lnTo>
                  <a:pt x="148" y="10"/>
                </a:lnTo>
                <a:lnTo>
                  <a:pt x="150" y="10"/>
                </a:lnTo>
                <a:lnTo>
                  <a:pt x="152" y="14"/>
                </a:lnTo>
                <a:lnTo>
                  <a:pt x="152" y="14"/>
                </a:lnTo>
                <a:close/>
                <a:moveTo>
                  <a:pt x="106" y="22"/>
                </a:moveTo>
                <a:lnTo>
                  <a:pt x="106" y="22"/>
                </a:lnTo>
                <a:lnTo>
                  <a:pt x="108" y="26"/>
                </a:lnTo>
                <a:lnTo>
                  <a:pt x="112" y="28"/>
                </a:lnTo>
                <a:lnTo>
                  <a:pt x="112" y="28"/>
                </a:lnTo>
                <a:lnTo>
                  <a:pt x="114" y="28"/>
                </a:lnTo>
                <a:lnTo>
                  <a:pt x="114" y="28"/>
                </a:lnTo>
                <a:lnTo>
                  <a:pt x="114" y="24"/>
                </a:lnTo>
                <a:lnTo>
                  <a:pt x="112" y="22"/>
                </a:lnTo>
                <a:lnTo>
                  <a:pt x="110" y="20"/>
                </a:lnTo>
                <a:lnTo>
                  <a:pt x="106" y="22"/>
                </a:lnTo>
                <a:lnTo>
                  <a:pt x="106" y="22"/>
                </a:lnTo>
                <a:close/>
                <a:moveTo>
                  <a:pt x="74" y="28"/>
                </a:moveTo>
                <a:lnTo>
                  <a:pt x="74" y="28"/>
                </a:lnTo>
                <a:lnTo>
                  <a:pt x="76" y="30"/>
                </a:lnTo>
                <a:lnTo>
                  <a:pt x="76" y="30"/>
                </a:lnTo>
                <a:lnTo>
                  <a:pt x="80" y="30"/>
                </a:lnTo>
                <a:lnTo>
                  <a:pt x="80" y="30"/>
                </a:lnTo>
                <a:lnTo>
                  <a:pt x="80" y="28"/>
                </a:lnTo>
                <a:lnTo>
                  <a:pt x="80" y="28"/>
                </a:lnTo>
                <a:lnTo>
                  <a:pt x="82" y="28"/>
                </a:lnTo>
                <a:lnTo>
                  <a:pt x="82" y="28"/>
                </a:lnTo>
                <a:lnTo>
                  <a:pt x="78" y="26"/>
                </a:lnTo>
                <a:lnTo>
                  <a:pt x="74" y="24"/>
                </a:lnTo>
                <a:lnTo>
                  <a:pt x="72" y="22"/>
                </a:lnTo>
                <a:lnTo>
                  <a:pt x="68" y="22"/>
                </a:lnTo>
                <a:lnTo>
                  <a:pt x="68" y="22"/>
                </a:lnTo>
                <a:lnTo>
                  <a:pt x="68" y="24"/>
                </a:lnTo>
                <a:lnTo>
                  <a:pt x="70" y="26"/>
                </a:lnTo>
                <a:lnTo>
                  <a:pt x="74" y="28"/>
                </a:lnTo>
                <a:lnTo>
                  <a:pt x="74" y="28"/>
                </a:lnTo>
                <a:close/>
                <a:moveTo>
                  <a:pt x="104" y="30"/>
                </a:moveTo>
                <a:lnTo>
                  <a:pt x="104" y="30"/>
                </a:lnTo>
                <a:lnTo>
                  <a:pt x="100" y="26"/>
                </a:lnTo>
                <a:lnTo>
                  <a:pt x="98" y="24"/>
                </a:lnTo>
                <a:lnTo>
                  <a:pt x="96" y="26"/>
                </a:lnTo>
                <a:lnTo>
                  <a:pt x="96" y="26"/>
                </a:lnTo>
                <a:lnTo>
                  <a:pt x="96" y="28"/>
                </a:lnTo>
                <a:lnTo>
                  <a:pt x="98" y="28"/>
                </a:lnTo>
                <a:lnTo>
                  <a:pt x="102" y="32"/>
                </a:lnTo>
                <a:lnTo>
                  <a:pt x="102" y="32"/>
                </a:lnTo>
                <a:lnTo>
                  <a:pt x="104" y="36"/>
                </a:lnTo>
                <a:lnTo>
                  <a:pt x="106" y="36"/>
                </a:lnTo>
                <a:lnTo>
                  <a:pt x="108" y="36"/>
                </a:lnTo>
                <a:lnTo>
                  <a:pt x="108" y="36"/>
                </a:lnTo>
                <a:lnTo>
                  <a:pt x="108" y="34"/>
                </a:lnTo>
                <a:lnTo>
                  <a:pt x="106" y="32"/>
                </a:lnTo>
                <a:lnTo>
                  <a:pt x="104" y="30"/>
                </a:lnTo>
                <a:lnTo>
                  <a:pt x="104" y="30"/>
                </a:lnTo>
                <a:close/>
                <a:moveTo>
                  <a:pt x="128" y="28"/>
                </a:moveTo>
                <a:lnTo>
                  <a:pt x="128" y="28"/>
                </a:lnTo>
                <a:lnTo>
                  <a:pt x="130" y="30"/>
                </a:lnTo>
                <a:lnTo>
                  <a:pt x="134" y="32"/>
                </a:lnTo>
                <a:lnTo>
                  <a:pt x="134" y="32"/>
                </a:lnTo>
                <a:lnTo>
                  <a:pt x="136" y="30"/>
                </a:lnTo>
                <a:lnTo>
                  <a:pt x="136" y="28"/>
                </a:lnTo>
                <a:lnTo>
                  <a:pt x="136" y="28"/>
                </a:lnTo>
                <a:lnTo>
                  <a:pt x="132" y="26"/>
                </a:lnTo>
                <a:lnTo>
                  <a:pt x="128" y="28"/>
                </a:lnTo>
                <a:lnTo>
                  <a:pt x="128" y="28"/>
                </a:lnTo>
                <a:close/>
                <a:moveTo>
                  <a:pt x="126" y="34"/>
                </a:moveTo>
                <a:lnTo>
                  <a:pt x="126" y="34"/>
                </a:lnTo>
                <a:lnTo>
                  <a:pt x="126" y="32"/>
                </a:lnTo>
                <a:lnTo>
                  <a:pt x="124" y="30"/>
                </a:lnTo>
                <a:lnTo>
                  <a:pt x="124" y="30"/>
                </a:lnTo>
                <a:lnTo>
                  <a:pt x="124" y="34"/>
                </a:lnTo>
                <a:lnTo>
                  <a:pt x="126" y="34"/>
                </a:lnTo>
                <a:lnTo>
                  <a:pt x="126" y="34"/>
                </a:lnTo>
                <a:close/>
                <a:moveTo>
                  <a:pt x="90" y="40"/>
                </a:moveTo>
                <a:lnTo>
                  <a:pt x="90" y="40"/>
                </a:lnTo>
                <a:lnTo>
                  <a:pt x="92" y="42"/>
                </a:lnTo>
                <a:lnTo>
                  <a:pt x="96" y="42"/>
                </a:lnTo>
                <a:lnTo>
                  <a:pt x="98" y="42"/>
                </a:lnTo>
                <a:lnTo>
                  <a:pt x="100" y="40"/>
                </a:lnTo>
                <a:lnTo>
                  <a:pt x="100" y="40"/>
                </a:lnTo>
                <a:lnTo>
                  <a:pt x="98" y="38"/>
                </a:lnTo>
                <a:lnTo>
                  <a:pt x="96" y="38"/>
                </a:lnTo>
                <a:lnTo>
                  <a:pt x="90" y="40"/>
                </a:lnTo>
                <a:lnTo>
                  <a:pt x="90" y="40"/>
                </a:lnTo>
                <a:close/>
                <a:moveTo>
                  <a:pt x="112" y="42"/>
                </a:moveTo>
                <a:lnTo>
                  <a:pt x="112" y="42"/>
                </a:lnTo>
                <a:lnTo>
                  <a:pt x="112" y="38"/>
                </a:lnTo>
                <a:lnTo>
                  <a:pt x="110" y="38"/>
                </a:lnTo>
                <a:lnTo>
                  <a:pt x="108" y="36"/>
                </a:lnTo>
                <a:lnTo>
                  <a:pt x="108" y="36"/>
                </a:lnTo>
                <a:lnTo>
                  <a:pt x="108" y="40"/>
                </a:lnTo>
                <a:lnTo>
                  <a:pt x="112" y="42"/>
                </a:lnTo>
                <a:lnTo>
                  <a:pt x="112" y="42"/>
                </a:lnTo>
                <a:close/>
                <a:moveTo>
                  <a:pt x="84" y="62"/>
                </a:moveTo>
                <a:lnTo>
                  <a:pt x="84" y="62"/>
                </a:lnTo>
                <a:lnTo>
                  <a:pt x="84" y="58"/>
                </a:lnTo>
                <a:lnTo>
                  <a:pt x="82" y="58"/>
                </a:lnTo>
                <a:lnTo>
                  <a:pt x="76" y="56"/>
                </a:lnTo>
                <a:lnTo>
                  <a:pt x="76" y="56"/>
                </a:lnTo>
                <a:lnTo>
                  <a:pt x="76" y="60"/>
                </a:lnTo>
                <a:lnTo>
                  <a:pt x="78" y="62"/>
                </a:lnTo>
                <a:lnTo>
                  <a:pt x="84" y="62"/>
                </a:lnTo>
                <a:lnTo>
                  <a:pt x="84" y="62"/>
                </a:lnTo>
                <a:close/>
                <a:moveTo>
                  <a:pt x="64" y="64"/>
                </a:moveTo>
                <a:lnTo>
                  <a:pt x="64" y="64"/>
                </a:lnTo>
                <a:lnTo>
                  <a:pt x="66" y="62"/>
                </a:lnTo>
                <a:lnTo>
                  <a:pt x="68" y="60"/>
                </a:lnTo>
                <a:lnTo>
                  <a:pt x="68" y="60"/>
                </a:lnTo>
                <a:lnTo>
                  <a:pt x="64" y="58"/>
                </a:lnTo>
                <a:lnTo>
                  <a:pt x="62" y="58"/>
                </a:lnTo>
                <a:lnTo>
                  <a:pt x="62" y="60"/>
                </a:lnTo>
                <a:lnTo>
                  <a:pt x="64" y="64"/>
                </a:lnTo>
                <a:lnTo>
                  <a:pt x="64" y="64"/>
                </a:lnTo>
                <a:close/>
                <a:moveTo>
                  <a:pt x="168" y="64"/>
                </a:moveTo>
                <a:lnTo>
                  <a:pt x="168" y="64"/>
                </a:lnTo>
                <a:lnTo>
                  <a:pt x="170" y="66"/>
                </a:lnTo>
                <a:lnTo>
                  <a:pt x="172" y="64"/>
                </a:lnTo>
                <a:lnTo>
                  <a:pt x="172" y="64"/>
                </a:lnTo>
                <a:lnTo>
                  <a:pt x="172" y="62"/>
                </a:lnTo>
                <a:lnTo>
                  <a:pt x="172" y="60"/>
                </a:lnTo>
                <a:lnTo>
                  <a:pt x="172" y="60"/>
                </a:lnTo>
                <a:lnTo>
                  <a:pt x="168" y="60"/>
                </a:lnTo>
                <a:lnTo>
                  <a:pt x="168" y="64"/>
                </a:lnTo>
                <a:lnTo>
                  <a:pt x="168" y="64"/>
                </a:lnTo>
                <a:close/>
                <a:moveTo>
                  <a:pt x="150" y="64"/>
                </a:moveTo>
                <a:lnTo>
                  <a:pt x="150" y="64"/>
                </a:lnTo>
                <a:lnTo>
                  <a:pt x="152" y="66"/>
                </a:lnTo>
                <a:lnTo>
                  <a:pt x="154" y="68"/>
                </a:lnTo>
                <a:lnTo>
                  <a:pt x="156" y="72"/>
                </a:lnTo>
                <a:lnTo>
                  <a:pt x="156" y="72"/>
                </a:lnTo>
                <a:lnTo>
                  <a:pt x="158" y="72"/>
                </a:lnTo>
                <a:lnTo>
                  <a:pt x="160" y="68"/>
                </a:lnTo>
                <a:lnTo>
                  <a:pt x="156" y="62"/>
                </a:lnTo>
                <a:lnTo>
                  <a:pt x="156" y="62"/>
                </a:lnTo>
                <a:lnTo>
                  <a:pt x="152" y="62"/>
                </a:lnTo>
                <a:lnTo>
                  <a:pt x="152" y="62"/>
                </a:lnTo>
                <a:lnTo>
                  <a:pt x="150" y="64"/>
                </a:lnTo>
                <a:lnTo>
                  <a:pt x="150" y="64"/>
                </a:lnTo>
                <a:close/>
                <a:moveTo>
                  <a:pt x="104" y="72"/>
                </a:moveTo>
                <a:lnTo>
                  <a:pt x="104" y="72"/>
                </a:lnTo>
                <a:lnTo>
                  <a:pt x="106" y="72"/>
                </a:lnTo>
                <a:lnTo>
                  <a:pt x="108" y="70"/>
                </a:lnTo>
                <a:lnTo>
                  <a:pt x="108" y="66"/>
                </a:lnTo>
                <a:lnTo>
                  <a:pt x="108" y="66"/>
                </a:lnTo>
                <a:lnTo>
                  <a:pt x="104" y="66"/>
                </a:lnTo>
                <a:lnTo>
                  <a:pt x="104" y="68"/>
                </a:lnTo>
                <a:lnTo>
                  <a:pt x="102" y="70"/>
                </a:lnTo>
                <a:lnTo>
                  <a:pt x="104" y="72"/>
                </a:lnTo>
                <a:lnTo>
                  <a:pt x="104" y="72"/>
                </a:lnTo>
                <a:close/>
                <a:moveTo>
                  <a:pt x="174" y="76"/>
                </a:moveTo>
                <a:lnTo>
                  <a:pt x="174" y="76"/>
                </a:lnTo>
                <a:lnTo>
                  <a:pt x="178" y="74"/>
                </a:lnTo>
                <a:lnTo>
                  <a:pt x="178" y="72"/>
                </a:lnTo>
                <a:lnTo>
                  <a:pt x="178" y="70"/>
                </a:lnTo>
                <a:lnTo>
                  <a:pt x="178" y="70"/>
                </a:lnTo>
                <a:lnTo>
                  <a:pt x="174" y="70"/>
                </a:lnTo>
                <a:lnTo>
                  <a:pt x="172" y="72"/>
                </a:lnTo>
                <a:lnTo>
                  <a:pt x="172" y="74"/>
                </a:lnTo>
                <a:lnTo>
                  <a:pt x="174" y="76"/>
                </a:lnTo>
                <a:lnTo>
                  <a:pt x="174" y="76"/>
                </a:lnTo>
                <a:close/>
                <a:moveTo>
                  <a:pt x="90" y="82"/>
                </a:moveTo>
                <a:lnTo>
                  <a:pt x="90" y="82"/>
                </a:lnTo>
                <a:lnTo>
                  <a:pt x="94" y="82"/>
                </a:lnTo>
                <a:lnTo>
                  <a:pt x="94" y="82"/>
                </a:lnTo>
                <a:lnTo>
                  <a:pt x="94" y="78"/>
                </a:lnTo>
                <a:lnTo>
                  <a:pt x="94" y="76"/>
                </a:lnTo>
                <a:lnTo>
                  <a:pt x="92" y="76"/>
                </a:lnTo>
                <a:lnTo>
                  <a:pt x="92" y="76"/>
                </a:lnTo>
                <a:lnTo>
                  <a:pt x="90" y="78"/>
                </a:lnTo>
                <a:lnTo>
                  <a:pt x="90" y="80"/>
                </a:lnTo>
                <a:lnTo>
                  <a:pt x="90" y="82"/>
                </a:lnTo>
                <a:lnTo>
                  <a:pt x="90" y="82"/>
                </a:lnTo>
                <a:close/>
                <a:moveTo>
                  <a:pt x="34" y="84"/>
                </a:moveTo>
                <a:lnTo>
                  <a:pt x="34" y="84"/>
                </a:lnTo>
                <a:lnTo>
                  <a:pt x="34" y="88"/>
                </a:lnTo>
                <a:lnTo>
                  <a:pt x="34" y="88"/>
                </a:lnTo>
                <a:lnTo>
                  <a:pt x="36" y="90"/>
                </a:lnTo>
                <a:lnTo>
                  <a:pt x="40" y="90"/>
                </a:lnTo>
                <a:lnTo>
                  <a:pt x="40" y="90"/>
                </a:lnTo>
                <a:lnTo>
                  <a:pt x="40" y="86"/>
                </a:lnTo>
                <a:lnTo>
                  <a:pt x="40" y="82"/>
                </a:lnTo>
                <a:lnTo>
                  <a:pt x="40" y="82"/>
                </a:lnTo>
                <a:lnTo>
                  <a:pt x="36" y="82"/>
                </a:lnTo>
                <a:lnTo>
                  <a:pt x="34" y="84"/>
                </a:lnTo>
                <a:lnTo>
                  <a:pt x="34" y="84"/>
                </a:lnTo>
                <a:close/>
                <a:moveTo>
                  <a:pt x="120" y="96"/>
                </a:moveTo>
                <a:lnTo>
                  <a:pt x="120" y="96"/>
                </a:lnTo>
                <a:lnTo>
                  <a:pt x="118" y="92"/>
                </a:lnTo>
                <a:lnTo>
                  <a:pt x="118" y="90"/>
                </a:lnTo>
                <a:lnTo>
                  <a:pt x="114" y="86"/>
                </a:lnTo>
                <a:lnTo>
                  <a:pt x="114" y="86"/>
                </a:lnTo>
                <a:lnTo>
                  <a:pt x="112" y="88"/>
                </a:lnTo>
                <a:lnTo>
                  <a:pt x="112" y="92"/>
                </a:lnTo>
                <a:lnTo>
                  <a:pt x="114" y="96"/>
                </a:lnTo>
                <a:lnTo>
                  <a:pt x="120" y="96"/>
                </a:lnTo>
                <a:lnTo>
                  <a:pt x="120" y="96"/>
                </a:lnTo>
                <a:close/>
                <a:moveTo>
                  <a:pt x="150" y="94"/>
                </a:moveTo>
                <a:lnTo>
                  <a:pt x="150" y="94"/>
                </a:lnTo>
                <a:lnTo>
                  <a:pt x="154" y="94"/>
                </a:lnTo>
                <a:lnTo>
                  <a:pt x="154" y="92"/>
                </a:lnTo>
                <a:lnTo>
                  <a:pt x="154" y="92"/>
                </a:lnTo>
                <a:lnTo>
                  <a:pt x="152" y="90"/>
                </a:lnTo>
                <a:lnTo>
                  <a:pt x="150" y="90"/>
                </a:lnTo>
                <a:lnTo>
                  <a:pt x="150" y="90"/>
                </a:lnTo>
                <a:lnTo>
                  <a:pt x="150" y="94"/>
                </a:lnTo>
                <a:lnTo>
                  <a:pt x="150" y="94"/>
                </a:lnTo>
                <a:close/>
                <a:moveTo>
                  <a:pt x="156" y="104"/>
                </a:moveTo>
                <a:lnTo>
                  <a:pt x="156" y="104"/>
                </a:lnTo>
                <a:lnTo>
                  <a:pt x="162" y="104"/>
                </a:lnTo>
                <a:lnTo>
                  <a:pt x="162" y="104"/>
                </a:lnTo>
                <a:lnTo>
                  <a:pt x="160" y="100"/>
                </a:lnTo>
                <a:lnTo>
                  <a:pt x="162" y="98"/>
                </a:lnTo>
                <a:lnTo>
                  <a:pt x="164" y="96"/>
                </a:lnTo>
                <a:lnTo>
                  <a:pt x="166" y="94"/>
                </a:lnTo>
                <a:lnTo>
                  <a:pt x="166" y="94"/>
                </a:lnTo>
                <a:lnTo>
                  <a:pt x="162" y="94"/>
                </a:lnTo>
                <a:lnTo>
                  <a:pt x="158" y="94"/>
                </a:lnTo>
                <a:lnTo>
                  <a:pt x="158" y="94"/>
                </a:lnTo>
                <a:lnTo>
                  <a:pt x="158" y="98"/>
                </a:lnTo>
                <a:lnTo>
                  <a:pt x="156" y="100"/>
                </a:lnTo>
                <a:lnTo>
                  <a:pt x="156" y="100"/>
                </a:lnTo>
                <a:lnTo>
                  <a:pt x="152" y="98"/>
                </a:lnTo>
                <a:lnTo>
                  <a:pt x="150" y="98"/>
                </a:lnTo>
                <a:lnTo>
                  <a:pt x="150" y="100"/>
                </a:lnTo>
                <a:lnTo>
                  <a:pt x="150" y="100"/>
                </a:lnTo>
                <a:lnTo>
                  <a:pt x="156" y="100"/>
                </a:lnTo>
                <a:lnTo>
                  <a:pt x="156" y="102"/>
                </a:lnTo>
                <a:lnTo>
                  <a:pt x="156" y="104"/>
                </a:lnTo>
                <a:lnTo>
                  <a:pt x="156" y="104"/>
                </a:lnTo>
                <a:close/>
                <a:moveTo>
                  <a:pt x="78" y="114"/>
                </a:moveTo>
                <a:lnTo>
                  <a:pt x="78" y="114"/>
                </a:lnTo>
                <a:lnTo>
                  <a:pt x="82" y="114"/>
                </a:lnTo>
                <a:lnTo>
                  <a:pt x="84" y="112"/>
                </a:lnTo>
                <a:lnTo>
                  <a:pt x="84" y="112"/>
                </a:lnTo>
                <a:lnTo>
                  <a:pt x="82" y="108"/>
                </a:lnTo>
                <a:lnTo>
                  <a:pt x="78" y="108"/>
                </a:lnTo>
                <a:lnTo>
                  <a:pt x="78" y="108"/>
                </a:lnTo>
                <a:lnTo>
                  <a:pt x="76" y="110"/>
                </a:lnTo>
                <a:lnTo>
                  <a:pt x="78" y="114"/>
                </a:lnTo>
                <a:lnTo>
                  <a:pt x="78" y="114"/>
                </a:lnTo>
                <a:close/>
                <a:moveTo>
                  <a:pt x="48" y="112"/>
                </a:moveTo>
                <a:lnTo>
                  <a:pt x="48" y="112"/>
                </a:lnTo>
                <a:lnTo>
                  <a:pt x="46" y="110"/>
                </a:lnTo>
                <a:lnTo>
                  <a:pt x="44" y="110"/>
                </a:lnTo>
                <a:lnTo>
                  <a:pt x="38" y="110"/>
                </a:lnTo>
                <a:lnTo>
                  <a:pt x="38" y="110"/>
                </a:lnTo>
                <a:lnTo>
                  <a:pt x="38" y="112"/>
                </a:lnTo>
                <a:lnTo>
                  <a:pt x="42" y="114"/>
                </a:lnTo>
                <a:lnTo>
                  <a:pt x="46" y="114"/>
                </a:lnTo>
                <a:lnTo>
                  <a:pt x="48" y="112"/>
                </a:lnTo>
                <a:lnTo>
                  <a:pt x="48" y="112"/>
                </a:lnTo>
                <a:close/>
                <a:moveTo>
                  <a:pt x="108" y="118"/>
                </a:moveTo>
                <a:lnTo>
                  <a:pt x="108" y="118"/>
                </a:lnTo>
                <a:lnTo>
                  <a:pt x="110" y="120"/>
                </a:lnTo>
                <a:lnTo>
                  <a:pt x="110" y="122"/>
                </a:lnTo>
                <a:lnTo>
                  <a:pt x="112" y="124"/>
                </a:lnTo>
                <a:lnTo>
                  <a:pt x="114" y="124"/>
                </a:lnTo>
                <a:lnTo>
                  <a:pt x="114" y="124"/>
                </a:lnTo>
                <a:lnTo>
                  <a:pt x="112" y="118"/>
                </a:lnTo>
                <a:lnTo>
                  <a:pt x="114" y="112"/>
                </a:lnTo>
                <a:lnTo>
                  <a:pt x="114" y="112"/>
                </a:lnTo>
                <a:lnTo>
                  <a:pt x="110" y="112"/>
                </a:lnTo>
                <a:lnTo>
                  <a:pt x="108" y="112"/>
                </a:lnTo>
                <a:lnTo>
                  <a:pt x="108" y="116"/>
                </a:lnTo>
                <a:lnTo>
                  <a:pt x="108" y="118"/>
                </a:lnTo>
                <a:lnTo>
                  <a:pt x="108" y="118"/>
                </a:lnTo>
                <a:close/>
                <a:moveTo>
                  <a:pt x="56" y="120"/>
                </a:moveTo>
                <a:lnTo>
                  <a:pt x="56" y="120"/>
                </a:lnTo>
                <a:lnTo>
                  <a:pt x="60" y="120"/>
                </a:lnTo>
                <a:lnTo>
                  <a:pt x="60" y="116"/>
                </a:lnTo>
                <a:lnTo>
                  <a:pt x="60" y="114"/>
                </a:lnTo>
                <a:lnTo>
                  <a:pt x="58" y="112"/>
                </a:lnTo>
                <a:lnTo>
                  <a:pt x="58" y="112"/>
                </a:lnTo>
                <a:lnTo>
                  <a:pt x="58" y="116"/>
                </a:lnTo>
                <a:lnTo>
                  <a:pt x="56" y="120"/>
                </a:lnTo>
                <a:lnTo>
                  <a:pt x="56" y="120"/>
                </a:lnTo>
                <a:close/>
                <a:moveTo>
                  <a:pt x="66" y="118"/>
                </a:moveTo>
                <a:lnTo>
                  <a:pt x="66" y="118"/>
                </a:lnTo>
                <a:lnTo>
                  <a:pt x="70" y="118"/>
                </a:lnTo>
                <a:lnTo>
                  <a:pt x="74" y="116"/>
                </a:lnTo>
                <a:lnTo>
                  <a:pt x="74" y="116"/>
                </a:lnTo>
                <a:lnTo>
                  <a:pt x="70" y="114"/>
                </a:lnTo>
                <a:lnTo>
                  <a:pt x="66" y="114"/>
                </a:lnTo>
                <a:lnTo>
                  <a:pt x="66" y="114"/>
                </a:lnTo>
                <a:lnTo>
                  <a:pt x="66" y="118"/>
                </a:lnTo>
                <a:lnTo>
                  <a:pt x="66" y="118"/>
                </a:lnTo>
                <a:close/>
                <a:moveTo>
                  <a:pt x="154" y="122"/>
                </a:moveTo>
                <a:lnTo>
                  <a:pt x="154" y="122"/>
                </a:lnTo>
                <a:lnTo>
                  <a:pt x="152" y="122"/>
                </a:lnTo>
                <a:lnTo>
                  <a:pt x="150" y="122"/>
                </a:lnTo>
                <a:lnTo>
                  <a:pt x="150" y="122"/>
                </a:lnTo>
                <a:lnTo>
                  <a:pt x="150" y="126"/>
                </a:lnTo>
                <a:lnTo>
                  <a:pt x="150" y="126"/>
                </a:lnTo>
                <a:lnTo>
                  <a:pt x="152" y="128"/>
                </a:lnTo>
                <a:lnTo>
                  <a:pt x="152" y="126"/>
                </a:lnTo>
                <a:lnTo>
                  <a:pt x="154" y="126"/>
                </a:lnTo>
                <a:lnTo>
                  <a:pt x="156" y="126"/>
                </a:lnTo>
                <a:lnTo>
                  <a:pt x="156" y="126"/>
                </a:lnTo>
                <a:lnTo>
                  <a:pt x="152" y="128"/>
                </a:lnTo>
                <a:lnTo>
                  <a:pt x="152" y="132"/>
                </a:lnTo>
                <a:lnTo>
                  <a:pt x="152" y="132"/>
                </a:lnTo>
                <a:lnTo>
                  <a:pt x="156" y="132"/>
                </a:lnTo>
                <a:lnTo>
                  <a:pt x="156" y="132"/>
                </a:lnTo>
                <a:lnTo>
                  <a:pt x="158" y="128"/>
                </a:lnTo>
                <a:lnTo>
                  <a:pt x="158" y="128"/>
                </a:lnTo>
                <a:lnTo>
                  <a:pt x="160" y="126"/>
                </a:lnTo>
                <a:lnTo>
                  <a:pt x="162" y="124"/>
                </a:lnTo>
                <a:lnTo>
                  <a:pt x="162" y="118"/>
                </a:lnTo>
                <a:lnTo>
                  <a:pt x="162" y="118"/>
                </a:lnTo>
                <a:lnTo>
                  <a:pt x="156" y="120"/>
                </a:lnTo>
                <a:lnTo>
                  <a:pt x="154" y="122"/>
                </a:lnTo>
                <a:lnTo>
                  <a:pt x="154" y="122"/>
                </a:lnTo>
                <a:close/>
                <a:moveTo>
                  <a:pt x="132" y="122"/>
                </a:moveTo>
                <a:lnTo>
                  <a:pt x="132" y="122"/>
                </a:lnTo>
                <a:lnTo>
                  <a:pt x="134" y="124"/>
                </a:lnTo>
                <a:lnTo>
                  <a:pt x="134" y="126"/>
                </a:lnTo>
                <a:lnTo>
                  <a:pt x="134" y="126"/>
                </a:lnTo>
                <a:lnTo>
                  <a:pt x="142" y="128"/>
                </a:lnTo>
                <a:lnTo>
                  <a:pt x="144" y="126"/>
                </a:lnTo>
                <a:lnTo>
                  <a:pt x="144" y="122"/>
                </a:lnTo>
                <a:lnTo>
                  <a:pt x="144" y="122"/>
                </a:lnTo>
                <a:lnTo>
                  <a:pt x="138" y="122"/>
                </a:lnTo>
                <a:lnTo>
                  <a:pt x="132" y="122"/>
                </a:lnTo>
                <a:lnTo>
                  <a:pt x="132" y="122"/>
                </a:lnTo>
                <a:close/>
                <a:moveTo>
                  <a:pt x="72" y="130"/>
                </a:moveTo>
                <a:lnTo>
                  <a:pt x="72" y="130"/>
                </a:lnTo>
                <a:lnTo>
                  <a:pt x="72" y="132"/>
                </a:lnTo>
                <a:lnTo>
                  <a:pt x="72" y="132"/>
                </a:lnTo>
                <a:lnTo>
                  <a:pt x="76" y="132"/>
                </a:lnTo>
                <a:lnTo>
                  <a:pt x="76" y="132"/>
                </a:lnTo>
                <a:lnTo>
                  <a:pt x="76" y="130"/>
                </a:lnTo>
                <a:lnTo>
                  <a:pt x="74" y="128"/>
                </a:lnTo>
                <a:lnTo>
                  <a:pt x="72" y="130"/>
                </a:lnTo>
                <a:lnTo>
                  <a:pt x="72" y="130"/>
                </a:lnTo>
                <a:close/>
                <a:moveTo>
                  <a:pt x="52" y="134"/>
                </a:moveTo>
                <a:lnTo>
                  <a:pt x="52" y="134"/>
                </a:lnTo>
                <a:lnTo>
                  <a:pt x="52" y="136"/>
                </a:lnTo>
                <a:lnTo>
                  <a:pt x="56" y="136"/>
                </a:lnTo>
                <a:lnTo>
                  <a:pt x="58" y="134"/>
                </a:lnTo>
                <a:lnTo>
                  <a:pt x="58" y="132"/>
                </a:lnTo>
                <a:lnTo>
                  <a:pt x="58" y="132"/>
                </a:lnTo>
                <a:lnTo>
                  <a:pt x="54" y="132"/>
                </a:lnTo>
                <a:lnTo>
                  <a:pt x="52" y="134"/>
                </a:lnTo>
                <a:lnTo>
                  <a:pt x="52" y="134"/>
                </a:lnTo>
                <a:close/>
                <a:moveTo>
                  <a:pt x="160" y="138"/>
                </a:moveTo>
                <a:lnTo>
                  <a:pt x="160" y="138"/>
                </a:lnTo>
                <a:lnTo>
                  <a:pt x="162" y="142"/>
                </a:lnTo>
                <a:lnTo>
                  <a:pt x="162" y="142"/>
                </a:lnTo>
                <a:lnTo>
                  <a:pt x="164" y="142"/>
                </a:lnTo>
                <a:lnTo>
                  <a:pt x="166" y="138"/>
                </a:lnTo>
                <a:lnTo>
                  <a:pt x="166" y="138"/>
                </a:lnTo>
                <a:lnTo>
                  <a:pt x="160" y="138"/>
                </a:lnTo>
                <a:lnTo>
                  <a:pt x="160" y="138"/>
                </a:lnTo>
                <a:close/>
                <a:moveTo>
                  <a:pt x="28" y="142"/>
                </a:moveTo>
                <a:lnTo>
                  <a:pt x="28" y="142"/>
                </a:lnTo>
                <a:lnTo>
                  <a:pt x="30" y="144"/>
                </a:lnTo>
                <a:lnTo>
                  <a:pt x="32" y="142"/>
                </a:lnTo>
                <a:lnTo>
                  <a:pt x="36" y="142"/>
                </a:lnTo>
                <a:lnTo>
                  <a:pt x="36" y="142"/>
                </a:lnTo>
                <a:lnTo>
                  <a:pt x="34" y="138"/>
                </a:lnTo>
                <a:lnTo>
                  <a:pt x="32" y="138"/>
                </a:lnTo>
                <a:lnTo>
                  <a:pt x="28" y="140"/>
                </a:lnTo>
                <a:lnTo>
                  <a:pt x="28" y="142"/>
                </a:lnTo>
                <a:lnTo>
                  <a:pt x="28" y="142"/>
                </a:lnTo>
                <a:close/>
                <a:moveTo>
                  <a:pt x="126" y="146"/>
                </a:moveTo>
                <a:lnTo>
                  <a:pt x="126" y="146"/>
                </a:lnTo>
                <a:lnTo>
                  <a:pt x="124" y="144"/>
                </a:lnTo>
                <a:lnTo>
                  <a:pt x="124" y="144"/>
                </a:lnTo>
                <a:lnTo>
                  <a:pt x="120" y="144"/>
                </a:lnTo>
                <a:lnTo>
                  <a:pt x="120" y="144"/>
                </a:lnTo>
                <a:lnTo>
                  <a:pt x="120" y="148"/>
                </a:lnTo>
                <a:lnTo>
                  <a:pt x="122" y="150"/>
                </a:lnTo>
                <a:lnTo>
                  <a:pt x="124" y="148"/>
                </a:lnTo>
                <a:lnTo>
                  <a:pt x="126" y="146"/>
                </a:lnTo>
                <a:lnTo>
                  <a:pt x="126" y="146"/>
                </a:lnTo>
                <a:close/>
                <a:moveTo>
                  <a:pt x="130" y="152"/>
                </a:moveTo>
                <a:lnTo>
                  <a:pt x="130" y="152"/>
                </a:lnTo>
                <a:lnTo>
                  <a:pt x="132" y="152"/>
                </a:lnTo>
                <a:lnTo>
                  <a:pt x="132" y="152"/>
                </a:lnTo>
                <a:lnTo>
                  <a:pt x="132" y="152"/>
                </a:lnTo>
                <a:lnTo>
                  <a:pt x="134" y="150"/>
                </a:lnTo>
                <a:lnTo>
                  <a:pt x="136" y="148"/>
                </a:lnTo>
                <a:lnTo>
                  <a:pt x="136" y="148"/>
                </a:lnTo>
                <a:lnTo>
                  <a:pt x="134" y="146"/>
                </a:lnTo>
                <a:lnTo>
                  <a:pt x="132" y="146"/>
                </a:lnTo>
                <a:lnTo>
                  <a:pt x="130" y="148"/>
                </a:lnTo>
                <a:lnTo>
                  <a:pt x="130" y="152"/>
                </a:lnTo>
                <a:lnTo>
                  <a:pt x="130" y="152"/>
                </a:lnTo>
                <a:close/>
                <a:moveTo>
                  <a:pt x="72" y="152"/>
                </a:moveTo>
                <a:lnTo>
                  <a:pt x="72" y="152"/>
                </a:lnTo>
                <a:lnTo>
                  <a:pt x="74" y="154"/>
                </a:lnTo>
                <a:lnTo>
                  <a:pt x="78" y="152"/>
                </a:lnTo>
                <a:lnTo>
                  <a:pt x="84" y="150"/>
                </a:lnTo>
                <a:lnTo>
                  <a:pt x="84" y="150"/>
                </a:lnTo>
                <a:lnTo>
                  <a:pt x="84" y="148"/>
                </a:lnTo>
                <a:lnTo>
                  <a:pt x="82" y="148"/>
                </a:lnTo>
                <a:lnTo>
                  <a:pt x="78" y="148"/>
                </a:lnTo>
                <a:lnTo>
                  <a:pt x="74" y="148"/>
                </a:lnTo>
                <a:lnTo>
                  <a:pt x="72" y="152"/>
                </a:lnTo>
                <a:lnTo>
                  <a:pt x="72" y="152"/>
                </a:lnTo>
                <a:close/>
                <a:moveTo>
                  <a:pt x="142" y="160"/>
                </a:moveTo>
                <a:lnTo>
                  <a:pt x="142" y="160"/>
                </a:lnTo>
                <a:lnTo>
                  <a:pt x="146" y="160"/>
                </a:lnTo>
                <a:lnTo>
                  <a:pt x="148" y="160"/>
                </a:lnTo>
                <a:lnTo>
                  <a:pt x="150" y="160"/>
                </a:lnTo>
                <a:lnTo>
                  <a:pt x="150" y="160"/>
                </a:lnTo>
                <a:lnTo>
                  <a:pt x="150" y="156"/>
                </a:lnTo>
                <a:lnTo>
                  <a:pt x="146" y="154"/>
                </a:lnTo>
                <a:lnTo>
                  <a:pt x="142" y="156"/>
                </a:lnTo>
                <a:lnTo>
                  <a:pt x="142" y="160"/>
                </a:lnTo>
                <a:lnTo>
                  <a:pt x="142" y="160"/>
                </a:lnTo>
                <a:close/>
                <a:moveTo>
                  <a:pt x="190" y="156"/>
                </a:moveTo>
                <a:lnTo>
                  <a:pt x="190" y="156"/>
                </a:lnTo>
                <a:lnTo>
                  <a:pt x="184" y="156"/>
                </a:lnTo>
                <a:lnTo>
                  <a:pt x="184" y="156"/>
                </a:lnTo>
                <a:lnTo>
                  <a:pt x="184" y="158"/>
                </a:lnTo>
                <a:lnTo>
                  <a:pt x="186" y="158"/>
                </a:lnTo>
                <a:lnTo>
                  <a:pt x="188" y="158"/>
                </a:lnTo>
                <a:lnTo>
                  <a:pt x="190" y="156"/>
                </a:lnTo>
                <a:lnTo>
                  <a:pt x="190" y="156"/>
                </a:lnTo>
                <a:close/>
                <a:moveTo>
                  <a:pt x="166" y="166"/>
                </a:moveTo>
                <a:lnTo>
                  <a:pt x="166" y="166"/>
                </a:lnTo>
                <a:lnTo>
                  <a:pt x="162" y="158"/>
                </a:lnTo>
                <a:lnTo>
                  <a:pt x="162" y="158"/>
                </a:lnTo>
                <a:lnTo>
                  <a:pt x="158" y="158"/>
                </a:lnTo>
                <a:lnTo>
                  <a:pt x="158" y="158"/>
                </a:lnTo>
                <a:lnTo>
                  <a:pt x="160" y="164"/>
                </a:lnTo>
                <a:lnTo>
                  <a:pt x="162" y="168"/>
                </a:lnTo>
                <a:lnTo>
                  <a:pt x="166" y="166"/>
                </a:lnTo>
                <a:lnTo>
                  <a:pt x="166" y="166"/>
                </a:lnTo>
                <a:close/>
                <a:moveTo>
                  <a:pt x="178" y="162"/>
                </a:moveTo>
                <a:lnTo>
                  <a:pt x="178" y="162"/>
                </a:lnTo>
                <a:lnTo>
                  <a:pt x="178" y="162"/>
                </a:lnTo>
                <a:lnTo>
                  <a:pt x="176" y="162"/>
                </a:lnTo>
                <a:lnTo>
                  <a:pt x="172" y="160"/>
                </a:lnTo>
                <a:lnTo>
                  <a:pt x="172" y="160"/>
                </a:lnTo>
                <a:lnTo>
                  <a:pt x="172" y="164"/>
                </a:lnTo>
                <a:lnTo>
                  <a:pt x="174" y="166"/>
                </a:lnTo>
                <a:lnTo>
                  <a:pt x="178" y="166"/>
                </a:lnTo>
                <a:lnTo>
                  <a:pt x="178" y="162"/>
                </a:lnTo>
                <a:lnTo>
                  <a:pt x="178" y="162"/>
                </a:lnTo>
                <a:close/>
                <a:moveTo>
                  <a:pt x="78" y="166"/>
                </a:moveTo>
                <a:lnTo>
                  <a:pt x="78" y="166"/>
                </a:lnTo>
                <a:lnTo>
                  <a:pt x="76" y="164"/>
                </a:lnTo>
                <a:lnTo>
                  <a:pt x="74" y="162"/>
                </a:lnTo>
                <a:lnTo>
                  <a:pt x="74" y="162"/>
                </a:lnTo>
                <a:lnTo>
                  <a:pt x="74" y="166"/>
                </a:lnTo>
                <a:lnTo>
                  <a:pt x="74" y="166"/>
                </a:lnTo>
                <a:lnTo>
                  <a:pt x="78" y="166"/>
                </a:lnTo>
                <a:lnTo>
                  <a:pt x="78" y="166"/>
                </a:lnTo>
                <a:close/>
              </a:path>
            </a:pathLst>
          </a:custGeom>
          <a:solidFill>
            <a:srgbClr val="968C6D"/>
          </a:solidFill>
          <a:ln>
            <a:noFill/>
          </a:ln>
        </p:spPr>
        <p:txBody>
          <a:bodyPr vert="horz" wrap="square" lIns="80147" tIns="40074" rIns="80147" bIns="40074" numCol="1" anchor="t" anchorCtr="0" compatLnSpc="1">
            <a:prstTxWarp prst="textNoShape">
              <a:avLst/>
            </a:prstTxWarp>
          </a:bodyPr>
          <a:lstStyle/>
          <a:p>
            <a:endParaRPr lang="en-GB"/>
          </a:p>
        </p:txBody>
      </p:sp>
      <p:sp>
        <p:nvSpPr>
          <p:cNvPr id="20" name="Freeform 783">
            <a:extLst>
              <a:ext uri="{FF2B5EF4-FFF2-40B4-BE49-F238E27FC236}">
                <a16:creationId xmlns:a16="http://schemas.microsoft.com/office/drawing/2014/main" id="{F3E1533A-686A-4667-95F7-A70E1CA16180}"/>
              </a:ext>
            </a:extLst>
          </p:cNvPr>
          <p:cNvSpPr>
            <a:spLocks noEditPoints="1"/>
          </p:cNvSpPr>
          <p:nvPr/>
        </p:nvSpPr>
        <p:spPr bwMode="auto">
          <a:xfrm>
            <a:off x="4568740" y="4171413"/>
            <a:ext cx="1108341" cy="1283443"/>
          </a:xfrm>
          <a:custGeom>
            <a:avLst/>
            <a:gdLst>
              <a:gd name="T0" fmla="*/ 144 w 218"/>
              <a:gd name="T1" fmla="*/ 22 h 238"/>
              <a:gd name="T2" fmla="*/ 124 w 218"/>
              <a:gd name="T3" fmla="*/ 40 h 238"/>
              <a:gd name="T4" fmla="*/ 146 w 218"/>
              <a:gd name="T5" fmla="*/ 36 h 238"/>
              <a:gd name="T6" fmla="*/ 164 w 218"/>
              <a:gd name="T7" fmla="*/ 36 h 238"/>
              <a:gd name="T8" fmla="*/ 152 w 218"/>
              <a:gd name="T9" fmla="*/ 54 h 238"/>
              <a:gd name="T10" fmla="*/ 186 w 218"/>
              <a:gd name="T11" fmla="*/ 42 h 238"/>
              <a:gd name="T12" fmla="*/ 186 w 218"/>
              <a:gd name="T13" fmla="*/ 66 h 238"/>
              <a:gd name="T14" fmla="*/ 194 w 218"/>
              <a:gd name="T15" fmla="*/ 76 h 238"/>
              <a:gd name="T16" fmla="*/ 204 w 218"/>
              <a:gd name="T17" fmla="*/ 108 h 238"/>
              <a:gd name="T18" fmla="*/ 218 w 218"/>
              <a:gd name="T19" fmla="*/ 126 h 238"/>
              <a:gd name="T20" fmla="*/ 204 w 218"/>
              <a:gd name="T21" fmla="*/ 146 h 238"/>
              <a:gd name="T22" fmla="*/ 196 w 218"/>
              <a:gd name="T23" fmla="*/ 154 h 238"/>
              <a:gd name="T24" fmla="*/ 160 w 218"/>
              <a:gd name="T25" fmla="*/ 174 h 238"/>
              <a:gd name="T26" fmla="*/ 154 w 218"/>
              <a:gd name="T27" fmla="*/ 180 h 238"/>
              <a:gd name="T28" fmla="*/ 130 w 218"/>
              <a:gd name="T29" fmla="*/ 176 h 238"/>
              <a:gd name="T30" fmla="*/ 112 w 218"/>
              <a:gd name="T31" fmla="*/ 204 h 238"/>
              <a:gd name="T32" fmla="*/ 48 w 218"/>
              <a:gd name="T33" fmla="*/ 238 h 238"/>
              <a:gd name="T34" fmla="*/ 100 w 218"/>
              <a:gd name="T35" fmla="*/ 184 h 238"/>
              <a:gd name="T36" fmla="*/ 60 w 218"/>
              <a:gd name="T37" fmla="*/ 182 h 238"/>
              <a:gd name="T38" fmla="*/ 56 w 218"/>
              <a:gd name="T39" fmla="*/ 156 h 238"/>
              <a:gd name="T40" fmla="*/ 48 w 218"/>
              <a:gd name="T41" fmla="*/ 160 h 238"/>
              <a:gd name="T42" fmla="*/ 4 w 218"/>
              <a:gd name="T43" fmla="*/ 154 h 238"/>
              <a:gd name="T44" fmla="*/ 16 w 218"/>
              <a:gd name="T45" fmla="*/ 134 h 238"/>
              <a:gd name="T46" fmla="*/ 20 w 218"/>
              <a:gd name="T47" fmla="*/ 124 h 238"/>
              <a:gd name="T48" fmla="*/ 50 w 218"/>
              <a:gd name="T49" fmla="*/ 122 h 238"/>
              <a:gd name="T50" fmla="*/ 18 w 218"/>
              <a:gd name="T51" fmla="*/ 114 h 238"/>
              <a:gd name="T52" fmla="*/ 40 w 218"/>
              <a:gd name="T53" fmla="*/ 102 h 238"/>
              <a:gd name="T54" fmla="*/ 20 w 218"/>
              <a:gd name="T55" fmla="*/ 94 h 238"/>
              <a:gd name="T56" fmla="*/ 48 w 218"/>
              <a:gd name="T57" fmla="*/ 74 h 238"/>
              <a:gd name="T58" fmla="*/ 54 w 218"/>
              <a:gd name="T59" fmla="*/ 40 h 238"/>
              <a:gd name="T60" fmla="*/ 68 w 218"/>
              <a:gd name="T61" fmla="*/ 30 h 238"/>
              <a:gd name="T62" fmla="*/ 66 w 218"/>
              <a:gd name="T63" fmla="*/ 14 h 238"/>
              <a:gd name="T64" fmla="*/ 100 w 218"/>
              <a:gd name="T65" fmla="*/ 24 h 238"/>
              <a:gd name="T66" fmla="*/ 100 w 218"/>
              <a:gd name="T67" fmla="*/ 10 h 238"/>
              <a:gd name="T68" fmla="*/ 124 w 218"/>
              <a:gd name="T69" fmla="*/ 8 h 238"/>
              <a:gd name="T70" fmla="*/ 120 w 218"/>
              <a:gd name="T71" fmla="*/ 10 h 238"/>
              <a:gd name="T72" fmla="*/ 132 w 218"/>
              <a:gd name="T73" fmla="*/ 20 h 238"/>
              <a:gd name="T74" fmla="*/ 152 w 218"/>
              <a:gd name="T75" fmla="*/ 14 h 238"/>
              <a:gd name="T76" fmla="*/ 80 w 218"/>
              <a:gd name="T77" fmla="*/ 28 h 238"/>
              <a:gd name="T78" fmla="*/ 96 w 218"/>
              <a:gd name="T79" fmla="*/ 28 h 238"/>
              <a:gd name="T80" fmla="*/ 136 w 218"/>
              <a:gd name="T81" fmla="*/ 28 h 238"/>
              <a:gd name="T82" fmla="*/ 98 w 218"/>
              <a:gd name="T83" fmla="*/ 38 h 238"/>
              <a:gd name="T84" fmla="*/ 76 w 218"/>
              <a:gd name="T85" fmla="*/ 60 h 238"/>
              <a:gd name="T86" fmla="*/ 172 w 218"/>
              <a:gd name="T87" fmla="*/ 62 h 238"/>
              <a:gd name="T88" fmla="*/ 150 w 218"/>
              <a:gd name="T89" fmla="*/ 64 h 238"/>
              <a:gd name="T90" fmla="*/ 172 w 218"/>
              <a:gd name="T91" fmla="*/ 72 h 238"/>
              <a:gd name="T92" fmla="*/ 34 w 218"/>
              <a:gd name="T93" fmla="*/ 88 h 238"/>
              <a:gd name="T94" fmla="*/ 120 w 218"/>
              <a:gd name="T95" fmla="*/ 96 h 238"/>
              <a:gd name="T96" fmla="*/ 166 w 218"/>
              <a:gd name="T97" fmla="*/ 94 h 238"/>
              <a:gd name="T98" fmla="*/ 84 w 218"/>
              <a:gd name="T99" fmla="*/ 112 h 238"/>
              <a:gd name="T100" fmla="*/ 108 w 218"/>
              <a:gd name="T101" fmla="*/ 118 h 238"/>
              <a:gd name="T102" fmla="*/ 60 w 218"/>
              <a:gd name="T103" fmla="*/ 114 h 238"/>
              <a:gd name="T104" fmla="*/ 150 w 218"/>
              <a:gd name="T105" fmla="*/ 122 h 238"/>
              <a:gd name="T106" fmla="*/ 162 w 218"/>
              <a:gd name="T107" fmla="*/ 118 h 238"/>
              <a:gd name="T108" fmla="*/ 72 w 218"/>
              <a:gd name="T109" fmla="*/ 132 h 238"/>
              <a:gd name="T110" fmla="*/ 162 w 218"/>
              <a:gd name="T111" fmla="*/ 142 h 238"/>
              <a:gd name="T112" fmla="*/ 126 w 218"/>
              <a:gd name="T113" fmla="*/ 146 h 238"/>
              <a:gd name="T114" fmla="*/ 132 w 218"/>
              <a:gd name="T115" fmla="*/ 146 h 238"/>
              <a:gd name="T116" fmla="*/ 148 w 218"/>
              <a:gd name="T117" fmla="*/ 160 h 238"/>
              <a:gd name="T118" fmla="*/ 162 w 218"/>
              <a:gd name="T119" fmla="*/ 158 h 238"/>
              <a:gd name="T120" fmla="*/ 78 w 218"/>
              <a:gd name="T121" fmla="*/ 16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238">
                <a:moveTo>
                  <a:pt x="152" y="14"/>
                </a:moveTo>
                <a:lnTo>
                  <a:pt x="152" y="14"/>
                </a:lnTo>
                <a:lnTo>
                  <a:pt x="152" y="16"/>
                </a:lnTo>
                <a:lnTo>
                  <a:pt x="150" y="16"/>
                </a:lnTo>
                <a:lnTo>
                  <a:pt x="148" y="16"/>
                </a:lnTo>
                <a:lnTo>
                  <a:pt x="148" y="16"/>
                </a:lnTo>
                <a:lnTo>
                  <a:pt x="148" y="16"/>
                </a:lnTo>
                <a:lnTo>
                  <a:pt x="148" y="18"/>
                </a:lnTo>
                <a:lnTo>
                  <a:pt x="150" y="20"/>
                </a:lnTo>
                <a:lnTo>
                  <a:pt x="156" y="24"/>
                </a:lnTo>
                <a:lnTo>
                  <a:pt x="156" y="24"/>
                </a:lnTo>
                <a:lnTo>
                  <a:pt x="156" y="26"/>
                </a:lnTo>
                <a:lnTo>
                  <a:pt x="154" y="28"/>
                </a:lnTo>
                <a:lnTo>
                  <a:pt x="154" y="28"/>
                </a:lnTo>
                <a:lnTo>
                  <a:pt x="150" y="26"/>
                </a:lnTo>
                <a:lnTo>
                  <a:pt x="150" y="24"/>
                </a:lnTo>
                <a:lnTo>
                  <a:pt x="148" y="22"/>
                </a:lnTo>
                <a:lnTo>
                  <a:pt x="144" y="22"/>
                </a:lnTo>
                <a:lnTo>
                  <a:pt x="144" y="22"/>
                </a:lnTo>
                <a:lnTo>
                  <a:pt x="144" y="20"/>
                </a:lnTo>
                <a:lnTo>
                  <a:pt x="142" y="18"/>
                </a:lnTo>
                <a:lnTo>
                  <a:pt x="142" y="18"/>
                </a:lnTo>
                <a:lnTo>
                  <a:pt x="140" y="18"/>
                </a:lnTo>
                <a:lnTo>
                  <a:pt x="138" y="20"/>
                </a:lnTo>
                <a:lnTo>
                  <a:pt x="138" y="24"/>
                </a:lnTo>
                <a:lnTo>
                  <a:pt x="138" y="24"/>
                </a:lnTo>
                <a:lnTo>
                  <a:pt x="142" y="28"/>
                </a:lnTo>
                <a:lnTo>
                  <a:pt x="148" y="30"/>
                </a:lnTo>
                <a:lnTo>
                  <a:pt x="148" y="30"/>
                </a:lnTo>
                <a:lnTo>
                  <a:pt x="146" y="32"/>
                </a:lnTo>
                <a:lnTo>
                  <a:pt x="146" y="32"/>
                </a:lnTo>
                <a:lnTo>
                  <a:pt x="140" y="32"/>
                </a:lnTo>
                <a:lnTo>
                  <a:pt x="140" y="32"/>
                </a:lnTo>
                <a:lnTo>
                  <a:pt x="138" y="36"/>
                </a:lnTo>
                <a:lnTo>
                  <a:pt x="136" y="38"/>
                </a:lnTo>
                <a:lnTo>
                  <a:pt x="136" y="38"/>
                </a:lnTo>
                <a:lnTo>
                  <a:pt x="128" y="40"/>
                </a:lnTo>
                <a:lnTo>
                  <a:pt x="124" y="40"/>
                </a:lnTo>
                <a:lnTo>
                  <a:pt x="120" y="38"/>
                </a:lnTo>
                <a:lnTo>
                  <a:pt x="120" y="38"/>
                </a:lnTo>
                <a:lnTo>
                  <a:pt x="118" y="40"/>
                </a:lnTo>
                <a:lnTo>
                  <a:pt x="118" y="42"/>
                </a:lnTo>
                <a:lnTo>
                  <a:pt x="120" y="42"/>
                </a:lnTo>
                <a:lnTo>
                  <a:pt x="124" y="42"/>
                </a:lnTo>
                <a:lnTo>
                  <a:pt x="124" y="42"/>
                </a:lnTo>
                <a:lnTo>
                  <a:pt x="124" y="46"/>
                </a:lnTo>
                <a:lnTo>
                  <a:pt x="126" y="48"/>
                </a:lnTo>
                <a:lnTo>
                  <a:pt x="126" y="48"/>
                </a:lnTo>
                <a:lnTo>
                  <a:pt x="130" y="46"/>
                </a:lnTo>
                <a:lnTo>
                  <a:pt x="130" y="42"/>
                </a:lnTo>
                <a:lnTo>
                  <a:pt x="130" y="42"/>
                </a:lnTo>
                <a:lnTo>
                  <a:pt x="134" y="44"/>
                </a:lnTo>
                <a:lnTo>
                  <a:pt x="138" y="42"/>
                </a:lnTo>
                <a:lnTo>
                  <a:pt x="146" y="40"/>
                </a:lnTo>
                <a:lnTo>
                  <a:pt x="146" y="40"/>
                </a:lnTo>
                <a:lnTo>
                  <a:pt x="146" y="38"/>
                </a:lnTo>
                <a:lnTo>
                  <a:pt x="146" y="36"/>
                </a:lnTo>
                <a:lnTo>
                  <a:pt x="146" y="36"/>
                </a:lnTo>
                <a:lnTo>
                  <a:pt x="148" y="34"/>
                </a:lnTo>
                <a:lnTo>
                  <a:pt x="148" y="32"/>
                </a:lnTo>
                <a:lnTo>
                  <a:pt x="148" y="32"/>
                </a:lnTo>
                <a:lnTo>
                  <a:pt x="152" y="32"/>
                </a:lnTo>
                <a:lnTo>
                  <a:pt x="154" y="30"/>
                </a:lnTo>
                <a:lnTo>
                  <a:pt x="156" y="30"/>
                </a:lnTo>
                <a:lnTo>
                  <a:pt x="158" y="30"/>
                </a:lnTo>
                <a:lnTo>
                  <a:pt x="158" y="30"/>
                </a:lnTo>
                <a:lnTo>
                  <a:pt x="160" y="28"/>
                </a:lnTo>
                <a:lnTo>
                  <a:pt x="162" y="26"/>
                </a:lnTo>
                <a:lnTo>
                  <a:pt x="162" y="26"/>
                </a:lnTo>
                <a:lnTo>
                  <a:pt x="166" y="28"/>
                </a:lnTo>
                <a:lnTo>
                  <a:pt x="168" y="30"/>
                </a:lnTo>
                <a:lnTo>
                  <a:pt x="168" y="30"/>
                </a:lnTo>
                <a:lnTo>
                  <a:pt x="168" y="32"/>
                </a:lnTo>
                <a:lnTo>
                  <a:pt x="166" y="34"/>
                </a:lnTo>
                <a:lnTo>
                  <a:pt x="164" y="36"/>
                </a:lnTo>
                <a:lnTo>
                  <a:pt x="164" y="36"/>
                </a:lnTo>
                <a:lnTo>
                  <a:pt x="164" y="38"/>
                </a:lnTo>
                <a:lnTo>
                  <a:pt x="164" y="38"/>
                </a:lnTo>
                <a:lnTo>
                  <a:pt x="166" y="40"/>
                </a:lnTo>
                <a:lnTo>
                  <a:pt x="166" y="42"/>
                </a:lnTo>
                <a:lnTo>
                  <a:pt x="166" y="42"/>
                </a:lnTo>
                <a:lnTo>
                  <a:pt x="164" y="44"/>
                </a:lnTo>
                <a:lnTo>
                  <a:pt x="162" y="46"/>
                </a:lnTo>
                <a:lnTo>
                  <a:pt x="162" y="46"/>
                </a:lnTo>
                <a:lnTo>
                  <a:pt x="160" y="46"/>
                </a:lnTo>
                <a:lnTo>
                  <a:pt x="160" y="44"/>
                </a:lnTo>
                <a:lnTo>
                  <a:pt x="158" y="44"/>
                </a:lnTo>
                <a:lnTo>
                  <a:pt x="158" y="44"/>
                </a:lnTo>
                <a:lnTo>
                  <a:pt x="158" y="44"/>
                </a:lnTo>
                <a:lnTo>
                  <a:pt x="156" y="46"/>
                </a:lnTo>
                <a:lnTo>
                  <a:pt x="156" y="48"/>
                </a:lnTo>
                <a:lnTo>
                  <a:pt x="158" y="50"/>
                </a:lnTo>
                <a:lnTo>
                  <a:pt x="158" y="52"/>
                </a:lnTo>
                <a:lnTo>
                  <a:pt x="158" y="52"/>
                </a:lnTo>
                <a:lnTo>
                  <a:pt x="152" y="54"/>
                </a:lnTo>
                <a:lnTo>
                  <a:pt x="152" y="54"/>
                </a:lnTo>
                <a:lnTo>
                  <a:pt x="154" y="58"/>
                </a:lnTo>
                <a:lnTo>
                  <a:pt x="158" y="60"/>
                </a:lnTo>
                <a:lnTo>
                  <a:pt x="162" y="60"/>
                </a:lnTo>
                <a:lnTo>
                  <a:pt x="166" y="58"/>
                </a:lnTo>
                <a:lnTo>
                  <a:pt x="166" y="58"/>
                </a:lnTo>
                <a:lnTo>
                  <a:pt x="164" y="56"/>
                </a:lnTo>
                <a:lnTo>
                  <a:pt x="162" y="54"/>
                </a:lnTo>
                <a:lnTo>
                  <a:pt x="162" y="54"/>
                </a:lnTo>
                <a:lnTo>
                  <a:pt x="164" y="50"/>
                </a:lnTo>
                <a:lnTo>
                  <a:pt x="166" y="48"/>
                </a:lnTo>
                <a:lnTo>
                  <a:pt x="174" y="44"/>
                </a:lnTo>
                <a:lnTo>
                  <a:pt x="174" y="44"/>
                </a:lnTo>
                <a:lnTo>
                  <a:pt x="174" y="44"/>
                </a:lnTo>
                <a:lnTo>
                  <a:pt x="174" y="40"/>
                </a:lnTo>
                <a:lnTo>
                  <a:pt x="174" y="40"/>
                </a:lnTo>
                <a:lnTo>
                  <a:pt x="180" y="42"/>
                </a:lnTo>
                <a:lnTo>
                  <a:pt x="184" y="42"/>
                </a:lnTo>
                <a:lnTo>
                  <a:pt x="186" y="42"/>
                </a:lnTo>
                <a:lnTo>
                  <a:pt x="186" y="42"/>
                </a:lnTo>
                <a:lnTo>
                  <a:pt x="186" y="44"/>
                </a:lnTo>
                <a:lnTo>
                  <a:pt x="182" y="46"/>
                </a:lnTo>
                <a:lnTo>
                  <a:pt x="180" y="46"/>
                </a:lnTo>
                <a:lnTo>
                  <a:pt x="176" y="46"/>
                </a:lnTo>
                <a:lnTo>
                  <a:pt x="176" y="46"/>
                </a:lnTo>
                <a:lnTo>
                  <a:pt x="174" y="48"/>
                </a:lnTo>
                <a:lnTo>
                  <a:pt x="176" y="50"/>
                </a:lnTo>
                <a:lnTo>
                  <a:pt x="178" y="54"/>
                </a:lnTo>
                <a:lnTo>
                  <a:pt x="178" y="54"/>
                </a:lnTo>
                <a:lnTo>
                  <a:pt x="180" y="54"/>
                </a:lnTo>
                <a:lnTo>
                  <a:pt x="182" y="52"/>
                </a:lnTo>
                <a:lnTo>
                  <a:pt x="184" y="50"/>
                </a:lnTo>
                <a:lnTo>
                  <a:pt x="186" y="50"/>
                </a:lnTo>
                <a:lnTo>
                  <a:pt x="186" y="50"/>
                </a:lnTo>
                <a:lnTo>
                  <a:pt x="186" y="58"/>
                </a:lnTo>
                <a:lnTo>
                  <a:pt x="186" y="62"/>
                </a:lnTo>
                <a:lnTo>
                  <a:pt x="186" y="66"/>
                </a:lnTo>
                <a:lnTo>
                  <a:pt x="186" y="66"/>
                </a:lnTo>
                <a:lnTo>
                  <a:pt x="192" y="64"/>
                </a:lnTo>
                <a:lnTo>
                  <a:pt x="196" y="62"/>
                </a:lnTo>
                <a:lnTo>
                  <a:pt x="196" y="62"/>
                </a:lnTo>
                <a:lnTo>
                  <a:pt x="198" y="58"/>
                </a:lnTo>
                <a:lnTo>
                  <a:pt x="200" y="56"/>
                </a:lnTo>
                <a:lnTo>
                  <a:pt x="202" y="56"/>
                </a:lnTo>
                <a:lnTo>
                  <a:pt x="202" y="56"/>
                </a:lnTo>
                <a:lnTo>
                  <a:pt x="204" y="58"/>
                </a:lnTo>
                <a:lnTo>
                  <a:pt x="202" y="60"/>
                </a:lnTo>
                <a:lnTo>
                  <a:pt x="200" y="62"/>
                </a:lnTo>
                <a:lnTo>
                  <a:pt x="198" y="62"/>
                </a:lnTo>
                <a:lnTo>
                  <a:pt x="198" y="62"/>
                </a:lnTo>
                <a:lnTo>
                  <a:pt x="198" y="66"/>
                </a:lnTo>
                <a:lnTo>
                  <a:pt x="196" y="68"/>
                </a:lnTo>
                <a:lnTo>
                  <a:pt x="192" y="72"/>
                </a:lnTo>
                <a:lnTo>
                  <a:pt x="192" y="72"/>
                </a:lnTo>
                <a:lnTo>
                  <a:pt x="194" y="74"/>
                </a:lnTo>
                <a:lnTo>
                  <a:pt x="194" y="76"/>
                </a:lnTo>
                <a:lnTo>
                  <a:pt x="194" y="76"/>
                </a:lnTo>
                <a:lnTo>
                  <a:pt x="196" y="76"/>
                </a:lnTo>
                <a:lnTo>
                  <a:pt x="200" y="76"/>
                </a:lnTo>
                <a:lnTo>
                  <a:pt x="200" y="76"/>
                </a:lnTo>
                <a:lnTo>
                  <a:pt x="198" y="80"/>
                </a:lnTo>
                <a:lnTo>
                  <a:pt x="196" y="82"/>
                </a:lnTo>
                <a:lnTo>
                  <a:pt x="196" y="84"/>
                </a:lnTo>
                <a:lnTo>
                  <a:pt x="198" y="88"/>
                </a:lnTo>
                <a:lnTo>
                  <a:pt x="198" y="88"/>
                </a:lnTo>
                <a:lnTo>
                  <a:pt x="194" y="92"/>
                </a:lnTo>
                <a:lnTo>
                  <a:pt x="194" y="92"/>
                </a:lnTo>
                <a:lnTo>
                  <a:pt x="196" y="96"/>
                </a:lnTo>
                <a:lnTo>
                  <a:pt x="200" y="98"/>
                </a:lnTo>
                <a:lnTo>
                  <a:pt x="200" y="98"/>
                </a:lnTo>
                <a:lnTo>
                  <a:pt x="202" y="98"/>
                </a:lnTo>
                <a:lnTo>
                  <a:pt x="206" y="96"/>
                </a:lnTo>
                <a:lnTo>
                  <a:pt x="206" y="96"/>
                </a:lnTo>
                <a:lnTo>
                  <a:pt x="200" y="104"/>
                </a:lnTo>
                <a:lnTo>
                  <a:pt x="200" y="104"/>
                </a:lnTo>
                <a:lnTo>
                  <a:pt x="204" y="108"/>
                </a:lnTo>
                <a:lnTo>
                  <a:pt x="206" y="112"/>
                </a:lnTo>
                <a:lnTo>
                  <a:pt x="206" y="112"/>
                </a:lnTo>
                <a:lnTo>
                  <a:pt x="210" y="110"/>
                </a:lnTo>
                <a:lnTo>
                  <a:pt x="212" y="108"/>
                </a:lnTo>
                <a:lnTo>
                  <a:pt x="214" y="110"/>
                </a:lnTo>
                <a:lnTo>
                  <a:pt x="214" y="110"/>
                </a:lnTo>
                <a:lnTo>
                  <a:pt x="214" y="114"/>
                </a:lnTo>
                <a:lnTo>
                  <a:pt x="212" y="114"/>
                </a:lnTo>
                <a:lnTo>
                  <a:pt x="210" y="116"/>
                </a:lnTo>
                <a:lnTo>
                  <a:pt x="210" y="116"/>
                </a:lnTo>
                <a:lnTo>
                  <a:pt x="210" y="116"/>
                </a:lnTo>
                <a:lnTo>
                  <a:pt x="210" y="118"/>
                </a:lnTo>
                <a:lnTo>
                  <a:pt x="212" y="120"/>
                </a:lnTo>
                <a:lnTo>
                  <a:pt x="214" y="122"/>
                </a:lnTo>
                <a:lnTo>
                  <a:pt x="214" y="124"/>
                </a:lnTo>
                <a:lnTo>
                  <a:pt x="214" y="124"/>
                </a:lnTo>
                <a:lnTo>
                  <a:pt x="218" y="124"/>
                </a:lnTo>
                <a:lnTo>
                  <a:pt x="218" y="126"/>
                </a:lnTo>
                <a:lnTo>
                  <a:pt x="218" y="126"/>
                </a:lnTo>
                <a:lnTo>
                  <a:pt x="218" y="128"/>
                </a:lnTo>
                <a:lnTo>
                  <a:pt x="216" y="128"/>
                </a:lnTo>
                <a:lnTo>
                  <a:pt x="214" y="128"/>
                </a:lnTo>
                <a:lnTo>
                  <a:pt x="214" y="128"/>
                </a:lnTo>
                <a:lnTo>
                  <a:pt x="214" y="128"/>
                </a:lnTo>
                <a:lnTo>
                  <a:pt x="212" y="134"/>
                </a:lnTo>
                <a:lnTo>
                  <a:pt x="212" y="138"/>
                </a:lnTo>
                <a:lnTo>
                  <a:pt x="212" y="138"/>
                </a:lnTo>
                <a:lnTo>
                  <a:pt x="214" y="140"/>
                </a:lnTo>
                <a:lnTo>
                  <a:pt x="214" y="140"/>
                </a:lnTo>
                <a:lnTo>
                  <a:pt x="212" y="142"/>
                </a:lnTo>
                <a:lnTo>
                  <a:pt x="212" y="148"/>
                </a:lnTo>
                <a:lnTo>
                  <a:pt x="212" y="148"/>
                </a:lnTo>
                <a:lnTo>
                  <a:pt x="208" y="148"/>
                </a:lnTo>
                <a:lnTo>
                  <a:pt x="208" y="146"/>
                </a:lnTo>
                <a:lnTo>
                  <a:pt x="206" y="146"/>
                </a:lnTo>
                <a:lnTo>
                  <a:pt x="204" y="146"/>
                </a:lnTo>
                <a:lnTo>
                  <a:pt x="204" y="146"/>
                </a:lnTo>
                <a:lnTo>
                  <a:pt x="204" y="146"/>
                </a:lnTo>
                <a:lnTo>
                  <a:pt x="204" y="148"/>
                </a:lnTo>
                <a:lnTo>
                  <a:pt x="206" y="150"/>
                </a:lnTo>
                <a:lnTo>
                  <a:pt x="204" y="152"/>
                </a:lnTo>
                <a:lnTo>
                  <a:pt x="204" y="152"/>
                </a:lnTo>
                <a:lnTo>
                  <a:pt x="202" y="150"/>
                </a:lnTo>
                <a:lnTo>
                  <a:pt x="202" y="150"/>
                </a:lnTo>
                <a:lnTo>
                  <a:pt x="200" y="148"/>
                </a:lnTo>
                <a:lnTo>
                  <a:pt x="200" y="148"/>
                </a:lnTo>
                <a:lnTo>
                  <a:pt x="194" y="148"/>
                </a:lnTo>
                <a:lnTo>
                  <a:pt x="190" y="146"/>
                </a:lnTo>
                <a:lnTo>
                  <a:pt x="186" y="146"/>
                </a:lnTo>
                <a:lnTo>
                  <a:pt x="184" y="150"/>
                </a:lnTo>
                <a:lnTo>
                  <a:pt x="184" y="150"/>
                </a:lnTo>
                <a:lnTo>
                  <a:pt x="184" y="150"/>
                </a:lnTo>
                <a:lnTo>
                  <a:pt x="184" y="152"/>
                </a:lnTo>
                <a:lnTo>
                  <a:pt x="186" y="154"/>
                </a:lnTo>
                <a:lnTo>
                  <a:pt x="186" y="154"/>
                </a:lnTo>
                <a:lnTo>
                  <a:pt x="196" y="154"/>
                </a:lnTo>
                <a:lnTo>
                  <a:pt x="196" y="154"/>
                </a:lnTo>
                <a:lnTo>
                  <a:pt x="200" y="158"/>
                </a:lnTo>
                <a:lnTo>
                  <a:pt x="206" y="160"/>
                </a:lnTo>
                <a:lnTo>
                  <a:pt x="206" y="160"/>
                </a:lnTo>
                <a:lnTo>
                  <a:pt x="204" y="160"/>
                </a:lnTo>
                <a:lnTo>
                  <a:pt x="202" y="160"/>
                </a:lnTo>
                <a:lnTo>
                  <a:pt x="202" y="160"/>
                </a:lnTo>
                <a:lnTo>
                  <a:pt x="194" y="168"/>
                </a:lnTo>
                <a:lnTo>
                  <a:pt x="190" y="170"/>
                </a:lnTo>
                <a:lnTo>
                  <a:pt x="182" y="170"/>
                </a:lnTo>
                <a:lnTo>
                  <a:pt x="182" y="170"/>
                </a:lnTo>
                <a:lnTo>
                  <a:pt x="180" y="172"/>
                </a:lnTo>
                <a:lnTo>
                  <a:pt x="180" y="172"/>
                </a:lnTo>
                <a:lnTo>
                  <a:pt x="178" y="174"/>
                </a:lnTo>
                <a:lnTo>
                  <a:pt x="176" y="174"/>
                </a:lnTo>
                <a:lnTo>
                  <a:pt x="176" y="174"/>
                </a:lnTo>
                <a:lnTo>
                  <a:pt x="168" y="172"/>
                </a:lnTo>
                <a:lnTo>
                  <a:pt x="164" y="172"/>
                </a:lnTo>
                <a:lnTo>
                  <a:pt x="160" y="174"/>
                </a:lnTo>
                <a:lnTo>
                  <a:pt x="160" y="174"/>
                </a:lnTo>
                <a:lnTo>
                  <a:pt x="174" y="180"/>
                </a:lnTo>
                <a:lnTo>
                  <a:pt x="174" y="180"/>
                </a:lnTo>
                <a:lnTo>
                  <a:pt x="178" y="178"/>
                </a:lnTo>
                <a:lnTo>
                  <a:pt x="180" y="178"/>
                </a:lnTo>
                <a:lnTo>
                  <a:pt x="180" y="178"/>
                </a:lnTo>
                <a:lnTo>
                  <a:pt x="182" y="180"/>
                </a:lnTo>
                <a:lnTo>
                  <a:pt x="182" y="184"/>
                </a:lnTo>
                <a:lnTo>
                  <a:pt x="182" y="184"/>
                </a:lnTo>
                <a:lnTo>
                  <a:pt x="184" y="186"/>
                </a:lnTo>
                <a:lnTo>
                  <a:pt x="186" y="188"/>
                </a:lnTo>
                <a:lnTo>
                  <a:pt x="186" y="190"/>
                </a:lnTo>
                <a:lnTo>
                  <a:pt x="186" y="190"/>
                </a:lnTo>
                <a:lnTo>
                  <a:pt x="180" y="190"/>
                </a:lnTo>
                <a:lnTo>
                  <a:pt x="176" y="188"/>
                </a:lnTo>
                <a:lnTo>
                  <a:pt x="172" y="186"/>
                </a:lnTo>
                <a:lnTo>
                  <a:pt x="168" y="188"/>
                </a:lnTo>
                <a:lnTo>
                  <a:pt x="168" y="188"/>
                </a:lnTo>
                <a:lnTo>
                  <a:pt x="160" y="184"/>
                </a:lnTo>
                <a:lnTo>
                  <a:pt x="154" y="180"/>
                </a:lnTo>
                <a:lnTo>
                  <a:pt x="154" y="180"/>
                </a:lnTo>
                <a:lnTo>
                  <a:pt x="148" y="182"/>
                </a:lnTo>
                <a:lnTo>
                  <a:pt x="144" y="184"/>
                </a:lnTo>
                <a:lnTo>
                  <a:pt x="144" y="184"/>
                </a:lnTo>
                <a:lnTo>
                  <a:pt x="142" y="182"/>
                </a:lnTo>
                <a:lnTo>
                  <a:pt x="142" y="180"/>
                </a:lnTo>
                <a:lnTo>
                  <a:pt x="144" y="174"/>
                </a:lnTo>
                <a:lnTo>
                  <a:pt x="144" y="174"/>
                </a:lnTo>
                <a:lnTo>
                  <a:pt x="142" y="174"/>
                </a:lnTo>
                <a:lnTo>
                  <a:pt x="140" y="172"/>
                </a:lnTo>
                <a:lnTo>
                  <a:pt x="140" y="172"/>
                </a:lnTo>
                <a:lnTo>
                  <a:pt x="138" y="172"/>
                </a:lnTo>
                <a:lnTo>
                  <a:pt x="138" y="174"/>
                </a:lnTo>
                <a:lnTo>
                  <a:pt x="138" y="176"/>
                </a:lnTo>
                <a:lnTo>
                  <a:pt x="138" y="178"/>
                </a:lnTo>
                <a:lnTo>
                  <a:pt x="138" y="178"/>
                </a:lnTo>
                <a:lnTo>
                  <a:pt x="134" y="176"/>
                </a:lnTo>
                <a:lnTo>
                  <a:pt x="130" y="176"/>
                </a:lnTo>
                <a:lnTo>
                  <a:pt x="130" y="176"/>
                </a:lnTo>
                <a:lnTo>
                  <a:pt x="128" y="176"/>
                </a:lnTo>
                <a:lnTo>
                  <a:pt x="128" y="178"/>
                </a:lnTo>
                <a:lnTo>
                  <a:pt x="126" y="180"/>
                </a:lnTo>
                <a:lnTo>
                  <a:pt x="124" y="180"/>
                </a:lnTo>
                <a:lnTo>
                  <a:pt x="124" y="180"/>
                </a:lnTo>
                <a:lnTo>
                  <a:pt x="122" y="176"/>
                </a:lnTo>
                <a:lnTo>
                  <a:pt x="122" y="174"/>
                </a:lnTo>
                <a:lnTo>
                  <a:pt x="118" y="172"/>
                </a:lnTo>
                <a:lnTo>
                  <a:pt x="118" y="172"/>
                </a:lnTo>
                <a:lnTo>
                  <a:pt x="116" y="174"/>
                </a:lnTo>
                <a:lnTo>
                  <a:pt x="116" y="174"/>
                </a:lnTo>
                <a:lnTo>
                  <a:pt x="118" y="178"/>
                </a:lnTo>
                <a:lnTo>
                  <a:pt x="118" y="180"/>
                </a:lnTo>
                <a:lnTo>
                  <a:pt x="118" y="182"/>
                </a:lnTo>
                <a:lnTo>
                  <a:pt x="118" y="182"/>
                </a:lnTo>
                <a:lnTo>
                  <a:pt x="114" y="184"/>
                </a:lnTo>
                <a:lnTo>
                  <a:pt x="110" y="184"/>
                </a:lnTo>
                <a:lnTo>
                  <a:pt x="110" y="184"/>
                </a:lnTo>
                <a:lnTo>
                  <a:pt x="112" y="204"/>
                </a:lnTo>
                <a:lnTo>
                  <a:pt x="114" y="226"/>
                </a:lnTo>
                <a:lnTo>
                  <a:pt x="114" y="226"/>
                </a:lnTo>
                <a:lnTo>
                  <a:pt x="118" y="228"/>
                </a:lnTo>
                <a:lnTo>
                  <a:pt x="122" y="230"/>
                </a:lnTo>
                <a:lnTo>
                  <a:pt x="122" y="230"/>
                </a:lnTo>
                <a:lnTo>
                  <a:pt x="128" y="232"/>
                </a:lnTo>
                <a:lnTo>
                  <a:pt x="128" y="232"/>
                </a:lnTo>
                <a:lnTo>
                  <a:pt x="140" y="232"/>
                </a:lnTo>
                <a:lnTo>
                  <a:pt x="154" y="232"/>
                </a:lnTo>
                <a:lnTo>
                  <a:pt x="154" y="232"/>
                </a:lnTo>
                <a:lnTo>
                  <a:pt x="164" y="234"/>
                </a:lnTo>
                <a:lnTo>
                  <a:pt x="172" y="236"/>
                </a:lnTo>
                <a:lnTo>
                  <a:pt x="172" y="236"/>
                </a:lnTo>
                <a:lnTo>
                  <a:pt x="170" y="238"/>
                </a:lnTo>
                <a:lnTo>
                  <a:pt x="170" y="238"/>
                </a:lnTo>
                <a:lnTo>
                  <a:pt x="166" y="238"/>
                </a:lnTo>
                <a:lnTo>
                  <a:pt x="166" y="238"/>
                </a:lnTo>
                <a:lnTo>
                  <a:pt x="108" y="238"/>
                </a:lnTo>
                <a:lnTo>
                  <a:pt x="48" y="238"/>
                </a:lnTo>
                <a:lnTo>
                  <a:pt x="48" y="238"/>
                </a:lnTo>
                <a:lnTo>
                  <a:pt x="50" y="236"/>
                </a:lnTo>
                <a:lnTo>
                  <a:pt x="54" y="234"/>
                </a:lnTo>
                <a:lnTo>
                  <a:pt x="62" y="232"/>
                </a:lnTo>
                <a:lnTo>
                  <a:pt x="62" y="232"/>
                </a:lnTo>
                <a:lnTo>
                  <a:pt x="76" y="232"/>
                </a:lnTo>
                <a:lnTo>
                  <a:pt x="76" y="232"/>
                </a:lnTo>
                <a:lnTo>
                  <a:pt x="80" y="230"/>
                </a:lnTo>
                <a:lnTo>
                  <a:pt x="80" y="230"/>
                </a:lnTo>
                <a:lnTo>
                  <a:pt x="94" y="232"/>
                </a:lnTo>
                <a:lnTo>
                  <a:pt x="100" y="232"/>
                </a:lnTo>
                <a:lnTo>
                  <a:pt x="104" y="228"/>
                </a:lnTo>
                <a:lnTo>
                  <a:pt x="104" y="228"/>
                </a:lnTo>
                <a:lnTo>
                  <a:pt x="104" y="212"/>
                </a:lnTo>
                <a:lnTo>
                  <a:pt x="104" y="212"/>
                </a:lnTo>
                <a:lnTo>
                  <a:pt x="104" y="198"/>
                </a:lnTo>
                <a:lnTo>
                  <a:pt x="104" y="188"/>
                </a:lnTo>
                <a:lnTo>
                  <a:pt x="104" y="188"/>
                </a:lnTo>
                <a:lnTo>
                  <a:pt x="100" y="184"/>
                </a:lnTo>
                <a:lnTo>
                  <a:pt x="96" y="180"/>
                </a:lnTo>
                <a:lnTo>
                  <a:pt x="96" y="180"/>
                </a:lnTo>
                <a:lnTo>
                  <a:pt x="92" y="182"/>
                </a:lnTo>
                <a:lnTo>
                  <a:pt x="88" y="180"/>
                </a:lnTo>
                <a:lnTo>
                  <a:pt x="78" y="180"/>
                </a:lnTo>
                <a:lnTo>
                  <a:pt x="78" y="180"/>
                </a:lnTo>
                <a:lnTo>
                  <a:pt x="76" y="180"/>
                </a:lnTo>
                <a:lnTo>
                  <a:pt x="74" y="178"/>
                </a:lnTo>
                <a:lnTo>
                  <a:pt x="72" y="176"/>
                </a:lnTo>
                <a:lnTo>
                  <a:pt x="72" y="176"/>
                </a:lnTo>
                <a:lnTo>
                  <a:pt x="70" y="178"/>
                </a:lnTo>
                <a:lnTo>
                  <a:pt x="70" y="182"/>
                </a:lnTo>
                <a:lnTo>
                  <a:pt x="70" y="182"/>
                </a:lnTo>
                <a:lnTo>
                  <a:pt x="66" y="182"/>
                </a:lnTo>
                <a:lnTo>
                  <a:pt x="64" y="182"/>
                </a:lnTo>
                <a:lnTo>
                  <a:pt x="62" y="184"/>
                </a:lnTo>
                <a:lnTo>
                  <a:pt x="60" y="186"/>
                </a:lnTo>
                <a:lnTo>
                  <a:pt x="60" y="186"/>
                </a:lnTo>
                <a:lnTo>
                  <a:pt x="60" y="182"/>
                </a:lnTo>
                <a:lnTo>
                  <a:pt x="62" y="178"/>
                </a:lnTo>
                <a:lnTo>
                  <a:pt x="66" y="176"/>
                </a:lnTo>
                <a:lnTo>
                  <a:pt x="68" y="172"/>
                </a:lnTo>
                <a:lnTo>
                  <a:pt x="68" y="172"/>
                </a:lnTo>
                <a:lnTo>
                  <a:pt x="68" y="172"/>
                </a:lnTo>
                <a:lnTo>
                  <a:pt x="66" y="170"/>
                </a:lnTo>
                <a:lnTo>
                  <a:pt x="64" y="170"/>
                </a:lnTo>
                <a:lnTo>
                  <a:pt x="64" y="170"/>
                </a:lnTo>
                <a:lnTo>
                  <a:pt x="66" y="164"/>
                </a:lnTo>
                <a:lnTo>
                  <a:pt x="70" y="160"/>
                </a:lnTo>
                <a:lnTo>
                  <a:pt x="70" y="160"/>
                </a:lnTo>
                <a:lnTo>
                  <a:pt x="68" y="156"/>
                </a:lnTo>
                <a:lnTo>
                  <a:pt x="68" y="156"/>
                </a:lnTo>
                <a:lnTo>
                  <a:pt x="64" y="156"/>
                </a:lnTo>
                <a:lnTo>
                  <a:pt x="60" y="154"/>
                </a:lnTo>
                <a:lnTo>
                  <a:pt x="58" y="152"/>
                </a:lnTo>
                <a:lnTo>
                  <a:pt x="54" y="154"/>
                </a:lnTo>
                <a:lnTo>
                  <a:pt x="54" y="154"/>
                </a:lnTo>
                <a:lnTo>
                  <a:pt x="56" y="156"/>
                </a:lnTo>
                <a:lnTo>
                  <a:pt x="58" y="158"/>
                </a:lnTo>
                <a:lnTo>
                  <a:pt x="62" y="158"/>
                </a:lnTo>
                <a:lnTo>
                  <a:pt x="66" y="158"/>
                </a:lnTo>
                <a:lnTo>
                  <a:pt x="66" y="158"/>
                </a:lnTo>
                <a:lnTo>
                  <a:pt x="64" y="162"/>
                </a:lnTo>
                <a:lnTo>
                  <a:pt x="62" y="164"/>
                </a:lnTo>
                <a:lnTo>
                  <a:pt x="60" y="166"/>
                </a:lnTo>
                <a:lnTo>
                  <a:pt x="58" y="168"/>
                </a:lnTo>
                <a:lnTo>
                  <a:pt x="58" y="168"/>
                </a:lnTo>
                <a:lnTo>
                  <a:pt x="56" y="168"/>
                </a:lnTo>
                <a:lnTo>
                  <a:pt x="54" y="168"/>
                </a:lnTo>
                <a:lnTo>
                  <a:pt x="50" y="168"/>
                </a:lnTo>
                <a:lnTo>
                  <a:pt x="48" y="166"/>
                </a:lnTo>
                <a:lnTo>
                  <a:pt x="48" y="166"/>
                </a:lnTo>
                <a:lnTo>
                  <a:pt x="50" y="166"/>
                </a:lnTo>
                <a:lnTo>
                  <a:pt x="52" y="162"/>
                </a:lnTo>
                <a:lnTo>
                  <a:pt x="52" y="162"/>
                </a:lnTo>
                <a:lnTo>
                  <a:pt x="50" y="160"/>
                </a:lnTo>
                <a:lnTo>
                  <a:pt x="48" y="160"/>
                </a:lnTo>
                <a:lnTo>
                  <a:pt x="48" y="160"/>
                </a:lnTo>
                <a:lnTo>
                  <a:pt x="38" y="162"/>
                </a:lnTo>
                <a:lnTo>
                  <a:pt x="38" y="162"/>
                </a:lnTo>
                <a:lnTo>
                  <a:pt x="34" y="162"/>
                </a:lnTo>
                <a:lnTo>
                  <a:pt x="30" y="162"/>
                </a:lnTo>
                <a:lnTo>
                  <a:pt x="22" y="164"/>
                </a:lnTo>
                <a:lnTo>
                  <a:pt x="22" y="164"/>
                </a:lnTo>
                <a:lnTo>
                  <a:pt x="14" y="164"/>
                </a:lnTo>
                <a:lnTo>
                  <a:pt x="4" y="162"/>
                </a:lnTo>
                <a:lnTo>
                  <a:pt x="4" y="162"/>
                </a:lnTo>
                <a:lnTo>
                  <a:pt x="4" y="158"/>
                </a:lnTo>
                <a:lnTo>
                  <a:pt x="4" y="158"/>
                </a:lnTo>
                <a:lnTo>
                  <a:pt x="4" y="156"/>
                </a:lnTo>
                <a:lnTo>
                  <a:pt x="2" y="154"/>
                </a:lnTo>
                <a:lnTo>
                  <a:pt x="0" y="154"/>
                </a:lnTo>
                <a:lnTo>
                  <a:pt x="0" y="152"/>
                </a:lnTo>
                <a:lnTo>
                  <a:pt x="0" y="152"/>
                </a:lnTo>
                <a:lnTo>
                  <a:pt x="2" y="152"/>
                </a:lnTo>
                <a:lnTo>
                  <a:pt x="4" y="154"/>
                </a:lnTo>
                <a:lnTo>
                  <a:pt x="6" y="156"/>
                </a:lnTo>
                <a:lnTo>
                  <a:pt x="6" y="156"/>
                </a:lnTo>
                <a:lnTo>
                  <a:pt x="16" y="156"/>
                </a:lnTo>
                <a:lnTo>
                  <a:pt x="20" y="156"/>
                </a:lnTo>
                <a:lnTo>
                  <a:pt x="22" y="154"/>
                </a:lnTo>
                <a:lnTo>
                  <a:pt x="22" y="154"/>
                </a:lnTo>
                <a:lnTo>
                  <a:pt x="22" y="150"/>
                </a:lnTo>
                <a:lnTo>
                  <a:pt x="20" y="148"/>
                </a:lnTo>
                <a:lnTo>
                  <a:pt x="16" y="146"/>
                </a:lnTo>
                <a:lnTo>
                  <a:pt x="16" y="146"/>
                </a:lnTo>
                <a:lnTo>
                  <a:pt x="18" y="144"/>
                </a:lnTo>
                <a:lnTo>
                  <a:pt x="20" y="140"/>
                </a:lnTo>
                <a:lnTo>
                  <a:pt x="20" y="140"/>
                </a:lnTo>
                <a:lnTo>
                  <a:pt x="18" y="138"/>
                </a:lnTo>
                <a:lnTo>
                  <a:pt x="18" y="138"/>
                </a:lnTo>
                <a:lnTo>
                  <a:pt x="14" y="138"/>
                </a:lnTo>
                <a:lnTo>
                  <a:pt x="14" y="138"/>
                </a:lnTo>
                <a:lnTo>
                  <a:pt x="14" y="136"/>
                </a:lnTo>
                <a:lnTo>
                  <a:pt x="16" y="134"/>
                </a:lnTo>
                <a:lnTo>
                  <a:pt x="18" y="134"/>
                </a:lnTo>
                <a:lnTo>
                  <a:pt x="18" y="132"/>
                </a:lnTo>
                <a:lnTo>
                  <a:pt x="18" y="132"/>
                </a:lnTo>
                <a:lnTo>
                  <a:pt x="22" y="132"/>
                </a:lnTo>
                <a:lnTo>
                  <a:pt x="26" y="132"/>
                </a:lnTo>
                <a:lnTo>
                  <a:pt x="26" y="132"/>
                </a:lnTo>
                <a:lnTo>
                  <a:pt x="26" y="130"/>
                </a:lnTo>
                <a:lnTo>
                  <a:pt x="24" y="130"/>
                </a:lnTo>
                <a:lnTo>
                  <a:pt x="20" y="128"/>
                </a:lnTo>
                <a:lnTo>
                  <a:pt x="20" y="128"/>
                </a:lnTo>
                <a:lnTo>
                  <a:pt x="18" y="130"/>
                </a:lnTo>
                <a:lnTo>
                  <a:pt x="18" y="132"/>
                </a:lnTo>
                <a:lnTo>
                  <a:pt x="18" y="132"/>
                </a:lnTo>
                <a:lnTo>
                  <a:pt x="16" y="130"/>
                </a:lnTo>
                <a:lnTo>
                  <a:pt x="14" y="128"/>
                </a:lnTo>
                <a:lnTo>
                  <a:pt x="12" y="126"/>
                </a:lnTo>
                <a:lnTo>
                  <a:pt x="14" y="122"/>
                </a:lnTo>
                <a:lnTo>
                  <a:pt x="14" y="122"/>
                </a:lnTo>
                <a:lnTo>
                  <a:pt x="20" y="124"/>
                </a:lnTo>
                <a:lnTo>
                  <a:pt x="22" y="124"/>
                </a:lnTo>
                <a:lnTo>
                  <a:pt x="26" y="122"/>
                </a:lnTo>
                <a:lnTo>
                  <a:pt x="26" y="122"/>
                </a:lnTo>
                <a:lnTo>
                  <a:pt x="28" y="126"/>
                </a:lnTo>
                <a:lnTo>
                  <a:pt x="30" y="128"/>
                </a:lnTo>
                <a:lnTo>
                  <a:pt x="30" y="128"/>
                </a:lnTo>
                <a:lnTo>
                  <a:pt x="34" y="128"/>
                </a:lnTo>
                <a:lnTo>
                  <a:pt x="36" y="126"/>
                </a:lnTo>
                <a:lnTo>
                  <a:pt x="36" y="126"/>
                </a:lnTo>
                <a:lnTo>
                  <a:pt x="38" y="128"/>
                </a:lnTo>
                <a:lnTo>
                  <a:pt x="38" y="128"/>
                </a:lnTo>
                <a:lnTo>
                  <a:pt x="38" y="130"/>
                </a:lnTo>
                <a:lnTo>
                  <a:pt x="40" y="130"/>
                </a:lnTo>
                <a:lnTo>
                  <a:pt x="40" y="130"/>
                </a:lnTo>
                <a:lnTo>
                  <a:pt x="48" y="128"/>
                </a:lnTo>
                <a:lnTo>
                  <a:pt x="52" y="122"/>
                </a:lnTo>
                <a:lnTo>
                  <a:pt x="52" y="122"/>
                </a:lnTo>
                <a:lnTo>
                  <a:pt x="50" y="122"/>
                </a:lnTo>
                <a:lnTo>
                  <a:pt x="50" y="122"/>
                </a:lnTo>
                <a:lnTo>
                  <a:pt x="48" y="124"/>
                </a:lnTo>
                <a:lnTo>
                  <a:pt x="44" y="124"/>
                </a:lnTo>
                <a:lnTo>
                  <a:pt x="44" y="124"/>
                </a:lnTo>
                <a:lnTo>
                  <a:pt x="44" y="122"/>
                </a:lnTo>
                <a:lnTo>
                  <a:pt x="46" y="120"/>
                </a:lnTo>
                <a:lnTo>
                  <a:pt x="48" y="120"/>
                </a:lnTo>
                <a:lnTo>
                  <a:pt x="48" y="120"/>
                </a:lnTo>
                <a:lnTo>
                  <a:pt x="48" y="118"/>
                </a:lnTo>
                <a:lnTo>
                  <a:pt x="46" y="116"/>
                </a:lnTo>
                <a:lnTo>
                  <a:pt x="46" y="116"/>
                </a:lnTo>
                <a:lnTo>
                  <a:pt x="42" y="116"/>
                </a:lnTo>
                <a:lnTo>
                  <a:pt x="38" y="120"/>
                </a:lnTo>
                <a:lnTo>
                  <a:pt x="38" y="120"/>
                </a:lnTo>
                <a:lnTo>
                  <a:pt x="34" y="118"/>
                </a:lnTo>
                <a:lnTo>
                  <a:pt x="32" y="114"/>
                </a:lnTo>
                <a:lnTo>
                  <a:pt x="32" y="114"/>
                </a:lnTo>
                <a:lnTo>
                  <a:pt x="24" y="114"/>
                </a:lnTo>
                <a:lnTo>
                  <a:pt x="18" y="114"/>
                </a:lnTo>
                <a:lnTo>
                  <a:pt x="18" y="114"/>
                </a:lnTo>
                <a:lnTo>
                  <a:pt x="16" y="112"/>
                </a:lnTo>
                <a:lnTo>
                  <a:pt x="14" y="110"/>
                </a:lnTo>
                <a:lnTo>
                  <a:pt x="12" y="108"/>
                </a:lnTo>
                <a:lnTo>
                  <a:pt x="10" y="106"/>
                </a:lnTo>
                <a:lnTo>
                  <a:pt x="10" y="106"/>
                </a:lnTo>
                <a:lnTo>
                  <a:pt x="10" y="104"/>
                </a:lnTo>
                <a:lnTo>
                  <a:pt x="12" y="104"/>
                </a:lnTo>
                <a:lnTo>
                  <a:pt x="14" y="104"/>
                </a:lnTo>
                <a:lnTo>
                  <a:pt x="16" y="104"/>
                </a:lnTo>
                <a:lnTo>
                  <a:pt x="16" y="104"/>
                </a:lnTo>
                <a:lnTo>
                  <a:pt x="20" y="100"/>
                </a:lnTo>
                <a:lnTo>
                  <a:pt x="20" y="100"/>
                </a:lnTo>
                <a:lnTo>
                  <a:pt x="24" y="100"/>
                </a:lnTo>
                <a:lnTo>
                  <a:pt x="24" y="102"/>
                </a:lnTo>
                <a:lnTo>
                  <a:pt x="28" y="104"/>
                </a:lnTo>
                <a:lnTo>
                  <a:pt x="28" y="104"/>
                </a:lnTo>
                <a:lnTo>
                  <a:pt x="36" y="104"/>
                </a:lnTo>
                <a:lnTo>
                  <a:pt x="40" y="102"/>
                </a:lnTo>
                <a:lnTo>
                  <a:pt x="40" y="102"/>
                </a:lnTo>
                <a:lnTo>
                  <a:pt x="42" y="98"/>
                </a:lnTo>
                <a:lnTo>
                  <a:pt x="40" y="94"/>
                </a:lnTo>
                <a:lnTo>
                  <a:pt x="40" y="94"/>
                </a:lnTo>
                <a:lnTo>
                  <a:pt x="38" y="94"/>
                </a:lnTo>
                <a:lnTo>
                  <a:pt x="36" y="96"/>
                </a:lnTo>
                <a:lnTo>
                  <a:pt x="34" y="96"/>
                </a:lnTo>
                <a:lnTo>
                  <a:pt x="34" y="96"/>
                </a:lnTo>
                <a:lnTo>
                  <a:pt x="30" y="88"/>
                </a:lnTo>
                <a:lnTo>
                  <a:pt x="30" y="88"/>
                </a:lnTo>
                <a:lnTo>
                  <a:pt x="26" y="88"/>
                </a:lnTo>
                <a:lnTo>
                  <a:pt x="26" y="88"/>
                </a:lnTo>
                <a:lnTo>
                  <a:pt x="24" y="90"/>
                </a:lnTo>
                <a:lnTo>
                  <a:pt x="26" y="90"/>
                </a:lnTo>
                <a:lnTo>
                  <a:pt x="28" y="92"/>
                </a:lnTo>
                <a:lnTo>
                  <a:pt x="26" y="94"/>
                </a:lnTo>
                <a:lnTo>
                  <a:pt x="26" y="94"/>
                </a:lnTo>
                <a:lnTo>
                  <a:pt x="24" y="94"/>
                </a:lnTo>
                <a:lnTo>
                  <a:pt x="20" y="94"/>
                </a:lnTo>
                <a:lnTo>
                  <a:pt x="20" y="94"/>
                </a:lnTo>
                <a:lnTo>
                  <a:pt x="20" y="92"/>
                </a:lnTo>
                <a:lnTo>
                  <a:pt x="24" y="90"/>
                </a:lnTo>
                <a:lnTo>
                  <a:pt x="24" y="90"/>
                </a:lnTo>
                <a:lnTo>
                  <a:pt x="22" y="86"/>
                </a:lnTo>
                <a:lnTo>
                  <a:pt x="24" y="82"/>
                </a:lnTo>
                <a:lnTo>
                  <a:pt x="24" y="82"/>
                </a:lnTo>
                <a:lnTo>
                  <a:pt x="22" y="80"/>
                </a:lnTo>
                <a:lnTo>
                  <a:pt x="20" y="76"/>
                </a:lnTo>
                <a:lnTo>
                  <a:pt x="20" y="76"/>
                </a:lnTo>
                <a:lnTo>
                  <a:pt x="30" y="72"/>
                </a:lnTo>
                <a:lnTo>
                  <a:pt x="38" y="68"/>
                </a:lnTo>
                <a:lnTo>
                  <a:pt x="38" y="68"/>
                </a:lnTo>
                <a:lnTo>
                  <a:pt x="40" y="70"/>
                </a:lnTo>
                <a:lnTo>
                  <a:pt x="40" y="74"/>
                </a:lnTo>
                <a:lnTo>
                  <a:pt x="40" y="74"/>
                </a:lnTo>
                <a:lnTo>
                  <a:pt x="46" y="76"/>
                </a:lnTo>
                <a:lnTo>
                  <a:pt x="48" y="76"/>
                </a:lnTo>
                <a:lnTo>
                  <a:pt x="48" y="74"/>
                </a:lnTo>
                <a:lnTo>
                  <a:pt x="48" y="74"/>
                </a:lnTo>
                <a:lnTo>
                  <a:pt x="48" y="72"/>
                </a:lnTo>
                <a:lnTo>
                  <a:pt x="46" y="72"/>
                </a:lnTo>
                <a:lnTo>
                  <a:pt x="44" y="70"/>
                </a:lnTo>
                <a:lnTo>
                  <a:pt x="44" y="70"/>
                </a:lnTo>
                <a:lnTo>
                  <a:pt x="44" y="66"/>
                </a:lnTo>
                <a:lnTo>
                  <a:pt x="46" y="64"/>
                </a:lnTo>
                <a:lnTo>
                  <a:pt x="46" y="64"/>
                </a:lnTo>
                <a:lnTo>
                  <a:pt x="44" y="60"/>
                </a:lnTo>
                <a:lnTo>
                  <a:pt x="44" y="54"/>
                </a:lnTo>
                <a:lnTo>
                  <a:pt x="44" y="54"/>
                </a:lnTo>
                <a:lnTo>
                  <a:pt x="50" y="54"/>
                </a:lnTo>
                <a:lnTo>
                  <a:pt x="50" y="54"/>
                </a:lnTo>
                <a:lnTo>
                  <a:pt x="56" y="50"/>
                </a:lnTo>
                <a:lnTo>
                  <a:pt x="58" y="48"/>
                </a:lnTo>
                <a:lnTo>
                  <a:pt x="60" y="46"/>
                </a:lnTo>
                <a:lnTo>
                  <a:pt x="60" y="46"/>
                </a:lnTo>
                <a:lnTo>
                  <a:pt x="60" y="44"/>
                </a:lnTo>
                <a:lnTo>
                  <a:pt x="58" y="42"/>
                </a:lnTo>
                <a:lnTo>
                  <a:pt x="54" y="40"/>
                </a:lnTo>
                <a:lnTo>
                  <a:pt x="54" y="40"/>
                </a:lnTo>
                <a:lnTo>
                  <a:pt x="54" y="38"/>
                </a:lnTo>
                <a:lnTo>
                  <a:pt x="56" y="38"/>
                </a:lnTo>
                <a:lnTo>
                  <a:pt x="60" y="38"/>
                </a:lnTo>
                <a:lnTo>
                  <a:pt x="60" y="38"/>
                </a:lnTo>
                <a:lnTo>
                  <a:pt x="60" y="38"/>
                </a:lnTo>
                <a:lnTo>
                  <a:pt x="62" y="36"/>
                </a:lnTo>
                <a:lnTo>
                  <a:pt x="62" y="36"/>
                </a:lnTo>
                <a:lnTo>
                  <a:pt x="62" y="36"/>
                </a:lnTo>
                <a:lnTo>
                  <a:pt x="66" y="38"/>
                </a:lnTo>
                <a:lnTo>
                  <a:pt x="70" y="38"/>
                </a:lnTo>
                <a:lnTo>
                  <a:pt x="70" y="38"/>
                </a:lnTo>
                <a:lnTo>
                  <a:pt x="72" y="38"/>
                </a:lnTo>
                <a:lnTo>
                  <a:pt x="72" y="38"/>
                </a:lnTo>
                <a:lnTo>
                  <a:pt x="72" y="36"/>
                </a:lnTo>
                <a:lnTo>
                  <a:pt x="70" y="34"/>
                </a:lnTo>
                <a:lnTo>
                  <a:pt x="68" y="32"/>
                </a:lnTo>
                <a:lnTo>
                  <a:pt x="68" y="32"/>
                </a:lnTo>
                <a:lnTo>
                  <a:pt x="68" y="30"/>
                </a:lnTo>
                <a:lnTo>
                  <a:pt x="68" y="30"/>
                </a:lnTo>
                <a:lnTo>
                  <a:pt x="64" y="28"/>
                </a:lnTo>
                <a:lnTo>
                  <a:pt x="64" y="28"/>
                </a:lnTo>
                <a:lnTo>
                  <a:pt x="64" y="24"/>
                </a:lnTo>
                <a:lnTo>
                  <a:pt x="62" y="22"/>
                </a:lnTo>
                <a:lnTo>
                  <a:pt x="56" y="20"/>
                </a:lnTo>
                <a:lnTo>
                  <a:pt x="56" y="20"/>
                </a:lnTo>
                <a:lnTo>
                  <a:pt x="56" y="16"/>
                </a:lnTo>
                <a:lnTo>
                  <a:pt x="58" y="14"/>
                </a:lnTo>
                <a:lnTo>
                  <a:pt x="58" y="14"/>
                </a:lnTo>
                <a:lnTo>
                  <a:pt x="62" y="16"/>
                </a:lnTo>
                <a:lnTo>
                  <a:pt x="64" y="18"/>
                </a:lnTo>
                <a:lnTo>
                  <a:pt x="64" y="18"/>
                </a:lnTo>
                <a:lnTo>
                  <a:pt x="68" y="16"/>
                </a:lnTo>
                <a:lnTo>
                  <a:pt x="68" y="16"/>
                </a:lnTo>
                <a:lnTo>
                  <a:pt x="68" y="16"/>
                </a:lnTo>
                <a:lnTo>
                  <a:pt x="66" y="14"/>
                </a:lnTo>
                <a:lnTo>
                  <a:pt x="66" y="14"/>
                </a:lnTo>
                <a:lnTo>
                  <a:pt x="66" y="14"/>
                </a:lnTo>
                <a:lnTo>
                  <a:pt x="66" y="10"/>
                </a:lnTo>
                <a:lnTo>
                  <a:pt x="66" y="10"/>
                </a:lnTo>
                <a:lnTo>
                  <a:pt x="64" y="8"/>
                </a:lnTo>
                <a:lnTo>
                  <a:pt x="62" y="8"/>
                </a:lnTo>
                <a:lnTo>
                  <a:pt x="62" y="6"/>
                </a:lnTo>
                <a:lnTo>
                  <a:pt x="62" y="6"/>
                </a:lnTo>
                <a:lnTo>
                  <a:pt x="66" y="8"/>
                </a:lnTo>
                <a:lnTo>
                  <a:pt x="70" y="10"/>
                </a:lnTo>
                <a:lnTo>
                  <a:pt x="74" y="16"/>
                </a:lnTo>
                <a:lnTo>
                  <a:pt x="74" y="16"/>
                </a:lnTo>
                <a:lnTo>
                  <a:pt x="82" y="18"/>
                </a:lnTo>
                <a:lnTo>
                  <a:pt x="84" y="18"/>
                </a:lnTo>
                <a:lnTo>
                  <a:pt x="88" y="18"/>
                </a:lnTo>
                <a:lnTo>
                  <a:pt x="88" y="18"/>
                </a:lnTo>
                <a:lnTo>
                  <a:pt x="88" y="20"/>
                </a:lnTo>
                <a:lnTo>
                  <a:pt x="88" y="22"/>
                </a:lnTo>
                <a:lnTo>
                  <a:pt x="88" y="22"/>
                </a:lnTo>
                <a:lnTo>
                  <a:pt x="100" y="24"/>
                </a:lnTo>
                <a:lnTo>
                  <a:pt x="100" y="24"/>
                </a:lnTo>
                <a:lnTo>
                  <a:pt x="96" y="20"/>
                </a:lnTo>
                <a:lnTo>
                  <a:pt x="92" y="16"/>
                </a:lnTo>
                <a:lnTo>
                  <a:pt x="92" y="16"/>
                </a:lnTo>
                <a:lnTo>
                  <a:pt x="100" y="16"/>
                </a:lnTo>
                <a:lnTo>
                  <a:pt x="106" y="20"/>
                </a:lnTo>
                <a:lnTo>
                  <a:pt x="106" y="20"/>
                </a:lnTo>
                <a:lnTo>
                  <a:pt x="110" y="18"/>
                </a:lnTo>
                <a:lnTo>
                  <a:pt x="116" y="16"/>
                </a:lnTo>
                <a:lnTo>
                  <a:pt x="116" y="16"/>
                </a:lnTo>
                <a:lnTo>
                  <a:pt x="118" y="12"/>
                </a:lnTo>
                <a:lnTo>
                  <a:pt x="118" y="10"/>
                </a:lnTo>
                <a:lnTo>
                  <a:pt x="118" y="10"/>
                </a:lnTo>
                <a:lnTo>
                  <a:pt x="114" y="10"/>
                </a:lnTo>
                <a:lnTo>
                  <a:pt x="112" y="10"/>
                </a:lnTo>
                <a:lnTo>
                  <a:pt x="110" y="14"/>
                </a:lnTo>
                <a:lnTo>
                  <a:pt x="110" y="14"/>
                </a:lnTo>
                <a:lnTo>
                  <a:pt x="100" y="14"/>
                </a:lnTo>
                <a:lnTo>
                  <a:pt x="100" y="14"/>
                </a:lnTo>
                <a:lnTo>
                  <a:pt x="100" y="10"/>
                </a:lnTo>
                <a:lnTo>
                  <a:pt x="100" y="8"/>
                </a:lnTo>
                <a:lnTo>
                  <a:pt x="102" y="6"/>
                </a:lnTo>
                <a:lnTo>
                  <a:pt x="102" y="2"/>
                </a:lnTo>
                <a:lnTo>
                  <a:pt x="102" y="2"/>
                </a:lnTo>
                <a:lnTo>
                  <a:pt x="104" y="2"/>
                </a:lnTo>
                <a:lnTo>
                  <a:pt x="106" y="4"/>
                </a:lnTo>
                <a:lnTo>
                  <a:pt x="110" y="8"/>
                </a:lnTo>
                <a:lnTo>
                  <a:pt x="110" y="8"/>
                </a:lnTo>
                <a:lnTo>
                  <a:pt x="112" y="6"/>
                </a:lnTo>
                <a:lnTo>
                  <a:pt x="114" y="6"/>
                </a:lnTo>
                <a:lnTo>
                  <a:pt x="114" y="6"/>
                </a:lnTo>
                <a:lnTo>
                  <a:pt x="114" y="4"/>
                </a:lnTo>
                <a:lnTo>
                  <a:pt x="116" y="2"/>
                </a:lnTo>
                <a:lnTo>
                  <a:pt x="118" y="0"/>
                </a:lnTo>
                <a:lnTo>
                  <a:pt x="118" y="0"/>
                </a:lnTo>
                <a:lnTo>
                  <a:pt x="120" y="2"/>
                </a:lnTo>
                <a:lnTo>
                  <a:pt x="120" y="4"/>
                </a:lnTo>
                <a:lnTo>
                  <a:pt x="122" y="6"/>
                </a:lnTo>
                <a:lnTo>
                  <a:pt x="124" y="8"/>
                </a:lnTo>
                <a:lnTo>
                  <a:pt x="124" y="8"/>
                </a:lnTo>
                <a:lnTo>
                  <a:pt x="126" y="6"/>
                </a:lnTo>
                <a:lnTo>
                  <a:pt x="126" y="6"/>
                </a:lnTo>
                <a:lnTo>
                  <a:pt x="128" y="8"/>
                </a:lnTo>
                <a:lnTo>
                  <a:pt x="128" y="8"/>
                </a:lnTo>
                <a:lnTo>
                  <a:pt x="132" y="8"/>
                </a:lnTo>
                <a:lnTo>
                  <a:pt x="134" y="8"/>
                </a:lnTo>
                <a:lnTo>
                  <a:pt x="134" y="10"/>
                </a:lnTo>
                <a:lnTo>
                  <a:pt x="134" y="10"/>
                </a:lnTo>
                <a:lnTo>
                  <a:pt x="132" y="12"/>
                </a:lnTo>
                <a:lnTo>
                  <a:pt x="130" y="14"/>
                </a:lnTo>
                <a:lnTo>
                  <a:pt x="126" y="12"/>
                </a:lnTo>
                <a:lnTo>
                  <a:pt x="126" y="12"/>
                </a:lnTo>
                <a:lnTo>
                  <a:pt x="126" y="12"/>
                </a:lnTo>
                <a:lnTo>
                  <a:pt x="124" y="10"/>
                </a:lnTo>
                <a:lnTo>
                  <a:pt x="122" y="10"/>
                </a:lnTo>
                <a:lnTo>
                  <a:pt x="120" y="10"/>
                </a:lnTo>
                <a:lnTo>
                  <a:pt x="120" y="10"/>
                </a:lnTo>
                <a:lnTo>
                  <a:pt x="120" y="10"/>
                </a:lnTo>
                <a:lnTo>
                  <a:pt x="120" y="12"/>
                </a:lnTo>
                <a:lnTo>
                  <a:pt x="122" y="14"/>
                </a:lnTo>
                <a:lnTo>
                  <a:pt x="122" y="14"/>
                </a:lnTo>
                <a:lnTo>
                  <a:pt x="120" y="18"/>
                </a:lnTo>
                <a:lnTo>
                  <a:pt x="120" y="20"/>
                </a:lnTo>
                <a:lnTo>
                  <a:pt x="120" y="20"/>
                </a:lnTo>
                <a:lnTo>
                  <a:pt x="120" y="22"/>
                </a:lnTo>
                <a:lnTo>
                  <a:pt x="122" y="24"/>
                </a:lnTo>
                <a:lnTo>
                  <a:pt x="126" y="26"/>
                </a:lnTo>
                <a:lnTo>
                  <a:pt x="126" y="26"/>
                </a:lnTo>
                <a:lnTo>
                  <a:pt x="128" y="24"/>
                </a:lnTo>
                <a:lnTo>
                  <a:pt x="128" y="24"/>
                </a:lnTo>
                <a:lnTo>
                  <a:pt x="126" y="20"/>
                </a:lnTo>
                <a:lnTo>
                  <a:pt x="124" y="18"/>
                </a:lnTo>
                <a:lnTo>
                  <a:pt x="124" y="16"/>
                </a:lnTo>
                <a:lnTo>
                  <a:pt x="124" y="16"/>
                </a:lnTo>
                <a:lnTo>
                  <a:pt x="126" y="16"/>
                </a:lnTo>
                <a:lnTo>
                  <a:pt x="128" y="16"/>
                </a:lnTo>
                <a:lnTo>
                  <a:pt x="132" y="20"/>
                </a:lnTo>
                <a:lnTo>
                  <a:pt x="132" y="20"/>
                </a:lnTo>
                <a:lnTo>
                  <a:pt x="136" y="18"/>
                </a:lnTo>
                <a:lnTo>
                  <a:pt x="138" y="14"/>
                </a:lnTo>
                <a:lnTo>
                  <a:pt x="142" y="12"/>
                </a:lnTo>
                <a:lnTo>
                  <a:pt x="144" y="10"/>
                </a:lnTo>
                <a:lnTo>
                  <a:pt x="144" y="10"/>
                </a:lnTo>
                <a:lnTo>
                  <a:pt x="144" y="12"/>
                </a:lnTo>
                <a:lnTo>
                  <a:pt x="144" y="14"/>
                </a:lnTo>
                <a:lnTo>
                  <a:pt x="148" y="16"/>
                </a:lnTo>
                <a:lnTo>
                  <a:pt x="148" y="16"/>
                </a:lnTo>
                <a:lnTo>
                  <a:pt x="148" y="14"/>
                </a:lnTo>
                <a:lnTo>
                  <a:pt x="148" y="12"/>
                </a:lnTo>
                <a:lnTo>
                  <a:pt x="148" y="12"/>
                </a:lnTo>
                <a:lnTo>
                  <a:pt x="148" y="10"/>
                </a:lnTo>
                <a:lnTo>
                  <a:pt x="148" y="10"/>
                </a:lnTo>
                <a:lnTo>
                  <a:pt x="148" y="10"/>
                </a:lnTo>
                <a:lnTo>
                  <a:pt x="150" y="10"/>
                </a:lnTo>
                <a:lnTo>
                  <a:pt x="152" y="14"/>
                </a:lnTo>
                <a:lnTo>
                  <a:pt x="152" y="14"/>
                </a:lnTo>
                <a:close/>
                <a:moveTo>
                  <a:pt x="106" y="22"/>
                </a:moveTo>
                <a:lnTo>
                  <a:pt x="106" y="22"/>
                </a:lnTo>
                <a:lnTo>
                  <a:pt x="108" y="26"/>
                </a:lnTo>
                <a:lnTo>
                  <a:pt x="112" y="28"/>
                </a:lnTo>
                <a:lnTo>
                  <a:pt x="112" y="28"/>
                </a:lnTo>
                <a:lnTo>
                  <a:pt x="114" y="28"/>
                </a:lnTo>
                <a:lnTo>
                  <a:pt x="114" y="28"/>
                </a:lnTo>
                <a:lnTo>
                  <a:pt x="114" y="24"/>
                </a:lnTo>
                <a:lnTo>
                  <a:pt x="112" y="22"/>
                </a:lnTo>
                <a:lnTo>
                  <a:pt x="110" y="20"/>
                </a:lnTo>
                <a:lnTo>
                  <a:pt x="106" y="22"/>
                </a:lnTo>
                <a:lnTo>
                  <a:pt x="106" y="22"/>
                </a:lnTo>
                <a:close/>
                <a:moveTo>
                  <a:pt x="74" y="28"/>
                </a:moveTo>
                <a:lnTo>
                  <a:pt x="74" y="28"/>
                </a:lnTo>
                <a:lnTo>
                  <a:pt x="76" y="30"/>
                </a:lnTo>
                <a:lnTo>
                  <a:pt x="76" y="30"/>
                </a:lnTo>
                <a:lnTo>
                  <a:pt x="80" y="30"/>
                </a:lnTo>
                <a:lnTo>
                  <a:pt x="80" y="30"/>
                </a:lnTo>
                <a:lnTo>
                  <a:pt x="80" y="28"/>
                </a:lnTo>
                <a:lnTo>
                  <a:pt x="80" y="28"/>
                </a:lnTo>
                <a:lnTo>
                  <a:pt x="82" y="28"/>
                </a:lnTo>
                <a:lnTo>
                  <a:pt x="82" y="28"/>
                </a:lnTo>
                <a:lnTo>
                  <a:pt x="78" y="26"/>
                </a:lnTo>
                <a:lnTo>
                  <a:pt x="74" y="24"/>
                </a:lnTo>
                <a:lnTo>
                  <a:pt x="72" y="22"/>
                </a:lnTo>
                <a:lnTo>
                  <a:pt x="68" y="22"/>
                </a:lnTo>
                <a:lnTo>
                  <a:pt x="68" y="22"/>
                </a:lnTo>
                <a:lnTo>
                  <a:pt x="68" y="24"/>
                </a:lnTo>
                <a:lnTo>
                  <a:pt x="70" y="26"/>
                </a:lnTo>
                <a:lnTo>
                  <a:pt x="74" y="28"/>
                </a:lnTo>
                <a:lnTo>
                  <a:pt x="74" y="28"/>
                </a:lnTo>
                <a:close/>
                <a:moveTo>
                  <a:pt x="104" y="30"/>
                </a:moveTo>
                <a:lnTo>
                  <a:pt x="104" y="30"/>
                </a:lnTo>
                <a:lnTo>
                  <a:pt x="100" y="26"/>
                </a:lnTo>
                <a:lnTo>
                  <a:pt x="98" y="24"/>
                </a:lnTo>
                <a:lnTo>
                  <a:pt x="96" y="26"/>
                </a:lnTo>
                <a:lnTo>
                  <a:pt x="96" y="26"/>
                </a:lnTo>
                <a:lnTo>
                  <a:pt x="96" y="28"/>
                </a:lnTo>
                <a:lnTo>
                  <a:pt x="98" y="28"/>
                </a:lnTo>
                <a:lnTo>
                  <a:pt x="102" y="32"/>
                </a:lnTo>
                <a:lnTo>
                  <a:pt x="102" y="32"/>
                </a:lnTo>
                <a:lnTo>
                  <a:pt x="104" y="36"/>
                </a:lnTo>
                <a:lnTo>
                  <a:pt x="106" y="36"/>
                </a:lnTo>
                <a:lnTo>
                  <a:pt x="108" y="36"/>
                </a:lnTo>
                <a:lnTo>
                  <a:pt x="108" y="36"/>
                </a:lnTo>
                <a:lnTo>
                  <a:pt x="108" y="34"/>
                </a:lnTo>
                <a:lnTo>
                  <a:pt x="106" y="32"/>
                </a:lnTo>
                <a:lnTo>
                  <a:pt x="104" y="30"/>
                </a:lnTo>
                <a:lnTo>
                  <a:pt x="104" y="30"/>
                </a:lnTo>
                <a:close/>
                <a:moveTo>
                  <a:pt x="128" y="28"/>
                </a:moveTo>
                <a:lnTo>
                  <a:pt x="128" y="28"/>
                </a:lnTo>
                <a:lnTo>
                  <a:pt x="130" y="30"/>
                </a:lnTo>
                <a:lnTo>
                  <a:pt x="134" y="32"/>
                </a:lnTo>
                <a:lnTo>
                  <a:pt x="134" y="32"/>
                </a:lnTo>
                <a:lnTo>
                  <a:pt x="136" y="30"/>
                </a:lnTo>
                <a:lnTo>
                  <a:pt x="136" y="28"/>
                </a:lnTo>
                <a:lnTo>
                  <a:pt x="136" y="28"/>
                </a:lnTo>
                <a:lnTo>
                  <a:pt x="132" y="26"/>
                </a:lnTo>
                <a:lnTo>
                  <a:pt x="128" y="28"/>
                </a:lnTo>
                <a:lnTo>
                  <a:pt x="128" y="28"/>
                </a:lnTo>
                <a:close/>
                <a:moveTo>
                  <a:pt x="126" y="34"/>
                </a:moveTo>
                <a:lnTo>
                  <a:pt x="126" y="34"/>
                </a:lnTo>
                <a:lnTo>
                  <a:pt x="126" y="32"/>
                </a:lnTo>
                <a:lnTo>
                  <a:pt x="124" y="30"/>
                </a:lnTo>
                <a:lnTo>
                  <a:pt x="124" y="30"/>
                </a:lnTo>
                <a:lnTo>
                  <a:pt x="124" y="34"/>
                </a:lnTo>
                <a:lnTo>
                  <a:pt x="126" y="34"/>
                </a:lnTo>
                <a:lnTo>
                  <a:pt x="126" y="34"/>
                </a:lnTo>
                <a:close/>
                <a:moveTo>
                  <a:pt x="90" y="40"/>
                </a:moveTo>
                <a:lnTo>
                  <a:pt x="90" y="40"/>
                </a:lnTo>
                <a:lnTo>
                  <a:pt x="92" y="42"/>
                </a:lnTo>
                <a:lnTo>
                  <a:pt x="96" y="42"/>
                </a:lnTo>
                <a:lnTo>
                  <a:pt x="98" y="42"/>
                </a:lnTo>
                <a:lnTo>
                  <a:pt x="100" y="40"/>
                </a:lnTo>
                <a:lnTo>
                  <a:pt x="100" y="40"/>
                </a:lnTo>
                <a:lnTo>
                  <a:pt x="98" y="38"/>
                </a:lnTo>
                <a:lnTo>
                  <a:pt x="96" y="38"/>
                </a:lnTo>
                <a:lnTo>
                  <a:pt x="90" y="40"/>
                </a:lnTo>
                <a:lnTo>
                  <a:pt x="90" y="40"/>
                </a:lnTo>
                <a:close/>
                <a:moveTo>
                  <a:pt x="112" y="42"/>
                </a:moveTo>
                <a:lnTo>
                  <a:pt x="112" y="42"/>
                </a:lnTo>
                <a:lnTo>
                  <a:pt x="112" y="38"/>
                </a:lnTo>
                <a:lnTo>
                  <a:pt x="110" y="38"/>
                </a:lnTo>
                <a:lnTo>
                  <a:pt x="108" y="36"/>
                </a:lnTo>
                <a:lnTo>
                  <a:pt x="108" y="36"/>
                </a:lnTo>
                <a:lnTo>
                  <a:pt x="108" y="40"/>
                </a:lnTo>
                <a:lnTo>
                  <a:pt x="112" y="42"/>
                </a:lnTo>
                <a:lnTo>
                  <a:pt x="112" y="42"/>
                </a:lnTo>
                <a:close/>
                <a:moveTo>
                  <a:pt x="84" y="62"/>
                </a:moveTo>
                <a:lnTo>
                  <a:pt x="84" y="62"/>
                </a:lnTo>
                <a:lnTo>
                  <a:pt x="84" y="58"/>
                </a:lnTo>
                <a:lnTo>
                  <a:pt x="82" y="58"/>
                </a:lnTo>
                <a:lnTo>
                  <a:pt x="76" y="56"/>
                </a:lnTo>
                <a:lnTo>
                  <a:pt x="76" y="56"/>
                </a:lnTo>
                <a:lnTo>
                  <a:pt x="76" y="60"/>
                </a:lnTo>
                <a:lnTo>
                  <a:pt x="78" y="62"/>
                </a:lnTo>
                <a:lnTo>
                  <a:pt x="84" y="62"/>
                </a:lnTo>
                <a:lnTo>
                  <a:pt x="84" y="62"/>
                </a:lnTo>
                <a:close/>
                <a:moveTo>
                  <a:pt x="64" y="64"/>
                </a:moveTo>
                <a:lnTo>
                  <a:pt x="64" y="64"/>
                </a:lnTo>
                <a:lnTo>
                  <a:pt x="66" y="62"/>
                </a:lnTo>
                <a:lnTo>
                  <a:pt x="68" y="60"/>
                </a:lnTo>
                <a:lnTo>
                  <a:pt x="68" y="60"/>
                </a:lnTo>
                <a:lnTo>
                  <a:pt x="64" y="58"/>
                </a:lnTo>
                <a:lnTo>
                  <a:pt x="62" y="58"/>
                </a:lnTo>
                <a:lnTo>
                  <a:pt x="62" y="60"/>
                </a:lnTo>
                <a:lnTo>
                  <a:pt x="64" y="64"/>
                </a:lnTo>
                <a:lnTo>
                  <a:pt x="64" y="64"/>
                </a:lnTo>
                <a:close/>
                <a:moveTo>
                  <a:pt x="168" y="64"/>
                </a:moveTo>
                <a:lnTo>
                  <a:pt x="168" y="64"/>
                </a:lnTo>
                <a:lnTo>
                  <a:pt x="170" y="66"/>
                </a:lnTo>
                <a:lnTo>
                  <a:pt x="172" y="64"/>
                </a:lnTo>
                <a:lnTo>
                  <a:pt x="172" y="64"/>
                </a:lnTo>
                <a:lnTo>
                  <a:pt x="172" y="62"/>
                </a:lnTo>
                <a:lnTo>
                  <a:pt x="172" y="60"/>
                </a:lnTo>
                <a:lnTo>
                  <a:pt x="172" y="60"/>
                </a:lnTo>
                <a:lnTo>
                  <a:pt x="168" y="60"/>
                </a:lnTo>
                <a:lnTo>
                  <a:pt x="168" y="64"/>
                </a:lnTo>
                <a:lnTo>
                  <a:pt x="168" y="64"/>
                </a:lnTo>
                <a:close/>
                <a:moveTo>
                  <a:pt x="150" y="64"/>
                </a:moveTo>
                <a:lnTo>
                  <a:pt x="150" y="64"/>
                </a:lnTo>
                <a:lnTo>
                  <a:pt x="152" y="66"/>
                </a:lnTo>
                <a:lnTo>
                  <a:pt x="154" y="68"/>
                </a:lnTo>
                <a:lnTo>
                  <a:pt x="156" y="72"/>
                </a:lnTo>
                <a:lnTo>
                  <a:pt x="156" y="72"/>
                </a:lnTo>
                <a:lnTo>
                  <a:pt x="158" y="72"/>
                </a:lnTo>
                <a:lnTo>
                  <a:pt x="160" y="68"/>
                </a:lnTo>
                <a:lnTo>
                  <a:pt x="156" y="62"/>
                </a:lnTo>
                <a:lnTo>
                  <a:pt x="156" y="62"/>
                </a:lnTo>
                <a:lnTo>
                  <a:pt x="152" y="62"/>
                </a:lnTo>
                <a:lnTo>
                  <a:pt x="152" y="62"/>
                </a:lnTo>
                <a:lnTo>
                  <a:pt x="150" y="64"/>
                </a:lnTo>
                <a:lnTo>
                  <a:pt x="150" y="64"/>
                </a:lnTo>
                <a:close/>
                <a:moveTo>
                  <a:pt x="104" y="72"/>
                </a:moveTo>
                <a:lnTo>
                  <a:pt x="104" y="72"/>
                </a:lnTo>
                <a:lnTo>
                  <a:pt x="106" y="72"/>
                </a:lnTo>
                <a:lnTo>
                  <a:pt x="108" y="70"/>
                </a:lnTo>
                <a:lnTo>
                  <a:pt x="108" y="66"/>
                </a:lnTo>
                <a:lnTo>
                  <a:pt x="108" y="66"/>
                </a:lnTo>
                <a:lnTo>
                  <a:pt x="104" y="66"/>
                </a:lnTo>
                <a:lnTo>
                  <a:pt x="104" y="68"/>
                </a:lnTo>
                <a:lnTo>
                  <a:pt x="102" y="70"/>
                </a:lnTo>
                <a:lnTo>
                  <a:pt x="104" y="72"/>
                </a:lnTo>
                <a:lnTo>
                  <a:pt x="104" y="72"/>
                </a:lnTo>
                <a:close/>
                <a:moveTo>
                  <a:pt x="174" y="76"/>
                </a:moveTo>
                <a:lnTo>
                  <a:pt x="174" y="76"/>
                </a:lnTo>
                <a:lnTo>
                  <a:pt x="178" y="74"/>
                </a:lnTo>
                <a:lnTo>
                  <a:pt x="178" y="72"/>
                </a:lnTo>
                <a:lnTo>
                  <a:pt x="178" y="70"/>
                </a:lnTo>
                <a:lnTo>
                  <a:pt x="178" y="70"/>
                </a:lnTo>
                <a:lnTo>
                  <a:pt x="174" y="70"/>
                </a:lnTo>
                <a:lnTo>
                  <a:pt x="172" y="72"/>
                </a:lnTo>
                <a:lnTo>
                  <a:pt x="172" y="74"/>
                </a:lnTo>
                <a:lnTo>
                  <a:pt x="174" y="76"/>
                </a:lnTo>
                <a:lnTo>
                  <a:pt x="174" y="76"/>
                </a:lnTo>
                <a:close/>
                <a:moveTo>
                  <a:pt x="90" y="82"/>
                </a:moveTo>
                <a:lnTo>
                  <a:pt x="90" y="82"/>
                </a:lnTo>
                <a:lnTo>
                  <a:pt x="94" y="82"/>
                </a:lnTo>
                <a:lnTo>
                  <a:pt x="94" y="82"/>
                </a:lnTo>
                <a:lnTo>
                  <a:pt x="94" y="78"/>
                </a:lnTo>
                <a:lnTo>
                  <a:pt x="94" y="76"/>
                </a:lnTo>
                <a:lnTo>
                  <a:pt x="92" y="76"/>
                </a:lnTo>
                <a:lnTo>
                  <a:pt x="92" y="76"/>
                </a:lnTo>
                <a:lnTo>
                  <a:pt x="90" y="78"/>
                </a:lnTo>
                <a:lnTo>
                  <a:pt x="90" y="80"/>
                </a:lnTo>
                <a:lnTo>
                  <a:pt x="90" y="82"/>
                </a:lnTo>
                <a:lnTo>
                  <a:pt x="90" y="82"/>
                </a:lnTo>
                <a:close/>
                <a:moveTo>
                  <a:pt x="34" y="84"/>
                </a:moveTo>
                <a:lnTo>
                  <a:pt x="34" y="84"/>
                </a:lnTo>
                <a:lnTo>
                  <a:pt x="34" y="88"/>
                </a:lnTo>
                <a:lnTo>
                  <a:pt x="34" y="88"/>
                </a:lnTo>
                <a:lnTo>
                  <a:pt x="36" y="90"/>
                </a:lnTo>
                <a:lnTo>
                  <a:pt x="40" y="90"/>
                </a:lnTo>
                <a:lnTo>
                  <a:pt x="40" y="90"/>
                </a:lnTo>
                <a:lnTo>
                  <a:pt x="40" y="86"/>
                </a:lnTo>
                <a:lnTo>
                  <a:pt x="40" y="82"/>
                </a:lnTo>
                <a:lnTo>
                  <a:pt x="40" y="82"/>
                </a:lnTo>
                <a:lnTo>
                  <a:pt x="36" y="82"/>
                </a:lnTo>
                <a:lnTo>
                  <a:pt x="34" y="84"/>
                </a:lnTo>
                <a:lnTo>
                  <a:pt x="34" y="84"/>
                </a:lnTo>
                <a:close/>
                <a:moveTo>
                  <a:pt x="120" y="96"/>
                </a:moveTo>
                <a:lnTo>
                  <a:pt x="120" y="96"/>
                </a:lnTo>
                <a:lnTo>
                  <a:pt x="118" y="92"/>
                </a:lnTo>
                <a:lnTo>
                  <a:pt x="118" y="90"/>
                </a:lnTo>
                <a:lnTo>
                  <a:pt x="114" y="86"/>
                </a:lnTo>
                <a:lnTo>
                  <a:pt x="114" y="86"/>
                </a:lnTo>
                <a:lnTo>
                  <a:pt x="112" y="88"/>
                </a:lnTo>
                <a:lnTo>
                  <a:pt x="112" y="92"/>
                </a:lnTo>
                <a:lnTo>
                  <a:pt x="114" y="96"/>
                </a:lnTo>
                <a:lnTo>
                  <a:pt x="120" y="96"/>
                </a:lnTo>
                <a:lnTo>
                  <a:pt x="120" y="96"/>
                </a:lnTo>
                <a:close/>
                <a:moveTo>
                  <a:pt x="150" y="94"/>
                </a:moveTo>
                <a:lnTo>
                  <a:pt x="150" y="94"/>
                </a:lnTo>
                <a:lnTo>
                  <a:pt x="154" y="94"/>
                </a:lnTo>
                <a:lnTo>
                  <a:pt x="154" y="92"/>
                </a:lnTo>
                <a:lnTo>
                  <a:pt x="154" y="92"/>
                </a:lnTo>
                <a:lnTo>
                  <a:pt x="152" y="90"/>
                </a:lnTo>
                <a:lnTo>
                  <a:pt x="150" y="90"/>
                </a:lnTo>
                <a:lnTo>
                  <a:pt x="150" y="90"/>
                </a:lnTo>
                <a:lnTo>
                  <a:pt x="150" y="94"/>
                </a:lnTo>
                <a:lnTo>
                  <a:pt x="150" y="94"/>
                </a:lnTo>
                <a:close/>
                <a:moveTo>
                  <a:pt x="156" y="104"/>
                </a:moveTo>
                <a:lnTo>
                  <a:pt x="156" y="104"/>
                </a:lnTo>
                <a:lnTo>
                  <a:pt x="162" y="104"/>
                </a:lnTo>
                <a:lnTo>
                  <a:pt x="162" y="104"/>
                </a:lnTo>
                <a:lnTo>
                  <a:pt x="160" y="100"/>
                </a:lnTo>
                <a:lnTo>
                  <a:pt x="162" y="98"/>
                </a:lnTo>
                <a:lnTo>
                  <a:pt x="164" y="96"/>
                </a:lnTo>
                <a:lnTo>
                  <a:pt x="166" y="94"/>
                </a:lnTo>
                <a:lnTo>
                  <a:pt x="166" y="94"/>
                </a:lnTo>
                <a:lnTo>
                  <a:pt x="162" y="94"/>
                </a:lnTo>
                <a:lnTo>
                  <a:pt x="158" y="94"/>
                </a:lnTo>
                <a:lnTo>
                  <a:pt x="158" y="94"/>
                </a:lnTo>
                <a:lnTo>
                  <a:pt x="158" y="98"/>
                </a:lnTo>
                <a:lnTo>
                  <a:pt x="156" y="100"/>
                </a:lnTo>
                <a:lnTo>
                  <a:pt x="156" y="100"/>
                </a:lnTo>
                <a:lnTo>
                  <a:pt x="152" y="98"/>
                </a:lnTo>
                <a:lnTo>
                  <a:pt x="150" y="98"/>
                </a:lnTo>
                <a:lnTo>
                  <a:pt x="150" y="100"/>
                </a:lnTo>
                <a:lnTo>
                  <a:pt x="150" y="100"/>
                </a:lnTo>
                <a:lnTo>
                  <a:pt x="156" y="100"/>
                </a:lnTo>
                <a:lnTo>
                  <a:pt x="156" y="102"/>
                </a:lnTo>
                <a:lnTo>
                  <a:pt x="156" y="104"/>
                </a:lnTo>
                <a:lnTo>
                  <a:pt x="156" y="104"/>
                </a:lnTo>
                <a:close/>
                <a:moveTo>
                  <a:pt x="78" y="114"/>
                </a:moveTo>
                <a:lnTo>
                  <a:pt x="78" y="114"/>
                </a:lnTo>
                <a:lnTo>
                  <a:pt x="82" y="114"/>
                </a:lnTo>
                <a:lnTo>
                  <a:pt x="84" y="112"/>
                </a:lnTo>
                <a:lnTo>
                  <a:pt x="84" y="112"/>
                </a:lnTo>
                <a:lnTo>
                  <a:pt x="82" y="108"/>
                </a:lnTo>
                <a:lnTo>
                  <a:pt x="78" y="108"/>
                </a:lnTo>
                <a:lnTo>
                  <a:pt x="78" y="108"/>
                </a:lnTo>
                <a:lnTo>
                  <a:pt x="76" y="110"/>
                </a:lnTo>
                <a:lnTo>
                  <a:pt x="78" y="114"/>
                </a:lnTo>
                <a:lnTo>
                  <a:pt x="78" y="114"/>
                </a:lnTo>
                <a:close/>
                <a:moveTo>
                  <a:pt x="48" y="112"/>
                </a:moveTo>
                <a:lnTo>
                  <a:pt x="48" y="112"/>
                </a:lnTo>
                <a:lnTo>
                  <a:pt x="46" y="110"/>
                </a:lnTo>
                <a:lnTo>
                  <a:pt x="44" y="110"/>
                </a:lnTo>
                <a:lnTo>
                  <a:pt x="38" y="110"/>
                </a:lnTo>
                <a:lnTo>
                  <a:pt x="38" y="110"/>
                </a:lnTo>
                <a:lnTo>
                  <a:pt x="38" y="112"/>
                </a:lnTo>
                <a:lnTo>
                  <a:pt x="42" y="114"/>
                </a:lnTo>
                <a:lnTo>
                  <a:pt x="46" y="114"/>
                </a:lnTo>
                <a:lnTo>
                  <a:pt x="48" y="112"/>
                </a:lnTo>
                <a:lnTo>
                  <a:pt x="48" y="112"/>
                </a:lnTo>
                <a:close/>
                <a:moveTo>
                  <a:pt x="108" y="118"/>
                </a:moveTo>
                <a:lnTo>
                  <a:pt x="108" y="118"/>
                </a:lnTo>
                <a:lnTo>
                  <a:pt x="110" y="120"/>
                </a:lnTo>
                <a:lnTo>
                  <a:pt x="110" y="122"/>
                </a:lnTo>
                <a:lnTo>
                  <a:pt x="112" y="124"/>
                </a:lnTo>
                <a:lnTo>
                  <a:pt x="114" y="124"/>
                </a:lnTo>
                <a:lnTo>
                  <a:pt x="114" y="124"/>
                </a:lnTo>
                <a:lnTo>
                  <a:pt x="112" y="118"/>
                </a:lnTo>
                <a:lnTo>
                  <a:pt x="114" y="112"/>
                </a:lnTo>
                <a:lnTo>
                  <a:pt x="114" y="112"/>
                </a:lnTo>
                <a:lnTo>
                  <a:pt x="110" y="112"/>
                </a:lnTo>
                <a:lnTo>
                  <a:pt x="108" y="112"/>
                </a:lnTo>
                <a:lnTo>
                  <a:pt x="108" y="116"/>
                </a:lnTo>
                <a:lnTo>
                  <a:pt x="108" y="118"/>
                </a:lnTo>
                <a:lnTo>
                  <a:pt x="108" y="118"/>
                </a:lnTo>
                <a:close/>
                <a:moveTo>
                  <a:pt x="56" y="120"/>
                </a:moveTo>
                <a:lnTo>
                  <a:pt x="56" y="120"/>
                </a:lnTo>
                <a:lnTo>
                  <a:pt x="60" y="120"/>
                </a:lnTo>
                <a:lnTo>
                  <a:pt x="60" y="116"/>
                </a:lnTo>
                <a:lnTo>
                  <a:pt x="60" y="114"/>
                </a:lnTo>
                <a:lnTo>
                  <a:pt x="58" y="112"/>
                </a:lnTo>
                <a:lnTo>
                  <a:pt x="58" y="112"/>
                </a:lnTo>
                <a:lnTo>
                  <a:pt x="58" y="116"/>
                </a:lnTo>
                <a:lnTo>
                  <a:pt x="56" y="120"/>
                </a:lnTo>
                <a:lnTo>
                  <a:pt x="56" y="120"/>
                </a:lnTo>
                <a:close/>
                <a:moveTo>
                  <a:pt x="66" y="118"/>
                </a:moveTo>
                <a:lnTo>
                  <a:pt x="66" y="118"/>
                </a:lnTo>
                <a:lnTo>
                  <a:pt x="70" y="118"/>
                </a:lnTo>
                <a:lnTo>
                  <a:pt x="74" y="116"/>
                </a:lnTo>
                <a:lnTo>
                  <a:pt x="74" y="116"/>
                </a:lnTo>
                <a:lnTo>
                  <a:pt x="70" y="114"/>
                </a:lnTo>
                <a:lnTo>
                  <a:pt x="66" y="114"/>
                </a:lnTo>
                <a:lnTo>
                  <a:pt x="66" y="114"/>
                </a:lnTo>
                <a:lnTo>
                  <a:pt x="66" y="118"/>
                </a:lnTo>
                <a:lnTo>
                  <a:pt x="66" y="118"/>
                </a:lnTo>
                <a:close/>
                <a:moveTo>
                  <a:pt x="154" y="122"/>
                </a:moveTo>
                <a:lnTo>
                  <a:pt x="154" y="122"/>
                </a:lnTo>
                <a:lnTo>
                  <a:pt x="152" y="122"/>
                </a:lnTo>
                <a:lnTo>
                  <a:pt x="150" y="122"/>
                </a:lnTo>
                <a:lnTo>
                  <a:pt x="150" y="122"/>
                </a:lnTo>
                <a:lnTo>
                  <a:pt x="150" y="126"/>
                </a:lnTo>
                <a:lnTo>
                  <a:pt x="150" y="126"/>
                </a:lnTo>
                <a:lnTo>
                  <a:pt x="152" y="128"/>
                </a:lnTo>
                <a:lnTo>
                  <a:pt x="152" y="126"/>
                </a:lnTo>
                <a:lnTo>
                  <a:pt x="154" y="126"/>
                </a:lnTo>
                <a:lnTo>
                  <a:pt x="156" y="126"/>
                </a:lnTo>
                <a:lnTo>
                  <a:pt x="156" y="126"/>
                </a:lnTo>
                <a:lnTo>
                  <a:pt x="152" y="128"/>
                </a:lnTo>
                <a:lnTo>
                  <a:pt x="152" y="132"/>
                </a:lnTo>
                <a:lnTo>
                  <a:pt x="152" y="132"/>
                </a:lnTo>
                <a:lnTo>
                  <a:pt x="156" y="132"/>
                </a:lnTo>
                <a:lnTo>
                  <a:pt x="156" y="132"/>
                </a:lnTo>
                <a:lnTo>
                  <a:pt x="158" y="128"/>
                </a:lnTo>
                <a:lnTo>
                  <a:pt x="158" y="128"/>
                </a:lnTo>
                <a:lnTo>
                  <a:pt x="160" y="126"/>
                </a:lnTo>
                <a:lnTo>
                  <a:pt x="162" y="124"/>
                </a:lnTo>
                <a:lnTo>
                  <a:pt x="162" y="118"/>
                </a:lnTo>
                <a:lnTo>
                  <a:pt x="162" y="118"/>
                </a:lnTo>
                <a:lnTo>
                  <a:pt x="156" y="120"/>
                </a:lnTo>
                <a:lnTo>
                  <a:pt x="154" y="122"/>
                </a:lnTo>
                <a:lnTo>
                  <a:pt x="154" y="122"/>
                </a:lnTo>
                <a:close/>
                <a:moveTo>
                  <a:pt x="132" y="122"/>
                </a:moveTo>
                <a:lnTo>
                  <a:pt x="132" y="122"/>
                </a:lnTo>
                <a:lnTo>
                  <a:pt x="134" y="124"/>
                </a:lnTo>
                <a:lnTo>
                  <a:pt x="134" y="126"/>
                </a:lnTo>
                <a:lnTo>
                  <a:pt x="134" y="126"/>
                </a:lnTo>
                <a:lnTo>
                  <a:pt x="142" y="128"/>
                </a:lnTo>
                <a:lnTo>
                  <a:pt x="144" y="126"/>
                </a:lnTo>
                <a:lnTo>
                  <a:pt x="144" y="122"/>
                </a:lnTo>
                <a:lnTo>
                  <a:pt x="144" y="122"/>
                </a:lnTo>
                <a:lnTo>
                  <a:pt x="138" y="122"/>
                </a:lnTo>
                <a:lnTo>
                  <a:pt x="132" y="122"/>
                </a:lnTo>
                <a:lnTo>
                  <a:pt x="132" y="122"/>
                </a:lnTo>
                <a:close/>
                <a:moveTo>
                  <a:pt x="72" y="130"/>
                </a:moveTo>
                <a:lnTo>
                  <a:pt x="72" y="130"/>
                </a:lnTo>
                <a:lnTo>
                  <a:pt x="72" y="132"/>
                </a:lnTo>
                <a:lnTo>
                  <a:pt x="72" y="132"/>
                </a:lnTo>
                <a:lnTo>
                  <a:pt x="76" y="132"/>
                </a:lnTo>
                <a:lnTo>
                  <a:pt x="76" y="132"/>
                </a:lnTo>
                <a:lnTo>
                  <a:pt x="76" y="130"/>
                </a:lnTo>
                <a:lnTo>
                  <a:pt x="74" y="128"/>
                </a:lnTo>
                <a:lnTo>
                  <a:pt x="72" y="130"/>
                </a:lnTo>
                <a:lnTo>
                  <a:pt x="72" y="130"/>
                </a:lnTo>
                <a:close/>
                <a:moveTo>
                  <a:pt x="52" y="134"/>
                </a:moveTo>
                <a:lnTo>
                  <a:pt x="52" y="134"/>
                </a:lnTo>
                <a:lnTo>
                  <a:pt x="52" y="136"/>
                </a:lnTo>
                <a:lnTo>
                  <a:pt x="56" y="136"/>
                </a:lnTo>
                <a:lnTo>
                  <a:pt x="58" y="134"/>
                </a:lnTo>
                <a:lnTo>
                  <a:pt x="58" y="132"/>
                </a:lnTo>
                <a:lnTo>
                  <a:pt x="58" y="132"/>
                </a:lnTo>
                <a:lnTo>
                  <a:pt x="54" y="132"/>
                </a:lnTo>
                <a:lnTo>
                  <a:pt x="52" y="134"/>
                </a:lnTo>
                <a:lnTo>
                  <a:pt x="52" y="134"/>
                </a:lnTo>
                <a:close/>
                <a:moveTo>
                  <a:pt x="160" y="138"/>
                </a:moveTo>
                <a:lnTo>
                  <a:pt x="160" y="138"/>
                </a:lnTo>
                <a:lnTo>
                  <a:pt x="162" y="142"/>
                </a:lnTo>
                <a:lnTo>
                  <a:pt x="162" y="142"/>
                </a:lnTo>
                <a:lnTo>
                  <a:pt x="164" y="142"/>
                </a:lnTo>
                <a:lnTo>
                  <a:pt x="166" y="138"/>
                </a:lnTo>
                <a:lnTo>
                  <a:pt x="166" y="138"/>
                </a:lnTo>
                <a:lnTo>
                  <a:pt x="160" y="138"/>
                </a:lnTo>
                <a:lnTo>
                  <a:pt x="160" y="138"/>
                </a:lnTo>
                <a:close/>
                <a:moveTo>
                  <a:pt x="28" y="142"/>
                </a:moveTo>
                <a:lnTo>
                  <a:pt x="28" y="142"/>
                </a:lnTo>
                <a:lnTo>
                  <a:pt x="30" y="144"/>
                </a:lnTo>
                <a:lnTo>
                  <a:pt x="32" y="142"/>
                </a:lnTo>
                <a:lnTo>
                  <a:pt x="36" y="142"/>
                </a:lnTo>
                <a:lnTo>
                  <a:pt x="36" y="142"/>
                </a:lnTo>
                <a:lnTo>
                  <a:pt x="34" y="138"/>
                </a:lnTo>
                <a:lnTo>
                  <a:pt x="32" y="138"/>
                </a:lnTo>
                <a:lnTo>
                  <a:pt x="28" y="140"/>
                </a:lnTo>
                <a:lnTo>
                  <a:pt x="28" y="142"/>
                </a:lnTo>
                <a:lnTo>
                  <a:pt x="28" y="142"/>
                </a:lnTo>
                <a:close/>
                <a:moveTo>
                  <a:pt x="126" y="146"/>
                </a:moveTo>
                <a:lnTo>
                  <a:pt x="126" y="146"/>
                </a:lnTo>
                <a:lnTo>
                  <a:pt x="124" y="144"/>
                </a:lnTo>
                <a:lnTo>
                  <a:pt x="124" y="144"/>
                </a:lnTo>
                <a:lnTo>
                  <a:pt x="120" y="144"/>
                </a:lnTo>
                <a:lnTo>
                  <a:pt x="120" y="144"/>
                </a:lnTo>
                <a:lnTo>
                  <a:pt x="120" y="148"/>
                </a:lnTo>
                <a:lnTo>
                  <a:pt x="122" y="150"/>
                </a:lnTo>
                <a:lnTo>
                  <a:pt x="124" y="148"/>
                </a:lnTo>
                <a:lnTo>
                  <a:pt x="126" y="146"/>
                </a:lnTo>
                <a:lnTo>
                  <a:pt x="126" y="146"/>
                </a:lnTo>
                <a:close/>
                <a:moveTo>
                  <a:pt x="130" y="152"/>
                </a:moveTo>
                <a:lnTo>
                  <a:pt x="130" y="152"/>
                </a:lnTo>
                <a:lnTo>
                  <a:pt x="132" y="152"/>
                </a:lnTo>
                <a:lnTo>
                  <a:pt x="132" y="152"/>
                </a:lnTo>
                <a:lnTo>
                  <a:pt x="132" y="152"/>
                </a:lnTo>
                <a:lnTo>
                  <a:pt x="134" y="150"/>
                </a:lnTo>
                <a:lnTo>
                  <a:pt x="136" y="148"/>
                </a:lnTo>
                <a:lnTo>
                  <a:pt x="136" y="148"/>
                </a:lnTo>
                <a:lnTo>
                  <a:pt x="134" y="146"/>
                </a:lnTo>
                <a:lnTo>
                  <a:pt x="132" y="146"/>
                </a:lnTo>
                <a:lnTo>
                  <a:pt x="130" y="148"/>
                </a:lnTo>
                <a:lnTo>
                  <a:pt x="130" y="152"/>
                </a:lnTo>
                <a:lnTo>
                  <a:pt x="130" y="152"/>
                </a:lnTo>
                <a:close/>
                <a:moveTo>
                  <a:pt x="72" y="152"/>
                </a:moveTo>
                <a:lnTo>
                  <a:pt x="72" y="152"/>
                </a:lnTo>
                <a:lnTo>
                  <a:pt x="74" y="154"/>
                </a:lnTo>
                <a:lnTo>
                  <a:pt x="78" y="152"/>
                </a:lnTo>
                <a:lnTo>
                  <a:pt x="84" y="150"/>
                </a:lnTo>
                <a:lnTo>
                  <a:pt x="84" y="150"/>
                </a:lnTo>
                <a:lnTo>
                  <a:pt x="84" y="148"/>
                </a:lnTo>
                <a:lnTo>
                  <a:pt x="82" y="148"/>
                </a:lnTo>
                <a:lnTo>
                  <a:pt x="78" y="148"/>
                </a:lnTo>
                <a:lnTo>
                  <a:pt x="74" y="148"/>
                </a:lnTo>
                <a:lnTo>
                  <a:pt x="72" y="152"/>
                </a:lnTo>
                <a:lnTo>
                  <a:pt x="72" y="152"/>
                </a:lnTo>
                <a:close/>
                <a:moveTo>
                  <a:pt x="142" y="160"/>
                </a:moveTo>
                <a:lnTo>
                  <a:pt x="142" y="160"/>
                </a:lnTo>
                <a:lnTo>
                  <a:pt x="146" y="160"/>
                </a:lnTo>
                <a:lnTo>
                  <a:pt x="148" y="160"/>
                </a:lnTo>
                <a:lnTo>
                  <a:pt x="150" y="160"/>
                </a:lnTo>
                <a:lnTo>
                  <a:pt x="150" y="160"/>
                </a:lnTo>
                <a:lnTo>
                  <a:pt x="150" y="156"/>
                </a:lnTo>
                <a:lnTo>
                  <a:pt x="146" y="154"/>
                </a:lnTo>
                <a:lnTo>
                  <a:pt x="142" y="156"/>
                </a:lnTo>
                <a:lnTo>
                  <a:pt x="142" y="160"/>
                </a:lnTo>
                <a:lnTo>
                  <a:pt x="142" y="160"/>
                </a:lnTo>
                <a:close/>
                <a:moveTo>
                  <a:pt x="190" y="156"/>
                </a:moveTo>
                <a:lnTo>
                  <a:pt x="190" y="156"/>
                </a:lnTo>
                <a:lnTo>
                  <a:pt x="184" y="156"/>
                </a:lnTo>
                <a:lnTo>
                  <a:pt x="184" y="156"/>
                </a:lnTo>
                <a:lnTo>
                  <a:pt x="184" y="158"/>
                </a:lnTo>
                <a:lnTo>
                  <a:pt x="186" y="158"/>
                </a:lnTo>
                <a:lnTo>
                  <a:pt x="188" y="158"/>
                </a:lnTo>
                <a:lnTo>
                  <a:pt x="190" y="156"/>
                </a:lnTo>
                <a:lnTo>
                  <a:pt x="190" y="156"/>
                </a:lnTo>
                <a:close/>
                <a:moveTo>
                  <a:pt x="166" y="166"/>
                </a:moveTo>
                <a:lnTo>
                  <a:pt x="166" y="166"/>
                </a:lnTo>
                <a:lnTo>
                  <a:pt x="162" y="158"/>
                </a:lnTo>
                <a:lnTo>
                  <a:pt x="162" y="158"/>
                </a:lnTo>
                <a:lnTo>
                  <a:pt x="158" y="158"/>
                </a:lnTo>
                <a:lnTo>
                  <a:pt x="158" y="158"/>
                </a:lnTo>
                <a:lnTo>
                  <a:pt x="160" y="164"/>
                </a:lnTo>
                <a:lnTo>
                  <a:pt x="162" y="168"/>
                </a:lnTo>
                <a:lnTo>
                  <a:pt x="166" y="166"/>
                </a:lnTo>
                <a:lnTo>
                  <a:pt x="166" y="166"/>
                </a:lnTo>
                <a:close/>
                <a:moveTo>
                  <a:pt x="178" y="162"/>
                </a:moveTo>
                <a:lnTo>
                  <a:pt x="178" y="162"/>
                </a:lnTo>
                <a:lnTo>
                  <a:pt x="178" y="162"/>
                </a:lnTo>
                <a:lnTo>
                  <a:pt x="176" y="162"/>
                </a:lnTo>
                <a:lnTo>
                  <a:pt x="172" y="160"/>
                </a:lnTo>
                <a:lnTo>
                  <a:pt x="172" y="160"/>
                </a:lnTo>
                <a:lnTo>
                  <a:pt x="172" y="164"/>
                </a:lnTo>
                <a:lnTo>
                  <a:pt x="174" y="166"/>
                </a:lnTo>
                <a:lnTo>
                  <a:pt x="178" y="166"/>
                </a:lnTo>
                <a:lnTo>
                  <a:pt x="178" y="162"/>
                </a:lnTo>
                <a:lnTo>
                  <a:pt x="178" y="162"/>
                </a:lnTo>
                <a:close/>
                <a:moveTo>
                  <a:pt x="78" y="166"/>
                </a:moveTo>
                <a:lnTo>
                  <a:pt x="78" y="166"/>
                </a:lnTo>
                <a:lnTo>
                  <a:pt x="76" y="164"/>
                </a:lnTo>
                <a:lnTo>
                  <a:pt x="74" y="162"/>
                </a:lnTo>
                <a:lnTo>
                  <a:pt x="74" y="162"/>
                </a:lnTo>
                <a:lnTo>
                  <a:pt x="74" y="166"/>
                </a:lnTo>
                <a:lnTo>
                  <a:pt x="74" y="166"/>
                </a:lnTo>
                <a:lnTo>
                  <a:pt x="78" y="166"/>
                </a:lnTo>
                <a:lnTo>
                  <a:pt x="78" y="166"/>
                </a:lnTo>
                <a:close/>
              </a:path>
            </a:pathLst>
          </a:custGeom>
          <a:solidFill>
            <a:srgbClr val="968C6D"/>
          </a:solidFill>
          <a:ln>
            <a:noFill/>
          </a:ln>
        </p:spPr>
        <p:txBody>
          <a:bodyPr vert="horz" wrap="square" lIns="80147" tIns="40074" rIns="80147" bIns="40074" numCol="1" anchor="t" anchorCtr="0" compatLnSpc="1">
            <a:prstTxWarp prst="textNoShape">
              <a:avLst/>
            </a:prstTxWarp>
          </a:bodyPr>
          <a:lstStyle/>
          <a:p>
            <a:endParaRPr lang="en-GB"/>
          </a:p>
        </p:txBody>
      </p:sp>
      <p:sp>
        <p:nvSpPr>
          <p:cNvPr id="21" name="Freeform 114">
            <a:extLst>
              <a:ext uri="{FF2B5EF4-FFF2-40B4-BE49-F238E27FC236}">
                <a16:creationId xmlns:a16="http://schemas.microsoft.com/office/drawing/2014/main" id="{2F5E0AAF-9C18-41F3-A38F-D19B4F560E01}"/>
              </a:ext>
            </a:extLst>
          </p:cNvPr>
          <p:cNvSpPr>
            <a:spLocks/>
          </p:cNvSpPr>
          <p:nvPr/>
        </p:nvSpPr>
        <p:spPr bwMode="auto">
          <a:xfrm>
            <a:off x="4507165" y="4713389"/>
            <a:ext cx="289928" cy="693708"/>
          </a:xfrm>
          <a:custGeom>
            <a:avLst/>
            <a:gdLst>
              <a:gd name="T0" fmla="*/ 130 w 516"/>
              <a:gd name="T1" fmla="*/ 1026 h 1164"/>
              <a:gd name="T2" fmla="*/ 144 w 516"/>
              <a:gd name="T3" fmla="*/ 996 h 1164"/>
              <a:gd name="T4" fmla="*/ 180 w 516"/>
              <a:gd name="T5" fmla="*/ 938 h 1164"/>
              <a:gd name="T6" fmla="*/ 202 w 516"/>
              <a:gd name="T7" fmla="*/ 870 h 1164"/>
              <a:gd name="T8" fmla="*/ 228 w 516"/>
              <a:gd name="T9" fmla="*/ 744 h 1164"/>
              <a:gd name="T10" fmla="*/ 244 w 516"/>
              <a:gd name="T11" fmla="*/ 642 h 1164"/>
              <a:gd name="T12" fmla="*/ 220 w 516"/>
              <a:gd name="T13" fmla="*/ 592 h 1164"/>
              <a:gd name="T14" fmla="*/ 202 w 516"/>
              <a:gd name="T15" fmla="*/ 542 h 1164"/>
              <a:gd name="T16" fmla="*/ 224 w 516"/>
              <a:gd name="T17" fmla="*/ 480 h 1164"/>
              <a:gd name="T18" fmla="*/ 236 w 516"/>
              <a:gd name="T19" fmla="*/ 396 h 1164"/>
              <a:gd name="T20" fmla="*/ 274 w 516"/>
              <a:gd name="T21" fmla="*/ 298 h 1164"/>
              <a:gd name="T22" fmla="*/ 298 w 516"/>
              <a:gd name="T23" fmla="*/ 206 h 1164"/>
              <a:gd name="T24" fmla="*/ 312 w 516"/>
              <a:gd name="T25" fmla="*/ 176 h 1164"/>
              <a:gd name="T26" fmla="*/ 276 w 516"/>
              <a:gd name="T27" fmla="*/ 164 h 1164"/>
              <a:gd name="T28" fmla="*/ 256 w 516"/>
              <a:gd name="T29" fmla="*/ 142 h 1164"/>
              <a:gd name="T30" fmla="*/ 252 w 516"/>
              <a:gd name="T31" fmla="*/ 122 h 1164"/>
              <a:gd name="T32" fmla="*/ 240 w 516"/>
              <a:gd name="T33" fmla="*/ 112 h 1164"/>
              <a:gd name="T34" fmla="*/ 250 w 516"/>
              <a:gd name="T35" fmla="*/ 80 h 1164"/>
              <a:gd name="T36" fmla="*/ 254 w 516"/>
              <a:gd name="T37" fmla="*/ 48 h 1164"/>
              <a:gd name="T38" fmla="*/ 246 w 516"/>
              <a:gd name="T39" fmla="*/ 46 h 1164"/>
              <a:gd name="T40" fmla="*/ 248 w 516"/>
              <a:gd name="T41" fmla="*/ 40 h 1164"/>
              <a:gd name="T42" fmla="*/ 258 w 516"/>
              <a:gd name="T43" fmla="*/ 30 h 1164"/>
              <a:gd name="T44" fmla="*/ 270 w 516"/>
              <a:gd name="T45" fmla="*/ 20 h 1164"/>
              <a:gd name="T46" fmla="*/ 296 w 516"/>
              <a:gd name="T47" fmla="*/ 6 h 1164"/>
              <a:gd name="T48" fmla="*/ 310 w 516"/>
              <a:gd name="T49" fmla="*/ 2 h 1164"/>
              <a:gd name="T50" fmla="*/ 322 w 516"/>
              <a:gd name="T51" fmla="*/ 0 h 1164"/>
              <a:gd name="T52" fmla="*/ 338 w 516"/>
              <a:gd name="T53" fmla="*/ 2 h 1164"/>
              <a:gd name="T54" fmla="*/ 358 w 516"/>
              <a:gd name="T55" fmla="*/ 14 h 1164"/>
              <a:gd name="T56" fmla="*/ 376 w 516"/>
              <a:gd name="T57" fmla="*/ 26 h 1164"/>
              <a:gd name="T58" fmla="*/ 386 w 516"/>
              <a:gd name="T59" fmla="*/ 52 h 1164"/>
              <a:gd name="T60" fmla="*/ 384 w 516"/>
              <a:gd name="T61" fmla="*/ 68 h 1164"/>
              <a:gd name="T62" fmla="*/ 382 w 516"/>
              <a:gd name="T63" fmla="*/ 78 h 1164"/>
              <a:gd name="T64" fmla="*/ 374 w 516"/>
              <a:gd name="T65" fmla="*/ 106 h 1164"/>
              <a:gd name="T66" fmla="*/ 378 w 516"/>
              <a:gd name="T67" fmla="*/ 142 h 1164"/>
              <a:gd name="T68" fmla="*/ 440 w 516"/>
              <a:gd name="T69" fmla="*/ 224 h 1164"/>
              <a:gd name="T70" fmla="*/ 462 w 516"/>
              <a:gd name="T71" fmla="*/ 426 h 1164"/>
              <a:gd name="T72" fmla="*/ 460 w 516"/>
              <a:gd name="T73" fmla="*/ 588 h 1164"/>
              <a:gd name="T74" fmla="*/ 444 w 516"/>
              <a:gd name="T75" fmla="*/ 652 h 1164"/>
              <a:gd name="T76" fmla="*/ 452 w 516"/>
              <a:gd name="T77" fmla="*/ 706 h 1164"/>
              <a:gd name="T78" fmla="*/ 472 w 516"/>
              <a:gd name="T79" fmla="*/ 792 h 1164"/>
              <a:gd name="T80" fmla="*/ 484 w 516"/>
              <a:gd name="T81" fmla="*/ 862 h 1164"/>
              <a:gd name="T82" fmla="*/ 500 w 516"/>
              <a:gd name="T83" fmla="*/ 940 h 1164"/>
              <a:gd name="T84" fmla="*/ 514 w 516"/>
              <a:gd name="T85" fmla="*/ 1070 h 1164"/>
              <a:gd name="T86" fmla="*/ 504 w 516"/>
              <a:gd name="T87" fmla="*/ 1150 h 1164"/>
              <a:gd name="T88" fmla="*/ 440 w 516"/>
              <a:gd name="T89" fmla="*/ 1154 h 1164"/>
              <a:gd name="T90" fmla="*/ 312 w 516"/>
              <a:gd name="T91" fmla="*/ 1150 h 1164"/>
              <a:gd name="T92" fmla="*/ 380 w 516"/>
              <a:gd name="T93" fmla="*/ 1124 h 1164"/>
              <a:gd name="T94" fmla="*/ 406 w 516"/>
              <a:gd name="T95" fmla="*/ 1094 h 1164"/>
              <a:gd name="T96" fmla="*/ 426 w 516"/>
              <a:gd name="T97" fmla="*/ 1040 h 1164"/>
              <a:gd name="T98" fmla="*/ 420 w 516"/>
              <a:gd name="T99" fmla="*/ 980 h 1164"/>
              <a:gd name="T100" fmla="*/ 382 w 516"/>
              <a:gd name="T101" fmla="*/ 880 h 1164"/>
              <a:gd name="T102" fmla="*/ 358 w 516"/>
              <a:gd name="T103" fmla="*/ 798 h 1164"/>
              <a:gd name="T104" fmla="*/ 322 w 516"/>
              <a:gd name="T105" fmla="*/ 824 h 1164"/>
              <a:gd name="T106" fmla="*/ 280 w 516"/>
              <a:gd name="T107" fmla="*/ 914 h 1164"/>
              <a:gd name="T108" fmla="*/ 216 w 516"/>
              <a:gd name="T109" fmla="*/ 1034 h 1164"/>
              <a:gd name="T110" fmla="*/ 202 w 516"/>
              <a:gd name="T111" fmla="*/ 1094 h 1164"/>
              <a:gd name="T112" fmla="*/ 162 w 516"/>
              <a:gd name="T113" fmla="*/ 1130 h 1164"/>
              <a:gd name="T114" fmla="*/ 56 w 516"/>
              <a:gd name="T115" fmla="*/ 1098 h 1164"/>
              <a:gd name="T116" fmla="*/ 12 w 516"/>
              <a:gd name="T117" fmla="*/ 1060 h 1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6" h="1164">
                <a:moveTo>
                  <a:pt x="104" y="1052"/>
                </a:moveTo>
                <a:lnTo>
                  <a:pt x="104" y="1052"/>
                </a:lnTo>
                <a:lnTo>
                  <a:pt x="108" y="1052"/>
                </a:lnTo>
                <a:lnTo>
                  <a:pt x="112" y="1048"/>
                </a:lnTo>
                <a:lnTo>
                  <a:pt x="116" y="1042"/>
                </a:lnTo>
                <a:lnTo>
                  <a:pt x="116" y="1042"/>
                </a:lnTo>
                <a:lnTo>
                  <a:pt x="122" y="1032"/>
                </a:lnTo>
                <a:lnTo>
                  <a:pt x="130" y="1026"/>
                </a:lnTo>
                <a:lnTo>
                  <a:pt x="130" y="1026"/>
                </a:lnTo>
                <a:lnTo>
                  <a:pt x="136" y="1024"/>
                </a:lnTo>
                <a:lnTo>
                  <a:pt x="142" y="1024"/>
                </a:lnTo>
                <a:lnTo>
                  <a:pt x="142" y="1024"/>
                </a:lnTo>
                <a:lnTo>
                  <a:pt x="142" y="1016"/>
                </a:lnTo>
                <a:lnTo>
                  <a:pt x="142" y="1010"/>
                </a:lnTo>
                <a:lnTo>
                  <a:pt x="142" y="1004"/>
                </a:lnTo>
                <a:lnTo>
                  <a:pt x="144" y="996"/>
                </a:lnTo>
                <a:lnTo>
                  <a:pt x="144" y="996"/>
                </a:lnTo>
                <a:lnTo>
                  <a:pt x="152" y="986"/>
                </a:lnTo>
                <a:lnTo>
                  <a:pt x="158" y="978"/>
                </a:lnTo>
                <a:lnTo>
                  <a:pt x="166" y="970"/>
                </a:lnTo>
                <a:lnTo>
                  <a:pt x="172" y="960"/>
                </a:lnTo>
                <a:lnTo>
                  <a:pt x="172" y="960"/>
                </a:lnTo>
                <a:lnTo>
                  <a:pt x="178" y="950"/>
                </a:lnTo>
                <a:lnTo>
                  <a:pt x="180" y="938"/>
                </a:lnTo>
                <a:lnTo>
                  <a:pt x="182" y="924"/>
                </a:lnTo>
                <a:lnTo>
                  <a:pt x="188" y="908"/>
                </a:lnTo>
                <a:lnTo>
                  <a:pt x="188" y="908"/>
                </a:lnTo>
                <a:lnTo>
                  <a:pt x="192" y="896"/>
                </a:lnTo>
                <a:lnTo>
                  <a:pt x="194" y="890"/>
                </a:lnTo>
                <a:lnTo>
                  <a:pt x="196" y="882"/>
                </a:lnTo>
                <a:lnTo>
                  <a:pt x="196" y="882"/>
                </a:lnTo>
                <a:lnTo>
                  <a:pt x="202" y="870"/>
                </a:lnTo>
                <a:lnTo>
                  <a:pt x="204" y="858"/>
                </a:lnTo>
                <a:lnTo>
                  <a:pt x="210" y="834"/>
                </a:lnTo>
                <a:lnTo>
                  <a:pt x="210" y="834"/>
                </a:lnTo>
                <a:lnTo>
                  <a:pt x="216" y="802"/>
                </a:lnTo>
                <a:lnTo>
                  <a:pt x="220" y="770"/>
                </a:lnTo>
                <a:lnTo>
                  <a:pt x="220" y="770"/>
                </a:lnTo>
                <a:lnTo>
                  <a:pt x="224" y="756"/>
                </a:lnTo>
                <a:lnTo>
                  <a:pt x="228" y="744"/>
                </a:lnTo>
                <a:lnTo>
                  <a:pt x="228" y="744"/>
                </a:lnTo>
                <a:lnTo>
                  <a:pt x="232" y="726"/>
                </a:lnTo>
                <a:lnTo>
                  <a:pt x="234" y="710"/>
                </a:lnTo>
                <a:lnTo>
                  <a:pt x="240" y="674"/>
                </a:lnTo>
                <a:lnTo>
                  <a:pt x="240" y="674"/>
                </a:lnTo>
                <a:lnTo>
                  <a:pt x="244" y="658"/>
                </a:lnTo>
                <a:lnTo>
                  <a:pt x="244" y="650"/>
                </a:lnTo>
                <a:lnTo>
                  <a:pt x="244" y="642"/>
                </a:lnTo>
                <a:lnTo>
                  <a:pt x="244" y="642"/>
                </a:lnTo>
                <a:lnTo>
                  <a:pt x="236" y="634"/>
                </a:lnTo>
                <a:lnTo>
                  <a:pt x="234" y="628"/>
                </a:lnTo>
                <a:lnTo>
                  <a:pt x="232" y="622"/>
                </a:lnTo>
                <a:lnTo>
                  <a:pt x="232" y="622"/>
                </a:lnTo>
                <a:lnTo>
                  <a:pt x="226" y="590"/>
                </a:lnTo>
                <a:lnTo>
                  <a:pt x="226" y="590"/>
                </a:lnTo>
                <a:lnTo>
                  <a:pt x="220" y="592"/>
                </a:lnTo>
                <a:lnTo>
                  <a:pt x="212" y="594"/>
                </a:lnTo>
                <a:lnTo>
                  <a:pt x="206" y="594"/>
                </a:lnTo>
                <a:lnTo>
                  <a:pt x="202" y="594"/>
                </a:lnTo>
                <a:lnTo>
                  <a:pt x="202" y="592"/>
                </a:lnTo>
                <a:lnTo>
                  <a:pt x="202" y="592"/>
                </a:lnTo>
                <a:lnTo>
                  <a:pt x="202" y="578"/>
                </a:lnTo>
                <a:lnTo>
                  <a:pt x="202" y="562"/>
                </a:lnTo>
                <a:lnTo>
                  <a:pt x="202" y="542"/>
                </a:lnTo>
                <a:lnTo>
                  <a:pt x="202" y="542"/>
                </a:lnTo>
                <a:lnTo>
                  <a:pt x="206" y="536"/>
                </a:lnTo>
                <a:lnTo>
                  <a:pt x="210" y="530"/>
                </a:lnTo>
                <a:lnTo>
                  <a:pt x="216" y="518"/>
                </a:lnTo>
                <a:lnTo>
                  <a:pt x="216" y="518"/>
                </a:lnTo>
                <a:lnTo>
                  <a:pt x="220" y="508"/>
                </a:lnTo>
                <a:lnTo>
                  <a:pt x="222" y="498"/>
                </a:lnTo>
                <a:lnTo>
                  <a:pt x="224" y="480"/>
                </a:lnTo>
                <a:lnTo>
                  <a:pt x="226" y="462"/>
                </a:lnTo>
                <a:lnTo>
                  <a:pt x="228" y="442"/>
                </a:lnTo>
                <a:lnTo>
                  <a:pt x="228" y="442"/>
                </a:lnTo>
                <a:lnTo>
                  <a:pt x="228" y="424"/>
                </a:lnTo>
                <a:lnTo>
                  <a:pt x="228" y="414"/>
                </a:lnTo>
                <a:lnTo>
                  <a:pt x="230" y="406"/>
                </a:lnTo>
                <a:lnTo>
                  <a:pt x="230" y="406"/>
                </a:lnTo>
                <a:lnTo>
                  <a:pt x="236" y="396"/>
                </a:lnTo>
                <a:lnTo>
                  <a:pt x="242" y="384"/>
                </a:lnTo>
                <a:lnTo>
                  <a:pt x="242" y="384"/>
                </a:lnTo>
                <a:lnTo>
                  <a:pt x="250" y="368"/>
                </a:lnTo>
                <a:lnTo>
                  <a:pt x="254" y="350"/>
                </a:lnTo>
                <a:lnTo>
                  <a:pt x="266" y="314"/>
                </a:lnTo>
                <a:lnTo>
                  <a:pt x="266" y="314"/>
                </a:lnTo>
                <a:lnTo>
                  <a:pt x="270" y="304"/>
                </a:lnTo>
                <a:lnTo>
                  <a:pt x="274" y="298"/>
                </a:lnTo>
                <a:lnTo>
                  <a:pt x="276" y="292"/>
                </a:lnTo>
                <a:lnTo>
                  <a:pt x="278" y="284"/>
                </a:lnTo>
                <a:lnTo>
                  <a:pt x="278" y="284"/>
                </a:lnTo>
                <a:lnTo>
                  <a:pt x="282" y="262"/>
                </a:lnTo>
                <a:lnTo>
                  <a:pt x="288" y="238"/>
                </a:lnTo>
                <a:lnTo>
                  <a:pt x="288" y="238"/>
                </a:lnTo>
                <a:lnTo>
                  <a:pt x="294" y="222"/>
                </a:lnTo>
                <a:lnTo>
                  <a:pt x="298" y="206"/>
                </a:lnTo>
                <a:lnTo>
                  <a:pt x="298" y="206"/>
                </a:lnTo>
                <a:lnTo>
                  <a:pt x="304" y="198"/>
                </a:lnTo>
                <a:lnTo>
                  <a:pt x="304" y="198"/>
                </a:lnTo>
                <a:lnTo>
                  <a:pt x="308" y="192"/>
                </a:lnTo>
                <a:lnTo>
                  <a:pt x="312" y="184"/>
                </a:lnTo>
                <a:lnTo>
                  <a:pt x="312" y="184"/>
                </a:lnTo>
                <a:lnTo>
                  <a:pt x="312" y="176"/>
                </a:lnTo>
                <a:lnTo>
                  <a:pt x="312" y="176"/>
                </a:lnTo>
                <a:lnTo>
                  <a:pt x="310" y="172"/>
                </a:lnTo>
                <a:lnTo>
                  <a:pt x="310" y="172"/>
                </a:lnTo>
                <a:lnTo>
                  <a:pt x="302" y="168"/>
                </a:lnTo>
                <a:lnTo>
                  <a:pt x="302" y="168"/>
                </a:lnTo>
                <a:lnTo>
                  <a:pt x="296" y="164"/>
                </a:lnTo>
                <a:lnTo>
                  <a:pt x="292" y="164"/>
                </a:lnTo>
                <a:lnTo>
                  <a:pt x="276" y="164"/>
                </a:lnTo>
                <a:lnTo>
                  <a:pt x="276" y="164"/>
                </a:lnTo>
                <a:lnTo>
                  <a:pt x="270" y="164"/>
                </a:lnTo>
                <a:lnTo>
                  <a:pt x="266" y="162"/>
                </a:lnTo>
                <a:lnTo>
                  <a:pt x="260" y="156"/>
                </a:lnTo>
                <a:lnTo>
                  <a:pt x="258" y="152"/>
                </a:lnTo>
                <a:lnTo>
                  <a:pt x="258" y="148"/>
                </a:lnTo>
                <a:lnTo>
                  <a:pt x="258" y="148"/>
                </a:lnTo>
                <a:lnTo>
                  <a:pt x="258" y="144"/>
                </a:lnTo>
                <a:lnTo>
                  <a:pt x="256" y="142"/>
                </a:lnTo>
                <a:lnTo>
                  <a:pt x="256" y="142"/>
                </a:lnTo>
                <a:lnTo>
                  <a:pt x="254" y="138"/>
                </a:lnTo>
                <a:lnTo>
                  <a:pt x="254" y="134"/>
                </a:lnTo>
                <a:lnTo>
                  <a:pt x="254" y="134"/>
                </a:lnTo>
                <a:lnTo>
                  <a:pt x="254" y="132"/>
                </a:lnTo>
                <a:lnTo>
                  <a:pt x="254" y="130"/>
                </a:lnTo>
                <a:lnTo>
                  <a:pt x="254" y="130"/>
                </a:lnTo>
                <a:lnTo>
                  <a:pt x="252" y="122"/>
                </a:lnTo>
                <a:lnTo>
                  <a:pt x="252" y="122"/>
                </a:lnTo>
                <a:lnTo>
                  <a:pt x="250" y="120"/>
                </a:lnTo>
                <a:lnTo>
                  <a:pt x="244" y="120"/>
                </a:lnTo>
                <a:lnTo>
                  <a:pt x="244" y="120"/>
                </a:lnTo>
                <a:lnTo>
                  <a:pt x="242" y="118"/>
                </a:lnTo>
                <a:lnTo>
                  <a:pt x="240" y="116"/>
                </a:lnTo>
                <a:lnTo>
                  <a:pt x="240" y="112"/>
                </a:lnTo>
                <a:lnTo>
                  <a:pt x="240" y="112"/>
                </a:lnTo>
                <a:lnTo>
                  <a:pt x="250" y="98"/>
                </a:lnTo>
                <a:lnTo>
                  <a:pt x="252" y="92"/>
                </a:lnTo>
                <a:lnTo>
                  <a:pt x="252" y="92"/>
                </a:lnTo>
                <a:lnTo>
                  <a:pt x="254" y="90"/>
                </a:lnTo>
                <a:lnTo>
                  <a:pt x="254" y="86"/>
                </a:lnTo>
                <a:lnTo>
                  <a:pt x="252" y="82"/>
                </a:lnTo>
                <a:lnTo>
                  <a:pt x="252" y="82"/>
                </a:lnTo>
                <a:lnTo>
                  <a:pt x="250" y="80"/>
                </a:lnTo>
                <a:lnTo>
                  <a:pt x="250" y="76"/>
                </a:lnTo>
                <a:lnTo>
                  <a:pt x="250" y="76"/>
                </a:lnTo>
                <a:lnTo>
                  <a:pt x="252" y="62"/>
                </a:lnTo>
                <a:lnTo>
                  <a:pt x="254" y="50"/>
                </a:lnTo>
                <a:lnTo>
                  <a:pt x="254" y="50"/>
                </a:lnTo>
                <a:lnTo>
                  <a:pt x="256" y="48"/>
                </a:lnTo>
                <a:lnTo>
                  <a:pt x="254" y="48"/>
                </a:lnTo>
                <a:lnTo>
                  <a:pt x="254" y="48"/>
                </a:lnTo>
                <a:lnTo>
                  <a:pt x="252" y="48"/>
                </a:lnTo>
                <a:lnTo>
                  <a:pt x="252" y="50"/>
                </a:lnTo>
                <a:lnTo>
                  <a:pt x="252" y="50"/>
                </a:lnTo>
                <a:lnTo>
                  <a:pt x="250" y="48"/>
                </a:lnTo>
                <a:lnTo>
                  <a:pt x="248" y="46"/>
                </a:lnTo>
                <a:lnTo>
                  <a:pt x="248" y="46"/>
                </a:lnTo>
                <a:lnTo>
                  <a:pt x="248" y="46"/>
                </a:lnTo>
                <a:lnTo>
                  <a:pt x="246" y="46"/>
                </a:lnTo>
                <a:lnTo>
                  <a:pt x="246" y="46"/>
                </a:lnTo>
                <a:lnTo>
                  <a:pt x="246" y="44"/>
                </a:lnTo>
                <a:lnTo>
                  <a:pt x="248" y="42"/>
                </a:lnTo>
                <a:lnTo>
                  <a:pt x="248" y="42"/>
                </a:lnTo>
                <a:lnTo>
                  <a:pt x="244" y="44"/>
                </a:lnTo>
                <a:lnTo>
                  <a:pt x="244" y="44"/>
                </a:lnTo>
                <a:lnTo>
                  <a:pt x="246" y="42"/>
                </a:lnTo>
                <a:lnTo>
                  <a:pt x="248" y="40"/>
                </a:lnTo>
                <a:lnTo>
                  <a:pt x="252" y="38"/>
                </a:lnTo>
                <a:lnTo>
                  <a:pt x="252" y="38"/>
                </a:lnTo>
                <a:lnTo>
                  <a:pt x="254" y="34"/>
                </a:lnTo>
                <a:lnTo>
                  <a:pt x="254" y="34"/>
                </a:lnTo>
                <a:lnTo>
                  <a:pt x="256" y="32"/>
                </a:lnTo>
                <a:lnTo>
                  <a:pt x="258" y="30"/>
                </a:lnTo>
                <a:lnTo>
                  <a:pt x="258" y="30"/>
                </a:lnTo>
                <a:lnTo>
                  <a:pt x="258" y="30"/>
                </a:lnTo>
                <a:lnTo>
                  <a:pt x="260" y="28"/>
                </a:lnTo>
                <a:lnTo>
                  <a:pt x="260" y="28"/>
                </a:lnTo>
                <a:lnTo>
                  <a:pt x="264" y="26"/>
                </a:lnTo>
                <a:lnTo>
                  <a:pt x="266" y="22"/>
                </a:lnTo>
                <a:lnTo>
                  <a:pt x="266" y="22"/>
                </a:lnTo>
                <a:lnTo>
                  <a:pt x="268" y="22"/>
                </a:lnTo>
                <a:lnTo>
                  <a:pt x="270" y="20"/>
                </a:lnTo>
                <a:lnTo>
                  <a:pt x="270" y="20"/>
                </a:lnTo>
                <a:lnTo>
                  <a:pt x="276" y="16"/>
                </a:lnTo>
                <a:lnTo>
                  <a:pt x="276" y="16"/>
                </a:lnTo>
                <a:lnTo>
                  <a:pt x="282" y="12"/>
                </a:lnTo>
                <a:lnTo>
                  <a:pt x="282" y="12"/>
                </a:lnTo>
                <a:lnTo>
                  <a:pt x="288" y="10"/>
                </a:lnTo>
                <a:lnTo>
                  <a:pt x="288" y="10"/>
                </a:lnTo>
                <a:lnTo>
                  <a:pt x="292" y="8"/>
                </a:lnTo>
                <a:lnTo>
                  <a:pt x="296" y="6"/>
                </a:lnTo>
                <a:lnTo>
                  <a:pt x="296" y="6"/>
                </a:lnTo>
                <a:lnTo>
                  <a:pt x="298" y="6"/>
                </a:lnTo>
                <a:lnTo>
                  <a:pt x="302" y="4"/>
                </a:lnTo>
                <a:lnTo>
                  <a:pt x="302" y="4"/>
                </a:lnTo>
                <a:lnTo>
                  <a:pt x="306" y="2"/>
                </a:lnTo>
                <a:lnTo>
                  <a:pt x="308" y="2"/>
                </a:lnTo>
                <a:lnTo>
                  <a:pt x="308" y="2"/>
                </a:lnTo>
                <a:lnTo>
                  <a:pt x="310" y="2"/>
                </a:lnTo>
                <a:lnTo>
                  <a:pt x="310" y="2"/>
                </a:lnTo>
                <a:lnTo>
                  <a:pt x="312" y="2"/>
                </a:lnTo>
                <a:lnTo>
                  <a:pt x="314" y="2"/>
                </a:lnTo>
                <a:lnTo>
                  <a:pt x="318" y="2"/>
                </a:lnTo>
                <a:lnTo>
                  <a:pt x="318" y="2"/>
                </a:lnTo>
                <a:lnTo>
                  <a:pt x="320" y="0"/>
                </a:lnTo>
                <a:lnTo>
                  <a:pt x="322" y="0"/>
                </a:lnTo>
                <a:lnTo>
                  <a:pt x="322" y="0"/>
                </a:lnTo>
                <a:lnTo>
                  <a:pt x="322" y="2"/>
                </a:lnTo>
                <a:lnTo>
                  <a:pt x="326" y="2"/>
                </a:lnTo>
                <a:lnTo>
                  <a:pt x="326" y="2"/>
                </a:lnTo>
                <a:lnTo>
                  <a:pt x="328" y="0"/>
                </a:lnTo>
                <a:lnTo>
                  <a:pt x="330" y="2"/>
                </a:lnTo>
                <a:lnTo>
                  <a:pt x="334" y="2"/>
                </a:lnTo>
                <a:lnTo>
                  <a:pt x="334" y="2"/>
                </a:lnTo>
                <a:lnTo>
                  <a:pt x="338" y="2"/>
                </a:lnTo>
                <a:lnTo>
                  <a:pt x="342" y="4"/>
                </a:lnTo>
                <a:lnTo>
                  <a:pt x="342" y="4"/>
                </a:lnTo>
                <a:lnTo>
                  <a:pt x="348" y="6"/>
                </a:lnTo>
                <a:lnTo>
                  <a:pt x="348" y="6"/>
                </a:lnTo>
                <a:lnTo>
                  <a:pt x="352" y="8"/>
                </a:lnTo>
                <a:lnTo>
                  <a:pt x="354" y="12"/>
                </a:lnTo>
                <a:lnTo>
                  <a:pt x="354" y="12"/>
                </a:lnTo>
                <a:lnTo>
                  <a:pt x="358" y="14"/>
                </a:lnTo>
                <a:lnTo>
                  <a:pt x="360" y="14"/>
                </a:lnTo>
                <a:lnTo>
                  <a:pt x="360" y="14"/>
                </a:lnTo>
                <a:lnTo>
                  <a:pt x="364" y="18"/>
                </a:lnTo>
                <a:lnTo>
                  <a:pt x="366" y="20"/>
                </a:lnTo>
                <a:lnTo>
                  <a:pt x="366" y="20"/>
                </a:lnTo>
                <a:lnTo>
                  <a:pt x="370" y="22"/>
                </a:lnTo>
                <a:lnTo>
                  <a:pt x="376" y="26"/>
                </a:lnTo>
                <a:lnTo>
                  <a:pt x="376" y="26"/>
                </a:lnTo>
                <a:lnTo>
                  <a:pt x="380" y="32"/>
                </a:lnTo>
                <a:lnTo>
                  <a:pt x="382" y="36"/>
                </a:lnTo>
                <a:lnTo>
                  <a:pt x="382" y="36"/>
                </a:lnTo>
                <a:lnTo>
                  <a:pt x="382" y="40"/>
                </a:lnTo>
                <a:lnTo>
                  <a:pt x="384" y="44"/>
                </a:lnTo>
                <a:lnTo>
                  <a:pt x="384" y="44"/>
                </a:lnTo>
                <a:lnTo>
                  <a:pt x="386" y="52"/>
                </a:lnTo>
                <a:lnTo>
                  <a:pt x="386" y="52"/>
                </a:lnTo>
                <a:lnTo>
                  <a:pt x="386" y="58"/>
                </a:lnTo>
                <a:lnTo>
                  <a:pt x="384" y="58"/>
                </a:lnTo>
                <a:lnTo>
                  <a:pt x="384" y="58"/>
                </a:lnTo>
                <a:lnTo>
                  <a:pt x="386" y="64"/>
                </a:lnTo>
                <a:lnTo>
                  <a:pt x="386" y="64"/>
                </a:lnTo>
                <a:lnTo>
                  <a:pt x="384" y="60"/>
                </a:lnTo>
                <a:lnTo>
                  <a:pt x="384" y="60"/>
                </a:lnTo>
                <a:lnTo>
                  <a:pt x="384" y="68"/>
                </a:lnTo>
                <a:lnTo>
                  <a:pt x="384" y="70"/>
                </a:lnTo>
                <a:lnTo>
                  <a:pt x="384" y="70"/>
                </a:lnTo>
                <a:lnTo>
                  <a:pt x="382" y="76"/>
                </a:lnTo>
                <a:lnTo>
                  <a:pt x="382" y="76"/>
                </a:lnTo>
                <a:lnTo>
                  <a:pt x="382" y="74"/>
                </a:lnTo>
                <a:lnTo>
                  <a:pt x="382" y="74"/>
                </a:lnTo>
                <a:lnTo>
                  <a:pt x="382" y="78"/>
                </a:lnTo>
                <a:lnTo>
                  <a:pt x="382" y="78"/>
                </a:lnTo>
                <a:lnTo>
                  <a:pt x="382" y="82"/>
                </a:lnTo>
                <a:lnTo>
                  <a:pt x="380" y="84"/>
                </a:lnTo>
                <a:lnTo>
                  <a:pt x="380" y="84"/>
                </a:lnTo>
                <a:lnTo>
                  <a:pt x="382" y="80"/>
                </a:lnTo>
                <a:lnTo>
                  <a:pt x="382" y="80"/>
                </a:lnTo>
                <a:lnTo>
                  <a:pt x="378" y="92"/>
                </a:lnTo>
                <a:lnTo>
                  <a:pt x="378" y="92"/>
                </a:lnTo>
                <a:lnTo>
                  <a:pt x="374" y="106"/>
                </a:lnTo>
                <a:lnTo>
                  <a:pt x="374" y="106"/>
                </a:lnTo>
                <a:lnTo>
                  <a:pt x="370" y="112"/>
                </a:lnTo>
                <a:lnTo>
                  <a:pt x="370" y="118"/>
                </a:lnTo>
                <a:lnTo>
                  <a:pt x="370" y="124"/>
                </a:lnTo>
                <a:lnTo>
                  <a:pt x="372" y="130"/>
                </a:lnTo>
                <a:lnTo>
                  <a:pt x="372" y="130"/>
                </a:lnTo>
                <a:lnTo>
                  <a:pt x="378" y="142"/>
                </a:lnTo>
                <a:lnTo>
                  <a:pt x="378" y="142"/>
                </a:lnTo>
                <a:lnTo>
                  <a:pt x="380" y="146"/>
                </a:lnTo>
                <a:lnTo>
                  <a:pt x="380" y="146"/>
                </a:lnTo>
                <a:lnTo>
                  <a:pt x="386" y="152"/>
                </a:lnTo>
                <a:lnTo>
                  <a:pt x="386" y="152"/>
                </a:lnTo>
                <a:lnTo>
                  <a:pt x="388" y="158"/>
                </a:lnTo>
                <a:lnTo>
                  <a:pt x="388" y="158"/>
                </a:lnTo>
                <a:lnTo>
                  <a:pt x="412" y="192"/>
                </a:lnTo>
                <a:lnTo>
                  <a:pt x="440" y="224"/>
                </a:lnTo>
                <a:lnTo>
                  <a:pt x="440" y="224"/>
                </a:lnTo>
                <a:lnTo>
                  <a:pt x="446" y="240"/>
                </a:lnTo>
                <a:lnTo>
                  <a:pt x="450" y="256"/>
                </a:lnTo>
                <a:lnTo>
                  <a:pt x="450" y="256"/>
                </a:lnTo>
                <a:lnTo>
                  <a:pt x="456" y="298"/>
                </a:lnTo>
                <a:lnTo>
                  <a:pt x="460" y="340"/>
                </a:lnTo>
                <a:lnTo>
                  <a:pt x="462" y="384"/>
                </a:lnTo>
                <a:lnTo>
                  <a:pt x="462" y="426"/>
                </a:lnTo>
                <a:lnTo>
                  <a:pt x="462" y="426"/>
                </a:lnTo>
                <a:lnTo>
                  <a:pt x="460" y="446"/>
                </a:lnTo>
                <a:lnTo>
                  <a:pt x="458" y="466"/>
                </a:lnTo>
                <a:lnTo>
                  <a:pt x="458" y="484"/>
                </a:lnTo>
                <a:lnTo>
                  <a:pt x="458" y="504"/>
                </a:lnTo>
                <a:lnTo>
                  <a:pt x="458" y="504"/>
                </a:lnTo>
                <a:lnTo>
                  <a:pt x="458" y="560"/>
                </a:lnTo>
                <a:lnTo>
                  <a:pt x="460" y="588"/>
                </a:lnTo>
                <a:lnTo>
                  <a:pt x="466" y="616"/>
                </a:lnTo>
                <a:lnTo>
                  <a:pt x="466" y="616"/>
                </a:lnTo>
                <a:lnTo>
                  <a:pt x="468" y="634"/>
                </a:lnTo>
                <a:lnTo>
                  <a:pt x="468" y="644"/>
                </a:lnTo>
                <a:lnTo>
                  <a:pt x="466" y="648"/>
                </a:lnTo>
                <a:lnTo>
                  <a:pt x="462" y="650"/>
                </a:lnTo>
                <a:lnTo>
                  <a:pt x="456" y="652"/>
                </a:lnTo>
                <a:lnTo>
                  <a:pt x="444" y="652"/>
                </a:lnTo>
                <a:lnTo>
                  <a:pt x="442" y="656"/>
                </a:lnTo>
                <a:lnTo>
                  <a:pt x="442" y="662"/>
                </a:lnTo>
                <a:lnTo>
                  <a:pt x="442" y="662"/>
                </a:lnTo>
                <a:lnTo>
                  <a:pt x="442" y="678"/>
                </a:lnTo>
                <a:lnTo>
                  <a:pt x="444" y="686"/>
                </a:lnTo>
                <a:lnTo>
                  <a:pt x="446" y="692"/>
                </a:lnTo>
                <a:lnTo>
                  <a:pt x="446" y="692"/>
                </a:lnTo>
                <a:lnTo>
                  <a:pt x="452" y="706"/>
                </a:lnTo>
                <a:lnTo>
                  <a:pt x="452" y="718"/>
                </a:lnTo>
                <a:lnTo>
                  <a:pt x="454" y="730"/>
                </a:lnTo>
                <a:lnTo>
                  <a:pt x="454" y="746"/>
                </a:lnTo>
                <a:lnTo>
                  <a:pt x="454" y="746"/>
                </a:lnTo>
                <a:lnTo>
                  <a:pt x="458" y="756"/>
                </a:lnTo>
                <a:lnTo>
                  <a:pt x="464" y="768"/>
                </a:lnTo>
                <a:lnTo>
                  <a:pt x="470" y="782"/>
                </a:lnTo>
                <a:lnTo>
                  <a:pt x="472" y="792"/>
                </a:lnTo>
                <a:lnTo>
                  <a:pt x="472" y="792"/>
                </a:lnTo>
                <a:lnTo>
                  <a:pt x="474" y="804"/>
                </a:lnTo>
                <a:lnTo>
                  <a:pt x="474" y="816"/>
                </a:lnTo>
                <a:lnTo>
                  <a:pt x="474" y="828"/>
                </a:lnTo>
                <a:lnTo>
                  <a:pt x="476" y="840"/>
                </a:lnTo>
                <a:lnTo>
                  <a:pt x="476" y="840"/>
                </a:lnTo>
                <a:lnTo>
                  <a:pt x="478" y="852"/>
                </a:lnTo>
                <a:lnTo>
                  <a:pt x="484" y="862"/>
                </a:lnTo>
                <a:lnTo>
                  <a:pt x="490" y="870"/>
                </a:lnTo>
                <a:lnTo>
                  <a:pt x="496" y="882"/>
                </a:lnTo>
                <a:lnTo>
                  <a:pt x="496" y="882"/>
                </a:lnTo>
                <a:lnTo>
                  <a:pt x="498" y="894"/>
                </a:lnTo>
                <a:lnTo>
                  <a:pt x="500" y="910"/>
                </a:lnTo>
                <a:lnTo>
                  <a:pt x="498" y="924"/>
                </a:lnTo>
                <a:lnTo>
                  <a:pt x="500" y="940"/>
                </a:lnTo>
                <a:lnTo>
                  <a:pt x="500" y="940"/>
                </a:lnTo>
                <a:lnTo>
                  <a:pt x="504" y="968"/>
                </a:lnTo>
                <a:lnTo>
                  <a:pt x="508" y="996"/>
                </a:lnTo>
                <a:lnTo>
                  <a:pt x="508" y="996"/>
                </a:lnTo>
                <a:lnTo>
                  <a:pt x="510" y="1020"/>
                </a:lnTo>
                <a:lnTo>
                  <a:pt x="510" y="1044"/>
                </a:lnTo>
                <a:lnTo>
                  <a:pt x="510" y="1044"/>
                </a:lnTo>
                <a:lnTo>
                  <a:pt x="512" y="1060"/>
                </a:lnTo>
                <a:lnTo>
                  <a:pt x="514" y="1070"/>
                </a:lnTo>
                <a:lnTo>
                  <a:pt x="516" y="1080"/>
                </a:lnTo>
                <a:lnTo>
                  <a:pt x="516" y="1096"/>
                </a:lnTo>
                <a:lnTo>
                  <a:pt x="516" y="1096"/>
                </a:lnTo>
                <a:lnTo>
                  <a:pt x="514" y="1106"/>
                </a:lnTo>
                <a:lnTo>
                  <a:pt x="508" y="1114"/>
                </a:lnTo>
                <a:lnTo>
                  <a:pt x="508" y="1148"/>
                </a:lnTo>
                <a:lnTo>
                  <a:pt x="508" y="1148"/>
                </a:lnTo>
                <a:lnTo>
                  <a:pt x="504" y="1150"/>
                </a:lnTo>
                <a:lnTo>
                  <a:pt x="496" y="1154"/>
                </a:lnTo>
                <a:lnTo>
                  <a:pt x="480" y="1156"/>
                </a:lnTo>
                <a:lnTo>
                  <a:pt x="472" y="1156"/>
                </a:lnTo>
                <a:lnTo>
                  <a:pt x="464" y="1154"/>
                </a:lnTo>
                <a:lnTo>
                  <a:pt x="458" y="1152"/>
                </a:lnTo>
                <a:lnTo>
                  <a:pt x="452" y="1148"/>
                </a:lnTo>
                <a:lnTo>
                  <a:pt x="452" y="1148"/>
                </a:lnTo>
                <a:lnTo>
                  <a:pt x="440" y="1154"/>
                </a:lnTo>
                <a:lnTo>
                  <a:pt x="422" y="1160"/>
                </a:lnTo>
                <a:lnTo>
                  <a:pt x="404" y="1162"/>
                </a:lnTo>
                <a:lnTo>
                  <a:pt x="384" y="1164"/>
                </a:lnTo>
                <a:lnTo>
                  <a:pt x="364" y="1162"/>
                </a:lnTo>
                <a:lnTo>
                  <a:pt x="344" y="1160"/>
                </a:lnTo>
                <a:lnTo>
                  <a:pt x="328" y="1156"/>
                </a:lnTo>
                <a:lnTo>
                  <a:pt x="312" y="1150"/>
                </a:lnTo>
                <a:lnTo>
                  <a:pt x="312" y="1150"/>
                </a:lnTo>
                <a:lnTo>
                  <a:pt x="312" y="1144"/>
                </a:lnTo>
                <a:lnTo>
                  <a:pt x="314" y="1138"/>
                </a:lnTo>
                <a:lnTo>
                  <a:pt x="318" y="1134"/>
                </a:lnTo>
                <a:lnTo>
                  <a:pt x="324" y="1132"/>
                </a:lnTo>
                <a:lnTo>
                  <a:pt x="338" y="1128"/>
                </a:lnTo>
                <a:lnTo>
                  <a:pt x="352" y="1128"/>
                </a:lnTo>
                <a:lnTo>
                  <a:pt x="352" y="1128"/>
                </a:lnTo>
                <a:lnTo>
                  <a:pt x="380" y="1124"/>
                </a:lnTo>
                <a:lnTo>
                  <a:pt x="380" y="1124"/>
                </a:lnTo>
                <a:lnTo>
                  <a:pt x="386" y="1122"/>
                </a:lnTo>
                <a:lnTo>
                  <a:pt x="392" y="1118"/>
                </a:lnTo>
                <a:lnTo>
                  <a:pt x="398" y="1114"/>
                </a:lnTo>
                <a:lnTo>
                  <a:pt x="402" y="1108"/>
                </a:lnTo>
                <a:lnTo>
                  <a:pt x="406" y="1098"/>
                </a:lnTo>
                <a:lnTo>
                  <a:pt x="406" y="1094"/>
                </a:lnTo>
                <a:lnTo>
                  <a:pt x="406" y="1094"/>
                </a:lnTo>
                <a:lnTo>
                  <a:pt x="412" y="1086"/>
                </a:lnTo>
                <a:lnTo>
                  <a:pt x="418" y="1078"/>
                </a:lnTo>
                <a:lnTo>
                  <a:pt x="420" y="1070"/>
                </a:lnTo>
                <a:lnTo>
                  <a:pt x="422" y="1062"/>
                </a:lnTo>
                <a:lnTo>
                  <a:pt x="422" y="1062"/>
                </a:lnTo>
                <a:lnTo>
                  <a:pt x="422" y="1060"/>
                </a:lnTo>
                <a:lnTo>
                  <a:pt x="422" y="1060"/>
                </a:lnTo>
                <a:lnTo>
                  <a:pt x="426" y="1040"/>
                </a:lnTo>
                <a:lnTo>
                  <a:pt x="426" y="1040"/>
                </a:lnTo>
                <a:lnTo>
                  <a:pt x="426" y="1026"/>
                </a:lnTo>
                <a:lnTo>
                  <a:pt x="424" y="1012"/>
                </a:lnTo>
                <a:lnTo>
                  <a:pt x="424" y="1012"/>
                </a:lnTo>
                <a:lnTo>
                  <a:pt x="420" y="1000"/>
                </a:lnTo>
                <a:lnTo>
                  <a:pt x="422" y="988"/>
                </a:lnTo>
                <a:lnTo>
                  <a:pt x="422" y="988"/>
                </a:lnTo>
                <a:lnTo>
                  <a:pt x="420" y="980"/>
                </a:lnTo>
                <a:lnTo>
                  <a:pt x="418" y="974"/>
                </a:lnTo>
                <a:lnTo>
                  <a:pt x="412" y="960"/>
                </a:lnTo>
                <a:lnTo>
                  <a:pt x="412" y="960"/>
                </a:lnTo>
                <a:lnTo>
                  <a:pt x="400" y="936"/>
                </a:lnTo>
                <a:lnTo>
                  <a:pt x="390" y="910"/>
                </a:lnTo>
                <a:lnTo>
                  <a:pt x="390" y="910"/>
                </a:lnTo>
                <a:lnTo>
                  <a:pt x="386" y="898"/>
                </a:lnTo>
                <a:lnTo>
                  <a:pt x="382" y="880"/>
                </a:lnTo>
                <a:lnTo>
                  <a:pt x="378" y="862"/>
                </a:lnTo>
                <a:lnTo>
                  <a:pt x="374" y="850"/>
                </a:lnTo>
                <a:lnTo>
                  <a:pt x="374" y="850"/>
                </a:lnTo>
                <a:lnTo>
                  <a:pt x="368" y="832"/>
                </a:lnTo>
                <a:lnTo>
                  <a:pt x="362" y="810"/>
                </a:lnTo>
                <a:lnTo>
                  <a:pt x="362" y="810"/>
                </a:lnTo>
                <a:lnTo>
                  <a:pt x="358" y="798"/>
                </a:lnTo>
                <a:lnTo>
                  <a:pt x="358" y="798"/>
                </a:lnTo>
                <a:lnTo>
                  <a:pt x="352" y="784"/>
                </a:lnTo>
                <a:lnTo>
                  <a:pt x="348" y="780"/>
                </a:lnTo>
                <a:lnTo>
                  <a:pt x="342" y="776"/>
                </a:lnTo>
                <a:lnTo>
                  <a:pt x="342" y="776"/>
                </a:lnTo>
                <a:lnTo>
                  <a:pt x="338" y="784"/>
                </a:lnTo>
                <a:lnTo>
                  <a:pt x="334" y="792"/>
                </a:lnTo>
                <a:lnTo>
                  <a:pt x="330" y="808"/>
                </a:lnTo>
                <a:lnTo>
                  <a:pt x="322" y="824"/>
                </a:lnTo>
                <a:lnTo>
                  <a:pt x="318" y="834"/>
                </a:lnTo>
                <a:lnTo>
                  <a:pt x="310" y="846"/>
                </a:lnTo>
                <a:lnTo>
                  <a:pt x="310" y="846"/>
                </a:lnTo>
                <a:lnTo>
                  <a:pt x="306" y="858"/>
                </a:lnTo>
                <a:lnTo>
                  <a:pt x="302" y="866"/>
                </a:lnTo>
                <a:lnTo>
                  <a:pt x="292" y="886"/>
                </a:lnTo>
                <a:lnTo>
                  <a:pt x="292" y="886"/>
                </a:lnTo>
                <a:lnTo>
                  <a:pt x="280" y="914"/>
                </a:lnTo>
                <a:lnTo>
                  <a:pt x="264" y="940"/>
                </a:lnTo>
                <a:lnTo>
                  <a:pt x="264" y="940"/>
                </a:lnTo>
                <a:lnTo>
                  <a:pt x="250" y="968"/>
                </a:lnTo>
                <a:lnTo>
                  <a:pt x="236" y="994"/>
                </a:lnTo>
                <a:lnTo>
                  <a:pt x="236" y="994"/>
                </a:lnTo>
                <a:lnTo>
                  <a:pt x="226" y="1014"/>
                </a:lnTo>
                <a:lnTo>
                  <a:pt x="216" y="1034"/>
                </a:lnTo>
                <a:lnTo>
                  <a:pt x="216" y="1034"/>
                </a:lnTo>
                <a:lnTo>
                  <a:pt x="208" y="1054"/>
                </a:lnTo>
                <a:lnTo>
                  <a:pt x="200" y="1066"/>
                </a:lnTo>
                <a:lnTo>
                  <a:pt x="200" y="1066"/>
                </a:lnTo>
                <a:lnTo>
                  <a:pt x="204" y="1080"/>
                </a:lnTo>
                <a:lnTo>
                  <a:pt x="204" y="1088"/>
                </a:lnTo>
                <a:lnTo>
                  <a:pt x="204" y="1092"/>
                </a:lnTo>
                <a:lnTo>
                  <a:pt x="202" y="1094"/>
                </a:lnTo>
                <a:lnTo>
                  <a:pt x="202" y="1094"/>
                </a:lnTo>
                <a:lnTo>
                  <a:pt x="198" y="1098"/>
                </a:lnTo>
                <a:lnTo>
                  <a:pt x="196" y="1102"/>
                </a:lnTo>
                <a:lnTo>
                  <a:pt x="192" y="1112"/>
                </a:lnTo>
                <a:lnTo>
                  <a:pt x="188" y="1132"/>
                </a:lnTo>
                <a:lnTo>
                  <a:pt x="188" y="1132"/>
                </a:lnTo>
                <a:lnTo>
                  <a:pt x="186" y="1134"/>
                </a:lnTo>
                <a:lnTo>
                  <a:pt x="180" y="1134"/>
                </a:lnTo>
                <a:lnTo>
                  <a:pt x="162" y="1130"/>
                </a:lnTo>
                <a:lnTo>
                  <a:pt x="154" y="1126"/>
                </a:lnTo>
                <a:lnTo>
                  <a:pt x="144" y="1122"/>
                </a:lnTo>
                <a:lnTo>
                  <a:pt x="138" y="1116"/>
                </a:lnTo>
                <a:lnTo>
                  <a:pt x="134" y="1108"/>
                </a:lnTo>
                <a:lnTo>
                  <a:pt x="134" y="1108"/>
                </a:lnTo>
                <a:lnTo>
                  <a:pt x="92" y="1106"/>
                </a:lnTo>
                <a:lnTo>
                  <a:pt x="74" y="1102"/>
                </a:lnTo>
                <a:lnTo>
                  <a:pt x="56" y="1098"/>
                </a:lnTo>
                <a:lnTo>
                  <a:pt x="38" y="1092"/>
                </a:lnTo>
                <a:lnTo>
                  <a:pt x="24" y="1086"/>
                </a:lnTo>
                <a:lnTo>
                  <a:pt x="10" y="1076"/>
                </a:lnTo>
                <a:lnTo>
                  <a:pt x="0" y="1064"/>
                </a:lnTo>
                <a:lnTo>
                  <a:pt x="0" y="1064"/>
                </a:lnTo>
                <a:lnTo>
                  <a:pt x="2" y="1062"/>
                </a:lnTo>
                <a:lnTo>
                  <a:pt x="4" y="1060"/>
                </a:lnTo>
                <a:lnTo>
                  <a:pt x="12" y="1060"/>
                </a:lnTo>
                <a:lnTo>
                  <a:pt x="42" y="1064"/>
                </a:lnTo>
                <a:lnTo>
                  <a:pt x="60" y="1064"/>
                </a:lnTo>
                <a:lnTo>
                  <a:pt x="76" y="1064"/>
                </a:lnTo>
                <a:lnTo>
                  <a:pt x="92" y="1060"/>
                </a:lnTo>
                <a:lnTo>
                  <a:pt x="98" y="1058"/>
                </a:lnTo>
                <a:lnTo>
                  <a:pt x="104" y="1052"/>
                </a:lnTo>
                <a:lnTo>
                  <a:pt x="104" y="10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147" tIns="40074" rIns="80147" bIns="40074" numCol="1" anchor="t" anchorCtr="0" compatLnSpc="1">
            <a:prstTxWarp prst="textNoShape">
              <a:avLst/>
            </a:prstTxWarp>
          </a:bodyPr>
          <a:lstStyle/>
          <a:p>
            <a:endParaRPr lang="en-GB"/>
          </a:p>
        </p:txBody>
      </p:sp>
      <p:grpSp>
        <p:nvGrpSpPr>
          <p:cNvPr id="22" name="Group 3827">
            <a:extLst>
              <a:ext uri="{FF2B5EF4-FFF2-40B4-BE49-F238E27FC236}">
                <a16:creationId xmlns:a16="http://schemas.microsoft.com/office/drawing/2014/main" id="{714FBC3F-9CB7-4D15-8624-EA212C072745}"/>
              </a:ext>
            </a:extLst>
          </p:cNvPr>
          <p:cNvGrpSpPr/>
          <p:nvPr/>
        </p:nvGrpSpPr>
        <p:grpSpPr>
          <a:xfrm>
            <a:off x="7031721" y="4475196"/>
            <a:ext cx="492596" cy="1584873"/>
            <a:chOff x="3330476" y="4248783"/>
            <a:chExt cx="467874" cy="1419218"/>
          </a:xfrm>
        </p:grpSpPr>
        <p:sp>
          <p:nvSpPr>
            <p:cNvPr id="23" name="Freeform 16">
              <a:extLst>
                <a:ext uri="{FF2B5EF4-FFF2-40B4-BE49-F238E27FC236}">
                  <a16:creationId xmlns:a16="http://schemas.microsoft.com/office/drawing/2014/main" id="{D124B899-551D-4BBB-80D1-4DAC418EBDF2}"/>
                </a:ext>
              </a:extLst>
            </p:cNvPr>
            <p:cNvSpPr>
              <a:spLocks noEditPoints="1"/>
            </p:cNvSpPr>
            <p:nvPr/>
          </p:nvSpPr>
          <p:spPr bwMode="auto">
            <a:xfrm>
              <a:off x="3330476" y="4248783"/>
              <a:ext cx="467874" cy="1419218"/>
            </a:xfrm>
            <a:custGeom>
              <a:avLst/>
              <a:gdLst>
                <a:gd name="T0" fmla="*/ 472 w 480"/>
                <a:gd name="T1" fmla="*/ 574 h 1456"/>
                <a:gd name="T2" fmla="*/ 466 w 480"/>
                <a:gd name="T3" fmla="*/ 460 h 1456"/>
                <a:gd name="T4" fmla="*/ 456 w 480"/>
                <a:gd name="T5" fmla="*/ 282 h 1456"/>
                <a:gd name="T6" fmla="*/ 334 w 480"/>
                <a:gd name="T7" fmla="*/ 206 h 1456"/>
                <a:gd name="T8" fmla="*/ 330 w 480"/>
                <a:gd name="T9" fmla="*/ 158 h 1456"/>
                <a:gd name="T10" fmla="*/ 340 w 480"/>
                <a:gd name="T11" fmla="*/ 142 h 1456"/>
                <a:gd name="T12" fmla="*/ 346 w 480"/>
                <a:gd name="T13" fmla="*/ 102 h 1456"/>
                <a:gd name="T14" fmla="*/ 324 w 480"/>
                <a:gd name="T15" fmla="*/ 16 h 1456"/>
                <a:gd name="T16" fmla="*/ 224 w 480"/>
                <a:gd name="T17" fmla="*/ 20 h 1456"/>
                <a:gd name="T18" fmla="*/ 206 w 480"/>
                <a:gd name="T19" fmla="*/ 92 h 1456"/>
                <a:gd name="T20" fmla="*/ 218 w 480"/>
                <a:gd name="T21" fmla="*/ 150 h 1456"/>
                <a:gd name="T22" fmla="*/ 232 w 480"/>
                <a:gd name="T23" fmla="*/ 186 h 1456"/>
                <a:gd name="T24" fmla="*/ 212 w 480"/>
                <a:gd name="T25" fmla="*/ 214 h 1456"/>
                <a:gd name="T26" fmla="*/ 128 w 480"/>
                <a:gd name="T27" fmla="*/ 238 h 1456"/>
                <a:gd name="T28" fmla="*/ 92 w 480"/>
                <a:gd name="T29" fmla="*/ 250 h 1456"/>
                <a:gd name="T30" fmla="*/ 54 w 480"/>
                <a:gd name="T31" fmla="*/ 352 h 1456"/>
                <a:gd name="T32" fmla="*/ 2 w 480"/>
                <a:gd name="T33" fmla="*/ 476 h 1456"/>
                <a:gd name="T34" fmla="*/ 16 w 480"/>
                <a:gd name="T35" fmla="*/ 580 h 1456"/>
                <a:gd name="T36" fmla="*/ 40 w 480"/>
                <a:gd name="T37" fmla="*/ 668 h 1456"/>
                <a:gd name="T38" fmla="*/ 70 w 480"/>
                <a:gd name="T39" fmla="*/ 672 h 1456"/>
                <a:gd name="T40" fmla="*/ 88 w 480"/>
                <a:gd name="T41" fmla="*/ 752 h 1456"/>
                <a:gd name="T42" fmla="*/ 96 w 480"/>
                <a:gd name="T43" fmla="*/ 964 h 1456"/>
                <a:gd name="T44" fmla="*/ 138 w 480"/>
                <a:gd name="T45" fmla="*/ 1206 h 1456"/>
                <a:gd name="T46" fmla="*/ 156 w 480"/>
                <a:gd name="T47" fmla="*/ 1310 h 1456"/>
                <a:gd name="T48" fmla="*/ 156 w 480"/>
                <a:gd name="T49" fmla="*/ 1348 h 1456"/>
                <a:gd name="T50" fmla="*/ 166 w 480"/>
                <a:gd name="T51" fmla="*/ 1390 h 1456"/>
                <a:gd name="T52" fmla="*/ 212 w 480"/>
                <a:gd name="T53" fmla="*/ 1378 h 1456"/>
                <a:gd name="T54" fmla="*/ 214 w 480"/>
                <a:gd name="T55" fmla="*/ 1448 h 1456"/>
                <a:gd name="T56" fmla="*/ 282 w 480"/>
                <a:gd name="T57" fmla="*/ 1448 h 1456"/>
                <a:gd name="T58" fmla="*/ 292 w 480"/>
                <a:gd name="T59" fmla="*/ 1388 h 1456"/>
                <a:gd name="T60" fmla="*/ 298 w 480"/>
                <a:gd name="T61" fmla="*/ 1360 h 1456"/>
                <a:gd name="T62" fmla="*/ 330 w 480"/>
                <a:gd name="T63" fmla="*/ 1242 h 1456"/>
                <a:gd name="T64" fmla="*/ 360 w 480"/>
                <a:gd name="T65" fmla="*/ 968 h 1456"/>
                <a:gd name="T66" fmla="*/ 378 w 480"/>
                <a:gd name="T67" fmla="*/ 810 h 1456"/>
                <a:gd name="T68" fmla="*/ 392 w 480"/>
                <a:gd name="T69" fmla="*/ 778 h 1456"/>
                <a:gd name="T70" fmla="*/ 388 w 480"/>
                <a:gd name="T71" fmla="*/ 516 h 1456"/>
                <a:gd name="T72" fmla="*/ 388 w 480"/>
                <a:gd name="T73" fmla="*/ 568 h 1456"/>
                <a:gd name="T74" fmla="*/ 406 w 480"/>
                <a:gd name="T75" fmla="*/ 696 h 1456"/>
                <a:gd name="T76" fmla="*/ 410 w 480"/>
                <a:gd name="T77" fmla="*/ 736 h 1456"/>
                <a:gd name="T78" fmla="*/ 408 w 480"/>
                <a:gd name="T79" fmla="*/ 790 h 1456"/>
                <a:gd name="T80" fmla="*/ 424 w 480"/>
                <a:gd name="T81" fmla="*/ 788 h 1456"/>
                <a:gd name="T82" fmla="*/ 436 w 480"/>
                <a:gd name="T83" fmla="*/ 776 h 1456"/>
                <a:gd name="T84" fmla="*/ 428 w 480"/>
                <a:gd name="T85" fmla="*/ 798 h 1456"/>
                <a:gd name="T86" fmla="*/ 398 w 480"/>
                <a:gd name="T87" fmla="*/ 812 h 1456"/>
                <a:gd name="T88" fmla="*/ 432 w 480"/>
                <a:gd name="T89" fmla="*/ 814 h 1456"/>
                <a:gd name="T90" fmla="*/ 460 w 480"/>
                <a:gd name="T91" fmla="*/ 790 h 1456"/>
                <a:gd name="T92" fmla="*/ 464 w 480"/>
                <a:gd name="T93" fmla="*/ 742 h 1456"/>
                <a:gd name="T94" fmla="*/ 472 w 480"/>
                <a:gd name="T95" fmla="*/ 680 h 1456"/>
                <a:gd name="T96" fmla="*/ 92 w 480"/>
                <a:gd name="T97" fmla="*/ 600 h 1456"/>
                <a:gd name="T98" fmla="*/ 70 w 480"/>
                <a:gd name="T99" fmla="*/ 522 h 1456"/>
                <a:gd name="T100" fmla="*/ 88 w 480"/>
                <a:gd name="T101" fmla="*/ 460 h 1456"/>
                <a:gd name="T102" fmla="*/ 114 w 480"/>
                <a:gd name="T103" fmla="*/ 422 h 1456"/>
                <a:gd name="T104" fmla="*/ 126 w 480"/>
                <a:gd name="T105" fmla="*/ 516 h 1456"/>
                <a:gd name="T106" fmla="*/ 232 w 480"/>
                <a:gd name="T107" fmla="*/ 1090 h 1456"/>
                <a:gd name="T108" fmla="*/ 220 w 480"/>
                <a:gd name="T109" fmla="*/ 1158 h 1456"/>
                <a:gd name="T110" fmla="*/ 212 w 480"/>
                <a:gd name="T111" fmla="*/ 1030 h 1456"/>
                <a:gd name="T112" fmla="*/ 232 w 480"/>
                <a:gd name="T113" fmla="*/ 856 h 1456"/>
                <a:gd name="T114" fmla="*/ 240 w 480"/>
                <a:gd name="T115" fmla="*/ 93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0" h="1456">
                  <a:moveTo>
                    <a:pt x="480" y="610"/>
                  </a:moveTo>
                  <a:lnTo>
                    <a:pt x="480" y="610"/>
                  </a:lnTo>
                  <a:lnTo>
                    <a:pt x="480" y="600"/>
                  </a:lnTo>
                  <a:lnTo>
                    <a:pt x="476" y="590"/>
                  </a:lnTo>
                  <a:lnTo>
                    <a:pt x="474" y="582"/>
                  </a:lnTo>
                  <a:lnTo>
                    <a:pt x="472" y="574"/>
                  </a:lnTo>
                  <a:lnTo>
                    <a:pt x="472" y="574"/>
                  </a:lnTo>
                  <a:lnTo>
                    <a:pt x="474" y="540"/>
                  </a:lnTo>
                  <a:lnTo>
                    <a:pt x="474" y="506"/>
                  </a:lnTo>
                  <a:lnTo>
                    <a:pt x="474" y="506"/>
                  </a:lnTo>
                  <a:lnTo>
                    <a:pt x="474" y="490"/>
                  </a:lnTo>
                  <a:lnTo>
                    <a:pt x="472" y="480"/>
                  </a:lnTo>
                  <a:lnTo>
                    <a:pt x="468" y="468"/>
                  </a:lnTo>
                  <a:lnTo>
                    <a:pt x="466" y="460"/>
                  </a:lnTo>
                  <a:lnTo>
                    <a:pt x="464" y="448"/>
                  </a:lnTo>
                  <a:lnTo>
                    <a:pt x="462" y="426"/>
                  </a:lnTo>
                  <a:lnTo>
                    <a:pt x="460" y="394"/>
                  </a:lnTo>
                  <a:lnTo>
                    <a:pt x="460" y="394"/>
                  </a:lnTo>
                  <a:lnTo>
                    <a:pt x="458" y="286"/>
                  </a:lnTo>
                  <a:lnTo>
                    <a:pt x="458" y="286"/>
                  </a:lnTo>
                  <a:lnTo>
                    <a:pt x="456" y="282"/>
                  </a:lnTo>
                  <a:lnTo>
                    <a:pt x="454" y="278"/>
                  </a:lnTo>
                  <a:lnTo>
                    <a:pt x="442" y="272"/>
                  </a:lnTo>
                  <a:lnTo>
                    <a:pt x="406" y="254"/>
                  </a:lnTo>
                  <a:lnTo>
                    <a:pt x="384" y="242"/>
                  </a:lnTo>
                  <a:lnTo>
                    <a:pt x="362" y="230"/>
                  </a:lnTo>
                  <a:lnTo>
                    <a:pt x="344" y="214"/>
                  </a:lnTo>
                  <a:lnTo>
                    <a:pt x="334" y="206"/>
                  </a:lnTo>
                  <a:lnTo>
                    <a:pt x="328" y="198"/>
                  </a:lnTo>
                  <a:lnTo>
                    <a:pt x="328" y="198"/>
                  </a:lnTo>
                  <a:lnTo>
                    <a:pt x="326" y="194"/>
                  </a:lnTo>
                  <a:lnTo>
                    <a:pt x="324" y="190"/>
                  </a:lnTo>
                  <a:lnTo>
                    <a:pt x="326" y="180"/>
                  </a:lnTo>
                  <a:lnTo>
                    <a:pt x="330" y="170"/>
                  </a:lnTo>
                  <a:lnTo>
                    <a:pt x="330" y="158"/>
                  </a:lnTo>
                  <a:lnTo>
                    <a:pt x="330" y="158"/>
                  </a:lnTo>
                  <a:lnTo>
                    <a:pt x="330" y="150"/>
                  </a:lnTo>
                  <a:lnTo>
                    <a:pt x="332" y="146"/>
                  </a:lnTo>
                  <a:lnTo>
                    <a:pt x="334" y="144"/>
                  </a:lnTo>
                  <a:lnTo>
                    <a:pt x="336" y="144"/>
                  </a:lnTo>
                  <a:lnTo>
                    <a:pt x="338" y="144"/>
                  </a:lnTo>
                  <a:lnTo>
                    <a:pt x="340" y="142"/>
                  </a:lnTo>
                  <a:lnTo>
                    <a:pt x="344" y="138"/>
                  </a:lnTo>
                  <a:lnTo>
                    <a:pt x="346" y="130"/>
                  </a:lnTo>
                  <a:lnTo>
                    <a:pt x="346" y="130"/>
                  </a:lnTo>
                  <a:lnTo>
                    <a:pt x="348" y="122"/>
                  </a:lnTo>
                  <a:lnTo>
                    <a:pt x="348" y="116"/>
                  </a:lnTo>
                  <a:lnTo>
                    <a:pt x="346" y="110"/>
                  </a:lnTo>
                  <a:lnTo>
                    <a:pt x="346" y="102"/>
                  </a:lnTo>
                  <a:lnTo>
                    <a:pt x="346" y="102"/>
                  </a:lnTo>
                  <a:lnTo>
                    <a:pt x="348" y="74"/>
                  </a:lnTo>
                  <a:lnTo>
                    <a:pt x="348" y="56"/>
                  </a:lnTo>
                  <a:lnTo>
                    <a:pt x="344" y="42"/>
                  </a:lnTo>
                  <a:lnTo>
                    <a:pt x="338" y="30"/>
                  </a:lnTo>
                  <a:lnTo>
                    <a:pt x="338" y="30"/>
                  </a:lnTo>
                  <a:lnTo>
                    <a:pt x="324" y="16"/>
                  </a:lnTo>
                  <a:lnTo>
                    <a:pt x="306" y="8"/>
                  </a:lnTo>
                  <a:lnTo>
                    <a:pt x="290" y="2"/>
                  </a:lnTo>
                  <a:lnTo>
                    <a:pt x="274" y="0"/>
                  </a:lnTo>
                  <a:lnTo>
                    <a:pt x="258" y="0"/>
                  </a:lnTo>
                  <a:lnTo>
                    <a:pt x="244" y="4"/>
                  </a:lnTo>
                  <a:lnTo>
                    <a:pt x="232" y="12"/>
                  </a:lnTo>
                  <a:lnTo>
                    <a:pt x="224" y="20"/>
                  </a:lnTo>
                  <a:lnTo>
                    <a:pt x="224" y="20"/>
                  </a:lnTo>
                  <a:lnTo>
                    <a:pt x="212" y="34"/>
                  </a:lnTo>
                  <a:lnTo>
                    <a:pt x="206" y="44"/>
                  </a:lnTo>
                  <a:lnTo>
                    <a:pt x="204" y="54"/>
                  </a:lnTo>
                  <a:lnTo>
                    <a:pt x="202" y="62"/>
                  </a:lnTo>
                  <a:lnTo>
                    <a:pt x="206" y="80"/>
                  </a:lnTo>
                  <a:lnTo>
                    <a:pt x="206" y="92"/>
                  </a:lnTo>
                  <a:lnTo>
                    <a:pt x="208" y="104"/>
                  </a:lnTo>
                  <a:lnTo>
                    <a:pt x="208" y="104"/>
                  </a:lnTo>
                  <a:lnTo>
                    <a:pt x="208" y="118"/>
                  </a:lnTo>
                  <a:lnTo>
                    <a:pt x="208" y="128"/>
                  </a:lnTo>
                  <a:lnTo>
                    <a:pt x="212" y="140"/>
                  </a:lnTo>
                  <a:lnTo>
                    <a:pt x="218" y="150"/>
                  </a:lnTo>
                  <a:lnTo>
                    <a:pt x="218" y="150"/>
                  </a:lnTo>
                  <a:lnTo>
                    <a:pt x="220" y="152"/>
                  </a:lnTo>
                  <a:lnTo>
                    <a:pt x="222" y="154"/>
                  </a:lnTo>
                  <a:lnTo>
                    <a:pt x="224" y="156"/>
                  </a:lnTo>
                  <a:lnTo>
                    <a:pt x="226" y="162"/>
                  </a:lnTo>
                  <a:lnTo>
                    <a:pt x="226" y="162"/>
                  </a:lnTo>
                  <a:lnTo>
                    <a:pt x="230" y="174"/>
                  </a:lnTo>
                  <a:lnTo>
                    <a:pt x="232" y="186"/>
                  </a:lnTo>
                  <a:lnTo>
                    <a:pt x="232" y="186"/>
                  </a:lnTo>
                  <a:lnTo>
                    <a:pt x="234" y="192"/>
                  </a:lnTo>
                  <a:lnTo>
                    <a:pt x="232" y="198"/>
                  </a:lnTo>
                  <a:lnTo>
                    <a:pt x="224" y="206"/>
                  </a:lnTo>
                  <a:lnTo>
                    <a:pt x="224" y="206"/>
                  </a:lnTo>
                  <a:lnTo>
                    <a:pt x="218" y="212"/>
                  </a:lnTo>
                  <a:lnTo>
                    <a:pt x="212" y="214"/>
                  </a:lnTo>
                  <a:lnTo>
                    <a:pt x="202" y="218"/>
                  </a:lnTo>
                  <a:lnTo>
                    <a:pt x="190" y="218"/>
                  </a:lnTo>
                  <a:lnTo>
                    <a:pt x="180" y="222"/>
                  </a:lnTo>
                  <a:lnTo>
                    <a:pt x="180" y="222"/>
                  </a:lnTo>
                  <a:lnTo>
                    <a:pt x="158" y="230"/>
                  </a:lnTo>
                  <a:lnTo>
                    <a:pt x="144" y="234"/>
                  </a:lnTo>
                  <a:lnTo>
                    <a:pt x="128" y="238"/>
                  </a:lnTo>
                  <a:lnTo>
                    <a:pt x="128" y="238"/>
                  </a:lnTo>
                  <a:lnTo>
                    <a:pt x="116" y="240"/>
                  </a:lnTo>
                  <a:lnTo>
                    <a:pt x="104" y="240"/>
                  </a:lnTo>
                  <a:lnTo>
                    <a:pt x="100" y="242"/>
                  </a:lnTo>
                  <a:lnTo>
                    <a:pt x="94" y="244"/>
                  </a:lnTo>
                  <a:lnTo>
                    <a:pt x="92" y="246"/>
                  </a:lnTo>
                  <a:lnTo>
                    <a:pt x="92" y="250"/>
                  </a:lnTo>
                  <a:lnTo>
                    <a:pt x="92" y="250"/>
                  </a:lnTo>
                  <a:lnTo>
                    <a:pt x="90" y="260"/>
                  </a:lnTo>
                  <a:lnTo>
                    <a:pt x="88" y="270"/>
                  </a:lnTo>
                  <a:lnTo>
                    <a:pt x="78" y="298"/>
                  </a:lnTo>
                  <a:lnTo>
                    <a:pt x="66" y="328"/>
                  </a:lnTo>
                  <a:lnTo>
                    <a:pt x="54" y="352"/>
                  </a:lnTo>
                  <a:lnTo>
                    <a:pt x="54" y="352"/>
                  </a:lnTo>
                  <a:lnTo>
                    <a:pt x="36" y="386"/>
                  </a:lnTo>
                  <a:lnTo>
                    <a:pt x="28" y="406"/>
                  </a:lnTo>
                  <a:lnTo>
                    <a:pt x="18" y="430"/>
                  </a:lnTo>
                  <a:lnTo>
                    <a:pt x="18" y="430"/>
                  </a:lnTo>
                  <a:lnTo>
                    <a:pt x="10" y="448"/>
                  </a:lnTo>
                  <a:lnTo>
                    <a:pt x="4" y="464"/>
                  </a:lnTo>
                  <a:lnTo>
                    <a:pt x="2" y="476"/>
                  </a:lnTo>
                  <a:lnTo>
                    <a:pt x="0" y="486"/>
                  </a:lnTo>
                  <a:lnTo>
                    <a:pt x="0" y="502"/>
                  </a:lnTo>
                  <a:lnTo>
                    <a:pt x="2" y="522"/>
                  </a:lnTo>
                  <a:lnTo>
                    <a:pt x="2" y="522"/>
                  </a:lnTo>
                  <a:lnTo>
                    <a:pt x="4" y="542"/>
                  </a:lnTo>
                  <a:lnTo>
                    <a:pt x="10" y="562"/>
                  </a:lnTo>
                  <a:lnTo>
                    <a:pt x="16" y="580"/>
                  </a:lnTo>
                  <a:lnTo>
                    <a:pt x="22" y="604"/>
                  </a:lnTo>
                  <a:lnTo>
                    <a:pt x="22" y="604"/>
                  </a:lnTo>
                  <a:lnTo>
                    <a:pt x="32" y="632"/>
                  </a:lnTo>
                  <a:lnTo>
                    <a:pt x="38" y="650"/>
                  </a:lnTo>
                  <a:lnTo>
                    <a:pt x="40" y="664"/>
                  </a:lnTo>
                  <a:lnTo>
                    <a:pt x="40" y="664"/>
                  </a:lnTo>
                  <a:lnTo>
                    <a:pt x="40" y="668"/>
                  </a:lnTo>
                  <a:lnTo>
                    <a:pt x="42" y="674"/>
                  </a:lnTo>
                  <a:lnTo>
                    <a:pt x="44" y="678"/>
                  </a:lnTo>
                  <a:lnTo>
                    <a:pt x="52" y="678"/>
                  </a:lnTo>
                  <a:lnTo>
                    <a:pt x="52" y="678"/>
                  </a:lnTo>
                  <a:lnTo>
                    <a:pt x="58" y="676"/>
                  </a:lnTo>
                  <a:lnTo>
                    <a:pt x="70" y="672"/>
                  </a:lnTo>
                  <a:lnTo>
                    <a:pt x="70" y="672"/>
                  </a:lnTo>
                  <a:lnTo>
                    <a:pt x="72" y="708"/>
                  </a:lnTo>
                  <a:lnTo>
                    <a:pt x="74" y="726"/>
                  </a:lnTo>
                  <a:lnTo>
                    <a:pt x="74" y="726"/>
                  </a:lnTo>
                  <a:lnTo>
                    <a:pt x="76" y="732"/>
                  </a:lnTo>
                  <a:lnTo>
                    <a:pt x="78" y="738"/>
                  </a:lnTo>
                  <a:lnTo>
                    <a:pt x="82" y="744"/>
                  </a:lnTo>
                  <a:lnTo>
                    <a:pt x="88" y="752"/>
                  </a:lnTo>
                  <a:lnTo>
                    <a:pt x="90" y="758"/>
                  </a:lnTo>
                  <a:lnTo>
                    <a:pt x="90" y="764"/>
                  </a:lnTo>
                  <a:lnTo>
                    <a:pt x="90" y="764"/>
                  </a:lnTo>
                  <a:lnTo>
                    <a:pt x="92" y="842"/>
                  </a:lnTo>
                  <a:lnTo>
                    <a:pt x="94" y="916"/>
                  </a:lnTo>
                  <a:lnTo>
                    <a:pt x="94" y="916"/>
                  </a:lnTo>
                  <a:lnTo>
                    <a:pt x="96" y="964"/>
                  </a:lnTo>
                  <a:lnTo>
                    <a:pt x="100" y="986"/>
                  </a:lnTo>
                  <a:lnTo>
                    <a:pt x="102" y="996"/>
                  </a:lnTo>
                  <a:lnTo>
                    <a:pt x="104" y="1014"/>
                  </a:lnTo>
                  <a:lnTo>
                    <a:pt x="104" y="1014"/>
                  </a:lnTo>
                  <a:lnTo>
                    <a:pt x="122" y="1110"/>
                  </a:lnTo>
                  <a:lnTo>
                    <a:pt x="138" y="1206"/>
                  </a:lnTo>
                  <a:lnTo>
                    <a:pt x="138" y="1206"/>
                  </a:lnTo>
                  <a:lnTo>
                    <a:pt x="140" y="1230"/>
                  </a:lnTo>
                  <a:lnTo>
                    <a:pt x="146" y="1258"/>
                  </a:lnTo>
                  <a:lnTo>
                    <a:pt x="152" y="1284"/>
                  </a:lnTo>
                  <a:lnTo>
                    <a:pt x="154" y="1306"/>
                  </a:lnTo>
                  <a:lnTo>
                    <a:pt x="154" y="1306"/>
                  </a:lnTo>
                  <a:lnTo>
                    <a:pt x="156" y="1310"/>
                  </a:lnTo>
                  <a:lnTo>
                    <a:pt x="156" y="1310"/>
                  </a:lnTo>
                  <a:lnTo>
                    <a:pt x="160" y="1310"/>
                  </a:lnTo>
                  <a:lnTo>
                    <a:pt x="162" y="1310"/>
                  </a:lnTo>
                  <a:lnTo>
                    <a:pt x="164" y="1314"/>
                  </a:lnTo>
                  <a:lnTo>
                    <a:pt x="164" y="1314"/>
                  </a:lnTo>
                  <a:lnTo>
                    <a:pt x="162" y="1330"/>
                  </a:lnTo>
                  <a:lnTo>
                    <a:pt x="160" y="1340"/>
                  </a:lnTo>
                  <a:lnTo>
                    <a:pt x="156" y="1348"/>
                  </a:lnTo>
                  <a:lnTo>
                    <a:pt x="156" y="1360"/>
                  </a:lnTo>
                  <a:lnTo>
                    <a:pt x="156" y="1360"/>
                  </a:lnTo>
                  <a:lnTo>
                    <a:pt x="156" y="1374"/>
                  </a:lnTo>
                  <a:lnTo>
                    <a:pt x="156" y="1382"/>
                  </a:lnTo>
                  <a:lnTo>
                    <a:pt x="160" y="1386"/>
                  </a:lnTo>
                  <a:lnTo>
                    <a:pt x="166" y="1390"/>
                  </a:lnTo>
                  <a:lnTo>
                    <a:pt x="166" y="1390"/>
                  </a:lnTo>
                  <a:lnTo>
                    <a:pt x="176" y="1392"/>
                  </a:lnTo>
                  <a:lnTo>
                    <a:pt x="186" y="1394"/>
                  </a:lnTo>
                  <a:lnTo>
                    <a:pt x="196" y="1392"/>
                  </a:lnTo>
                  <a:lnTo>
                    <a:pt x="206" y="1390"/>
                  </a:lnTo>
                  <a:lnTo>
                    <a:pt x="206" y="1390"/>
                  </a:lnTo>
                  <a:lnTo>
                    <a:pt x="208" y="1386"/>
                  </a:lnTo>
                  <a:lnTo>
                    <a:pt x="212" y="1378"/>
                  </a:lnTo>
                  <a:lnTo>
                    <a:pt x="218" y="1352"/>
                  </a:lnTo>
                  <a:lnTo>
                    <a:pt x="218" y="1352"/>
                  </a:lnTo>
                  <a:lnTo>
                    <a:pt x="212" y="1400"/>
                  </a:lnTo>
                  <a:lnTo>
                    <a:pt x="208" y="1436"/>
                  </a:lnTo>
                  <a:lnTo>
                    <a:pt x="208" y="1436"/>
                  </a:lnTo>
                  <a:lnTo>
                    <a:pt x="210" y="1444"/>
                  </a:lnTo>
                  <a:lnTo>
                    <a:pt x="214" y="1448"/>
                  </a:lnTo>
                  <a:lnTo>
                    <a:pt x="220" y="1452"/>
                  </a:lnTo>
                  <a:lnTo>
                    <a:pt x="228" y="1454"/>
                  </a:lnTo>
                  <a:lnTo>
                    <a:pt x="244" y="1456"/>
                  </a:lnTo>
                  <a:lnTo>
                    <a:pt x="262" y="1456"/>
                  </a:lnTo>
                  <a:lnTo>
                    <a:pt x="262" y="1456"/>
                  </a:lnTo>
                  <a:lnTo>
                    <a:pt x="270" y="1454"/>
                  </a:lnTo>
                  <a:lnTo>
                    <a:pt x="282" y="1448"/>
                  </a:lnTo>
                  <a:lnTo>
                    <a:pt x="292" y="1438"/>
                  </a:lnTo>
                  <a:lnTo>
                    <a:pt x="300" y="1428"/>
                  </a:lnTo>
                  <a:lnTo>
                    <a:pt x="300" y="1428"/>
                  </a:lnTo>
                  <a:lnTo>
                    <a:pt x="300" y="1426"/>
                  </a:lnTo>
                  <a:lnTo>
                    <a:pt x="300" y="1420"/>
                  </a:lnTo>
                  <a:lnTo>
                    <a:pt x="296" y="1406"/>
                  </a:lnTo>
                  <a:lnTo>
                    <a:pt x="292" y="1388"/>
                  </a:lnTo>
                  <a:lnTo>
                    <a:pt x="290" y="1370"/>
                  </a:lnTo>
                  <a:lnTo>
                    <a:pt x="290" y="1370"/>
                  </a:lnTo>
                  <a:lnTo>
                    <a:pt x="290" y="1368"/>
                  </a:lnTo>
                  <a:lnTo>
                    <a:pt x="292" y="1366"/>
                  </a:lnTo>
                  <a:lnTo>
                    <a:pt x="296" y="1364"/>
                  </a:lnTo>
                  <a:lnTo>
                    <a:pt x="298" y="1360"/>
                  </a:lnTo>
                  <a:lnTo>
                    <a:pt x="298" y="1360"/>
                  </a:lnTo>
                  <a:lnTo>
                    <a:pt x="300" y="1334"/>
                  </a:lnTo>
                  <a:lnTo>
                    <a:pt x="308" y="1300"/>
                  </a:lnTo>
                  <a:lnTo>
                    <a:pt x="308" y="1300"/>
                  </a:lnTo>
                  <a:lnTo>
                    <a:pt x="310" y="1292"/>
                  </a:lnTo>
                  <a:lnTo>
                    <a:pt x="312" y="1284"/>
                  </a:lnTo>
                  <a:lnTo>
                    <a:pt x="322" y="1264"/>
                  </a:lnTo>
                  <a:lnTo>
                    <a:pt x="330" y="1242"/>
                  </a:lnTo>
                  <a:lnTo>
                    <a:pt x="334" y="1232"/>
                  </a:lnTo>
                  <a:lnTo>
                    <a:pt x="334" y="1224"/>
                  </a:lnTo>
                  <a:lnTo>
                    <a:pt x="334" y="1224"/>
                  </a:lnTo>
                  <a:lnTo>
                    <a:pt x="342" y="1170"/>
                  </a:lnTo>
                  <a:lnTo>
                    <a:pt x="348" y="1114"/>
                  </a:lnTo>
                  <a:lnTo>
                    <a:pt x="354" y="1048"/>
                  </a:lnTo>
                  <a:lnTo>
                    <a:pt x="360" y="968"/>
                  </a:lnTo>
                  <a:lnTo>
                    <a:pt x="360" y="968"/>
                  </a:lnTo>
                  <a:lnTo>
                    <a:pt x="362" y="934"/>
                  </a:lnTo>
                  <a:lnTo>
                    <a:pt x="368" y="890"/>
                  </a:lnTo>
                  <a:lnTo>
                    <a:pt x="376" y="846"/>
                  </a:lnTo>
                  <a:lnTo>
                    <a:pt x="378" y="826"/>
                  </a:lnTo>
                  <a:lnTo>
                    <a:pt x="378" y="810"/>
                  </a:lnTo>
                  <a:lnTo>
                    <a:pt x="378" y="810"/>
                  </a:lnTo>
                  <a:lnTo>
                    <a:pt x="380" y="804"/>
                  </a:lnTo>
                  <a:lnTo>
                    <a:pt x="380" y="802"/>
                  </a:lnTo>
                  <a:lnTo>
                    <a:pt x="386" y="800"/>
                  </a:lnTo>
                  <a:lnTo>
                    <a:pt x="388" y="798"/>
                  </a:lnTo>
                  <a:lnTo>
                    <a:pt x="390" y="796"/>
                  </a:lnTo>
                  <a:lnTo>
                    <a:pt x="392" y="790"/>
                  </a:lnTo>
                  <a:lnTo>
                    <a:pt x="392" y="778"/>
                  </a:lnTo>
                  <a:lnTo>
                    <a:pt x="392" y="778"/>
                  </a:lnTo>
                  <a:lnTo>
                    <a:pt x="396" y="654"/>
                  </a:lnTo>
                  <a:lnTo>
                    <a:pt x="396" y="654"/>
                  </a:lnTo>
                  <a:lnTo>
                    <a:pt x="390" y="582"/>
                  </a:lnTo>
                  <a:lnTo>
                    <a:pt x="390" y="582"/>
                  </a:lnTo>
                  <a:lnTo>
                    <a:pt x="386" y="528"/>
                  </a:lnTo>
                  <a:lnTo>
                    <a:pt x="388" y="516"/>
                  </a:lnTo>
                  <a:lnTo>
                    <a:pt x="388" y="514"/>
                  </a:lnTo>
                  <a:lnTo>
                    <a:pt x="390" y="516"/>
                  </a:lnTo>
                  <a:lnTo>
                    <a:pt x="390" y="516"/>
                  </a:lnTo>
                  <a:lnTo>
                    <a:pt x="388" y="532"/>
                  </a:lnTo>
                  <a:lnTo>
                    <a:pt x="388" y="550"/>
                  </a:lnTo>
                  <a:lnTo>
                    <a:pt x="388" y="568"/>
                  </a:lnTo>
                  <a:lnTo>
                    <a:pt x="388" y="568"/>
                  </a:lnTo>
                  <a:lnTo>
                    <a:pt x="392" y="580"/>
                  </a:lnTo>
                  <a:lnTo>
                    <a:pt x="394" y="590"/>
                  </a:lnTo>
                  <a:lnTo>
                    <a:pt x="398" y="608"/>
                  </a:lnTo>
                  <a:lnTo>
                    <a:pt x="398" y="642"/>
                  </a:lnTo>
                  <a:lnTo>
                    <a:pt x="398" y="642"/>
                  </a:lnTo>
                  <a:lnTo>
                    <a:pt x="402" y="678"/>
                  </a:lnTo>
                  <a:lnTo>
                    <a:pt x="406" y="696"/>
                  </a:lnTo>
                  <a:lnTo>
                    <a:pt x="406" y="696"/>
                  </a:lnTo>
                  <a:lnTo>
                    <a:pt x="406" y="718"/>
                  </a:lnTo>
                  <a:lnTo>
                    <a:pt x="408" y="732"/>
                  </a:lnTo>
                  <a:lnTo>
                    <a:pt x="408" y="732"/>
                  </a:lnTo>
                  <a:lnTo>
                    <a:pt x="412" y="732"/>
                  </a:lnTo>
                  <a:lnTo>
                    <a:pt x="412" y="732"/>
                  </a:lnTo>
                  <a:lnTo>
                    <a:pt x="410" y="736"/>
                  </a:lnTo>
                  <a:lnTo>
                    <a:pt x="410" y="736"/>
                  </a:lnTo>
                  <a:lnTo>
                    <a:pt x="408" y="744"/>
                  </a:lnTo>
                  <a:lnTo>
                    <a:pt x="408" y="754"/>
                  </a:lnTo>
                  <a:lnTo>
                    <a:pt x="408" y="764"/>
                  </a:lnTo>
                  <a:lnTo>
                    <a:pt x="408" y="764"/>
                  </a:lnTo>
                  <a:lnTo>
                    <a:pt x="408" y="790"/>
                  </a:lnTo>
                  <a:lnTo>
                    <a:pt x="408" y="790"/>
                  </a:lnTo>
                  <a:lnTo>
                    <a:pt x="412" y="794"/>
                  </a:lnTo>
                  <a:lnTo>
                    <a:pt x="416" y="798"/>
                  </a:lnTo>
                  <a:lnTo>
                    <a:pt x="418" y="798"/>
                  </a:lnTo>
                  <a:lnTo>
                    <a:pt x="422" y="796"/>
                  </a:lnTo>
                  <a:lnTo>
                    <a:pt x="424" y="794"/>
                  </a:lnTo>
                  <a:lnTo>
                    <a:pt x="424" y="788"/>
                  </a:lnTo>
                  <a:lnTo>
                    <a:pt x="424" y="788"/>
                  </a:lnTo>
                  <a:lnTo>
                    <a:pt x="424" y="780"/>
                  </a:lnTo>
                  <a:lnTo>
                    <a:pt x="424" y="770"/>
                  </a:lnTo>
                  <a:lnTo>
                    <a:pt x="424" y="770"/>
                  </a:lnTo>
                  <a:lnTo>
                    <a:pt x="428" y="768"/>
                  </a:lnTo>
                  <a:lnTo>
                    <a:pt x="432" y="768"/>
                  </a:lnTo>
                  <a:lnTo>
                    <a:pt x="434" y="770"/>
                  </a:lnTo>
                  <a:lnTo>
                    <a:pt x="436" y="776"/>
                  </a:lnTo>
                  <a:lnTo>
                    <a:pt x="436" y="776"/>
                  </a:lnTo>
                  <a:lnTo>
                    <a:pt x="434" y="786"/>
                  </a:lnTo>
                  <a:lnTo>
                    <a:pt x="434" y="786"/>
                  </a:lnTo>
                  <a:lnTo>
                    <a:pt x="434" y="794"/>
                  </a:lnTo>
                  <a:lnTo>
                    <a:pt x="432" y="796"/>
                  </a:lnTo>
                  <a:lnTo>
                    <a:pt x="428" y="798"/>
                  </a:lnTo>
                  <a:lnTo>
                    <a:pt x="428" y="798"/>
                  </a:lnTo>
                  <a:lnTo>
                    <a:pt x="422" y="802"/>
                  </a:lnTo>
                  <a:lnTo>
                    <a:pt x="412" y="802"/>
                  </a:lnTo>
                  <a:lnTo>
                    <a:pt x="412" y="802"/>
                  </a:lnTo>
                  <a:lnTo>
                    <a:pt x="406" y="804"/>
                  </a:lnTo>
                  <a:lnTo>
                    <a:pt x="400" y="806"/>
                  </a:lnTo>
                  <a:lnTo>
                    <a:pt x="398" y="808"/>
                  </a:lnTo>
                  <a:lnTo>
                    <a:pt x="398" y="812"/>
                  </a:lnTo>
                  <a:lnTo>
                    <a:pt x="398" y="812"/>
                  </a:lnTo>
                  <a:lnTo>
                    <a:pt x="402" y="816"/>
                  </a:lnTo>
                  <a:lnTo>
                    <a:pt x="406" y="816"/>
                  </a:lnTo>
                  <a:lnTo>
                    <a:pt x="412" y="818"/>
                  </a:lnTo>
                  <a:lnTo>
                    <a:pt x="412" y="818"/>
                  </a:lnTo>
                  <a:lnTo>
                    <a:pt x="420" y="816"/>
                  </a:lnTo>
                  <a:lnTo>
                    <a:pt x="432" y="814"/>
                  </a:lnTo>
                  <a:lnTo>
                    <a:pt x="444" y="810"/>
                  </a:lnTo>
                  <a:lnTo>
                    <a:pt x="448" y="806"/>
                  </a:lnTo>
                  <a:lnTo>
                    <a:pt x="452" y="802"/>
                  </a:lnTo>
                  <a:lnTo>
                    <a:pt x="452" y="802"/>
                  </a:lnTo>
                  <a:lnTo>
                    <a:pt x="454" y="796"/>
                  </a:lnTo>
                  <a:lnTo>
                    <a:pt x="460" y="790"/>
                  </a:lnTo>
                  <a:lnTo>
                    <a:pt x="460" y="790"/>
                  </a:lnTo>
                  <a:lnTo>
                    <a:pt x="464" y="780"/>
                  </a:lnTo>
                  <a:lnTo>
                    <a:pt x="464" y="766"/>
                  </a:lnTo>
                  <a:lnTo>
                    <a:pt x="464" y="766"/>
                  </a:lnTo>
                  <a:lnTo>
                    <a:pt x="462" y="744"/>
                  </a:lnTo>
                  <a:lnTo>
                    <a:pt x="462" y="744"/>
                  </a:lnTo>
                  <a:lnTo>
                    <a:pt x="462" y="744"/>
                  </a:lnTo>
                  <a:lnTo>
                    <a:pt x="464" y="742"/>
                  </a:lnTo>
                  <a:lnTo>
                    <a:pt x="464" y="742"/>
                  </a:lnTo>
                  <a:lnTo>
                    <a:pt x="464" y="734"/>
                  </a:lnTo>
                  <a:lnTo>
                    <a:pt x="464" y="734"/>
                  </a:lnTo>
                  <a:lnTo>
                    <a:pt x="464" y="724"/>
                  </a:lnTo>
                  <a:lnTo>
                    <a:pt x="466" y="710"/>
                  </a:lnTo>
                  <a:lnTo>
                    <a:pt x="472" y="680"/>
                  </a:lnTo>
                  <a:lnTo>
                    <a:pt x="472" y="680"/>
                  </a:lnTo>
                  <a:lnTo>
                    <a:pt x="478" y="644"/>
                  </a:lnTo>
                  <a:lnTo>
                    <a:pt x="480" y="626"/>
                  </a:lnTo>
                  <a:lnTo>
                    <a:pt x="480" y="610"/>
                  </a:lnTo>
                  <a:lnTo>
                    <a:pt x="480" y="610"/>
                  </a:lnTo>
                  <a:close/>
                  <a:moveTo>
                    <a:pt x="96" y="590"/>
                  </a:moveTo>
                  <a:lnTo>
                    <a:pt x="96" y="590"/>
                  </a:lnTo>
                  <a:lnTo>
                    <a:pt x="92" y="600"/>
                  </a:lnTo>
                  <a:lnTo>
                    <a:pt x="88" y="604"/>
                  </a:lnTo>
                  <a:lnTo>
                    <a:pt x="88" y="604"/>
                  </a:lnTo>
                  <a:lnTo>
                    <a:pt x="84" y="594"/>
                  </a:lnTo>
                  <a:lnTo>
                    <a:pt x="84" y="594"/>
                  </a:lnTo>
                  <a:lnTo>
                    <a:pt x="76" y="564"/>
                  </a:lnTo>
                  <a:lnTo>
                    <a:pt x="70" y="522"/>
                  </a:lnTo>
                  <a:lnTo>
                    <a:pt x="70" y="522"/>
                  </a:lnTo>
                  <a:lnTo>
                    <a:pt x="70" y="502"/>
                  </a:lnTo>
                  <a:lnTo>
                    <a:pt x="74" y="494"/>
                  </a:lnTo>
                  <a:lnTo>
                    <a:pt x="76" y="486"/>
                  </a:lnTo>
                  <a:lnTo>
                    <a:pt x="76" y="486"/>
                  </a:lnTo>
                  <a:lnTo>
                    <a:pt x="82" y="478"/>
                  </a:lnTo>
                  <a:lnTo>
                    <a:pt x="86" y="470"/>
                  </a:lnTo>
                  <a:lnTo>
                    <a:pt x="88" y="460"/>
                  </a:lnTo>
                  <a:lnTo>
                    <a:pt x="88" y="460"/>
                  </a:lnTo>
                  <a:lnTo>
                    <a:pt x="100" y="432"/>
                  </a:lnTo>
                  <a:lnTo>
                    <a:pt x="100" y="432"/>
                  </a:lnTo>
                  <a:lnTo>
                    <a:pt x="102" y="424"/>
                  </a:lnTo>
                  <a:lnTo>
                    <a:pt x="106" y="418"/>
                  </a:lnTo>
                  <a:lnTo>
                    <a:pt x="110" y="418"/>
                  </a:lnTo>
                  <a:lnTo>
                    <a:pt x="114" y="422"/>
                  </a:lnTo>
                  <a:lnTo>
                    <a:pt x="114" y="422"/>
                  </a:lnTo>
                  <a:lnTo>
                    <a:pt x="116" y="430"/>
                  </a:lnTo>
                  <a:lnTo>
                    <a:pt x="118" y="440"/>
                  </a:lnTo>
                  <a:lnTo>
                    <a:pt x="122" y="470"/>
                  </a:lnTo>
                  <a:lnTo>
                    <a:pt x="126" y="508"/>
                  </a:lnTo>
                  <a:lnTo>
                    <a:pt x="126" y="508"/>
                  </a:lnTo>
                  <a:lnTo>
                    <a:pt x="126" y="516"/>
                  </a:lnTo>
                  <a:lnTo>
                    <a:pt x="124" y="524"/>
                  </a:lnTo>
                  <a:lnTo>
                    <a:pt x="118" y="544"/>
                  </a:lnTo>
                  <a:lnTo>
                    <a:pt x="96" y="590"/>
                  </a:lnTo>
                  <a:lnTo>
                    <a:pt x="96" y="590"/>
                  </a:lnTo>
                  <a:close/>
                  <a:moveTo>
                    <a:pt x="238" y="1034"/>
                  </a:moveTo>
                  <a:lnTo>
                    <a:pt x="238" y="1034"/>
                  </a:lnTo>
                  <a:lnTo>
                    <a:pt x="232" y="1090"/>
                  </a:lnTo>
                  <a:lnTo>
                    <a:pt x="228" y="1130"/>
                  </a:lnTo>
                  <a:lnTo>
                    <a:pt x="226" y="1158"/>
                  </a:lnTo>
                  <a:lnTo>
                    <a:pt x="226" y="1158"/>
                  </a:lnTo>
                  <a:lnTo>
                    <a:pt x="226" y="1204"/>
                  </a:lnTo>
                  <a:lnTo>
                    <a:pt x="226" y="1204"/>
                  </a:lnTo>
                  <a:lnTo>
                    <a:pt x="220" y="1158"/>
                  </a:lnTo>
                  <a:lnTo>
                    <a:pt x="220" y="1158"/>
                  </a:lnTo>
                  <a:lnTo>
                    <a:pt x="214" y="1142"/>
                  </a:lnTo>
                  <a:lnTo>
                    <a:pt x="212" y="1136"/>
                  </a:lnTo>
                  <a:lnTo>
                    <a:pt x="212" y="1130"/>
                  </a:lnTo>
                  <a:lnTo>
                    <a:pt x="212" y="1130"/>
                  </a:lnTo>
                  <a:lnTo>
                    <a:pt x="212" y="1084"/>
                  </a:lnTo>
                  <a:lnTo>
                    <a:pt x="212" y="1030"/>
                  </a:lnTo>
                  <a:lnTo>
                    <a:pt x="212" y="1030"/>
                  </a:lnTo>
                  <a:lnTo>
                    <a:pt x="212" y="1020"/>
                  </a:lnTo>
                  <a:lnTo>
                    <a:pt x="210" y="1012"/>
                  </a:lnTo>
                  <a:lnTo>
                    <a:pt x="210" y="998"/>
                  </a:lnTo>
                  <a:lnTo>
                    <a:pt x="216" y="972"/>
                  </a:lnTo>
                  <a:lnTo>
                    <a:pt x="216" y="972"/>
                  </a:lnTo>
                  <a:lnTo>
                    <a:pt x="226" y="900"/>
                  </a:lnTo>
                  <a:lnTo>
                    <a:pt x="232" y="856"/>
                  </a:lnTo>
                  <a:lnTo>
                    <a:pt x="234" y="842"/>
                  </a:lnTo>
                  <a:lnTo>
                    <a:pt x="236" y="838"/>
                  </a:lnTo>
                  <a:lnTo>
                    <a:pt x="236" y="838"/>
                  </a:lnTo>
                  <a:lnTo>
                    <a:pt x="238" y="844"/>
                  </a:lnTo>
                  <a:lnTo>
                    <a:pt x="238" y="856"/>
                  </a:lnTo>
                  <a:lnTo>
                    <a:pt x="240" y="892"/>
                  </a:lnTo>
                  <a:lnTo>
                    <a:pt x="240" y="930"/>
                  </a:lnTo>
                  <a:lnTo>
                    <a:pt x="240" y="952"/>
                  </a:lnTo>
                  <a:lnTo>
                    <a:pt x="240" y="952"/>
                  </a:lnTo>
                  <a:lnTo>
                    <a:pt x="242" y="970"/>
                  </a:lnTo>
                  <a:lnTo>
                    <a:pt x="240" y="998"/>
                  </a:lnTo>
                  <a:lnTo>
                    <a:pt x="238" y="1034"/>
                  </a:lnTo>
                  <a:lnTo>
                    <a:pt x="238" y="103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24" name="Picture 17">
              <a:extLst>
                <a:ext uri="{FF2B5EF4-FFF2-40B4-BE49-F238E27FC236}">
                  <a16:creationId xmlns:a16="http://schemas.microsoft.com/office/drawing/2014/main" id="{836BBB2F-4451-41DE-9B7B-E24900E5146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41019" y="4426185"/>
              <a:ext cx="116969" cy="3333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cxnSp>
        <p:nvCxnSpPr>
          <p:cNvPr id="25" name="Straight Connector 24">
            <a:extLst>
              <a:ext uri="{FF2B5EF4-FFF2-40B4-BE49-F238E27FC236}">
                <a16:creationId xmlns:a16="http://schemas.microsoft.com/office/drawing/2014/main" id="{6EAC10FB-0AE2-4F24-B1D5-76B567A07B64}"/>
              </a:ext>
            </a:extLst>
          </p:cNvPr>
          <p:cNvCxnSpPr/>
          <p:nvPr/>
        </p:nvCxnSpPr>
        <p:spPr>
          <a:xfrm>
            <a:off x="1711835" y="3009445"/>
            <a:ext cx="1071243" cy="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EE0235A-C244-4F7C-B187-C0230D6CB127}"/>
              </a:ext>
            </a:extLst>
          </p:cNvPr>
          <p:cNvCxnSpPr>
            <a:endCxn id="28" idx="0"/>
          </p:cNvCxnSpPr>
          <p:nvPr/>
        </p:nvCxnSpPr>
        <p:spPr>
          <a:xfrm>
            <a:off x="2232942" y="3036066"/>
            <a:ext cx="17681" cy="124645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D69D89C-12C9-49B9-9DA6-3C891FC345AB}"/>
              </a:ext>
            </a:extLst>
          </p:cNvPr>
          <p:cNvSpPr txBox="1"/>
          <p:nvPr/>
        </p:nvSpPr>
        <p:spPr>
          <a:xfrm>
            <a:off x="1736310" y="2422938"/>
            <a:ext cx="1108342" cy="457174"/>
          </a:xfrm>
          <a:prstGeom prst="rect">
            <a:avLst/>
          </a:prstGeom>
          <a:noFill/>
        </p:spPr>
        <p:txBody>
          <a:bodyPr wrap="square" lIns="0" tIns="0" rIns="0" bIns="0" rtlCol="0">
            <a:noAutofit/>
          </a:bodyPr>
          <a:lstStyle/>
          <a:p>
            <a:pPr defTabSz="699897" eaLnBrk="0" hangingPunct="0">
              <a:spcAft>
                <a:spcPts val="175"/>
              </a:spcAft>
              <a:defRPr/>
            </a:pPr>
            <a:r>
              <a:rPr lang="en-AU" sz="1200" kern="0" dirty="0">
                <a:solidFill>
                  <a:schemeClr val="tx2"/>
                </a:solidFill>
                <a:latin typeface="+mj-lt"/>
                <a:cs typeface="Arial" charset="0"/>
              </a:rPr>
              <a:t>Will I get my Christmas Hamper?</a:t>
            </a:r>
            <a:endParaRPr lang="fr-FR" sz="1200" kern="0" dirty="0">
              <a:solidFill>
                <a:schemeClr val="tx2"/>
              </a:solidFill>
              <a:latin typeface="+mj-lt"/>
              <a:cs typeface="Arial" charset="0"/>
            </a:endParaRPr>
          </a:p>
        </p:txBody>
      </p:sp>
      <p:sp>
        <p:nvSpPr>
          <p:cNvPr id="28" name="Oval 27">
            <a:extLst>
              <a:ext uri="{FF2B5EF4-FFF2-40B4-BE49-F238E27FC236}">
                <a16:creationId xmlns:a16="http://schemas.microsoft.com/office/drawing/2014/main" id="{D277D973-3FB8-4BBB-A4CE-21F22892B9B8}"/>
              </a:ext>
            </a:extLst>
          </p:cNvPr>
          <p:cNvSpPr/>
          <p:nvPr/>
        </p:nvSpPr>
        <p:spPr bwMode="ltGray">
          <a:xfrm>
            <a:off x="2132645" y="4282516"/>
            <a:ext cx="235956" cy="250273"/>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GB" dirty="0" err="1">
              <a:solidFill>
                <a:schemeClr val="bg1"/>
              </a:solidFill>
              <a:latin typeface="Georgia" pitchFamily="18" charset="0"/>
            </a:endParaRPr>
          </a:p>
        </p:txBody>
      </p:sp>
      <p:cxnSp>
        <p:nvCxnSpPr>
          <p:cNvPr id="29" name="Straight Connector 28">
            <a:extLst>
              <a:ext uri="{FF2B5EF4-FFF2-40B4-BE49-F238E27FC236}">
                <a16:creationId xmlns:a16="http://schemas.microsoft.com/office/drawing/2014/main" id="{E1E45ED8-3575-4576-9942-9D3E879F3580}"/>
              </a:ext>
            </a:extLst>
          </p:cNvPr>
          <p:cNvCxnSpPr/>
          <p:nvPr/>
        </p:nvCxnSpPr>
        <p:spPr>
          <a:xfrm>
            <a:off x="4127011" y="2512729"/>
            <a:ext cx="1071243" cy="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B7ED10B-E5A1-4383-A247-8FBD13080265}"/>
              </a:ext>
            </a:extLst>
          </p:cNvPr>
          <p:cNvCxnSpPr>
            <a:endCxn id="32" idx="0"/>
          </p:cNvCxnSpPr>
          <p:nvPr/>
        </p:nvCxnSpPr>
        <p:spPr>
          <a:xfrm>
            <a:off x="4662116" y="2527279"/>
            <a:ext cx="3683" cy="1755237"/>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FB8FA113-F0B8-46F5-AEED-A0D466E33517}"/>
              </a:ext>
            </a:extLst>
          </p:cNvPr>
          <p:cNvSpPr txBox="1"/>
          <p:nvPr/>
        </p:nvSpPr>
        <p:spPr>
          <a:xfrm>
            <a:off x="4151486" y="1954800"/>
            <a:ext cx="1108342" cy="457174"/>
          </a:xfrm>
          <a:prstGeom prst="rect">
            <a:avLst/>
          </a:prstGeom>
          <a:noFill/>
        </p:spPr>
        <p:txBody>
          <a:bodyPr wrap="square" lIns="0" tIns="0" rIns="0" bIns="0" rtlCol="0">
            <a:noAutofit/>
          </a:bodyPr>
          <a:lstStyle/>
          <a:p>
            <a:pPr defTabSz="699897" eaLnBrk="0" hangingPunct="0">
              <a:spcAft>
                <a:spcPts val="175"/>
              </a:spcAft>
              <a:defRPr/>
            </a:pPr>
            <a:r>
              <a:rPr lang="en-AU" sz="1200" kern="0" dirty="0">
                <a:solidFill>
                  <a:schemeClr val="tx2"/>
                </a:solidFill>
                <a:latin typeface="+mj-lt"/>
                <a:cs typeface="Arial" charset="0"/>
              </a:rPr>
              <a:t>Will my uniform remain the same? </a:t>
            </a:r>
            <a:endParaRPr lang="fr-FR" sz="1200" kern="0" dirty="0">
              <a:solidFill>
                <a:schemeClr val="tx2"/>
              </a:solidFill>
              <a:latin typeface="+mj-lt"/>
              <a:cs typeface="Arial" charset="0"/>
            </a:endParaRPr>
          </a:p>
        </p:txBody>
      </p:sp>
      <p:sp>
        <p:nvSpPr>
          <p:cNvPr id="32" name="Oval 31">
            <a:extLst>
              <a:ext uri="{FF2B5EF4-FFF2-40B4-BE49-F238E27FC236}">
                <a16:creationId xmlns:a16="http://schemas.microsoft.com/office/drawing/2014/main" id="{4486296E-7755-4290-ADD0-253FBFBCA597}"/>
              </a:ext>
            </a:extLst>
          </p:cNvPr>
          <p:cNvSpPr/>
          <p:nvPr/>
        </p:nvSpPr>
        <p:spPr bwMode="ltGray">
          <a:xfrm>
            <a:off x="4547821" y="4282516"/>
            <a:ext cx="235956" cy="250273"/>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GB" dirty="0" err="1">
              <a:solidFill>
                <a:schemeClr val="bg1"/>
              </a:solidFill>
              <a:latin typeface="Georgia" pitchFamily="18" charset="0"/>
            </a:endParaRPr>
          </a:p>
        </p:txBody>
      </p:sp>
      <p:cxnSp>
        <p:nvCxnSpPr>
          <p:cNvPr id="33" name="Straight Connector 32">
            <a:extLst>
              <a:ext uri="{FF2B5EF4-FFF2-40B4-BE49-F238E27FC236}">
                <a16:creationId xmlns:a16="http://schemas.microsoft.com/office/drawing/2014/main" id="{32A62699-59BA-4D0A-892B-EAF54D95466C}"/>
              </a:ext>
            </a:extLst>
          </p:cNvPr>
          <p:cNvCxnSpPr/>
          <p:nvPr/>
        </p:nvCxnSpPr>
        <p:spPr>
          <a:xfrm>
            <a:off x="5560512" y="2708269"/>
            <a:ext cx="1071243" cy="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B7BD57B-92DB-425F-ACB1-A95631EC07D6}"/>
              </a:ext>
            </a:extLst>
          </p:cNvPr>
          <p:cNvCxnSpPr>
            <a:endCxn id="36" idx="0"/>
          </p:cNvCxnSpPr>
          <p:nvPr/>
        </p:nvCxnSpPr>
        <p:spPr>
          <a:xfrm>
            <a:off x="6093742" y="2753844"/>
            <a:ext cx="5558" cy="1528672"/>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2E5FC95-767C-4731-BB76-30F3B2348E1C}"/>
              </a:ext>
            </a:extLst>
          </p:cNvPr>
          <p:cNvSpPr txBox="1"/>
          <p:nvPr/>
        </p:nvSpPr>
        <p:spPr>
          <a:xfrm>
            <a:off x="5686587" y="2129658"/>
            <a:ext cx="1108342" cy="457174"/>
          </a:xfrm>
          <a:prstGeom prst="rect">
            <a:avLst/>
          </a:prstGeom>
          <a:noFill/>
        </p:spPr>
        <p:txBody>
          <a:bodyPr wrap="square" lIns="0" tIns="0" rIns="0" bIns="0" rtlCol="0">
            <a:noAutofit/>
          </a:bodyPr>
          <a:lstStyle/>
          <a:p>
            <a:pPr defTabSz="699897" eaLnBrk="0" hangingPunct="0">
              <a:spcAft>
                <a:spcPts val="175"/>
              </a:spcAft>
              <a:defRPr/>
            </a:pPr>
            <a:r>
              <a:rPr lang="fr-FR" sz="1200" kern="0" dirty="0">
                <a:solidFill>
                  <a:schemeClr val="tx2"/>
                </a:solidFill>
                <a:latin typeface="+mj-lt"/>
                <a:cs typeface="Arial" charset="0"/>
              </a:rPr>
              <a:t>What will change about my brand?</a:t>
            </a:r>
          </a:p>
        </p:txBody>
      </p:sp>
      <p:sp>
        <p:nvSpPr>
          <p:cNvPr id="36" name="Oval 35">
            <a:extLst>
              <a:ext uri="{FF2B5EF4-FFF2-40B4-BE49-F238E27FC236}">
                <a16:creationId xmlns:a16="http://schemas.microsoft.com/office/drawing/2014/main" id="{A03F0821-F542-43A0-B63B-01CFB3A0451C}"/>
              </a:ext>
            </a:extLst>
          </p:cNvPr>
          <p:cNvSpPr/>
          <p:nvPr/>
        </p:nvSpPr>
        <p:spPr bwMode="ltGray">
          <a:xfrm>
            <a:off x="5981322" y="4282516"/>
            <a:ext cx="235956" cy="250273"/>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GB" dirty="0" err="1">
              <a:solidFill>
                <a:schemeClr val="bg1"/>
              </a:solidFill>
              <a:latin typeface="Georgia" pitchFamily="18" charset="0"/>
            </a:endParaRPr>
          </a:p>
        </p:txBody>
      </p:sp>
      <p:cxnSp>
        <p:nvCxnSpPr>
          <p:cNvPr id="37" name="Straight Connector 36">
            <a:extLst>
              <a:ext uri="{FF2B5EF4-FFF2-40B4-BE49-F238E27FC236}">
                <a16:creationId xmlns:a16="http://schemas.microsoft.com/office/drawing/2014/main" id="{805F3CFE-44C9-476E-A652-BE4BD2F4D78E}"/>
              </a:ext>
            </a:extLst>
          </p:cNvPr>
          <p:cNvCxnSpPr/>
          <p:nvPr/>
        </p:nvCxnSpPr>
        <p:spPr>
          <a:xfrm>
            <a:off x="8564692" y="2512729"/>
            <a:ext cx="1071243" cy="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48BB78A-79FE-43F8-A1D4-2C06410AC791}"/>
              </a:ext>
            </a:extLst>
          </p:cNvPr>
          <p:cNvCxnSpPr>
            <a:endCxn id="40" idx="0"/>
          </p:cNvCxnSpPr>
          <p:nvPr/>
        </p:nvCxnSpPr>
        <p:spPr>
          <a:xfrm>
            <a:off x="9103480" y="2527280"/>
            <a:ext cx="0" cy="2136131"/>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92BDEF0-FEBE-426D-AF7C-DCBD03E72EF9}"/>
              </a:ext>
            </a:extLst>
          </p:cNvPr>
          <p:cNvSpPr txBox="1"/>
          <p:nvPr/>
        </p:nvSpPr>
        <p:spPr>
          <a:xfrm>
            <a:off x="8589167" y="1924790"/>
            <a:ext cx="1108342" cy="457174"/>
          </a:xfrm>
          <a:prstGeom prst="rect">
            <a:avLst/>
          </a:prstGeom>
          <a:noFill/>
        </p:spPr>
        <p:txBody>
          <a:bodyPr wrap="square" lIns="0" tIns="0" rIns="0" bIns="0" rtlCol="0">
            <a:noAutofit/>
          </a:bodyPr>
          <a:lstStyle/>
          <a:p>
            <a:pPr defTabSz="699897" eaLnBrk="0" hangingPunct="0">
              <a:spcAft>
                <a:spcPts val="175"/>
              </a:spcAft>
              <a:defRPr/>
            </a:pPr>
            <a:r>
              <a:rPr lang="en-AU" sz="1200" kern="0" dirty="0">
                <a:solidFill>
                  <a:schemeClr val="tx2"/>
                </a:solidFill>
                <a:latin typeface="+mj-lt"/>
                <a:cs typeface="Arial" charset="0"/>
              </a:rPr>
              <a:t>Do I get to sit next to the same people?</a:t>
            </a:r>
            <a:endParaRPr lang="fr-FR" sz="1200" kern="0" dirty="0">
              <a:solidFill>
                <a:schemeClr val="tx2"/>
              </a:solidFill>
              <a:latin typeface="+mj-lt"/>
              <a:cs typeface="Arial" charset="0"/>
            </a:endParaRPr>
          </a:p>
        </p:txBody>
      </p:sp>
      <p:sp>
        <p:nvSpPr>
          <p:cNvPr id="40" name="Oval 39">
            <a:extLst>
              <a:ext uri="{FF2B5EF4-FFF2-40B4-BE49-F238E27FC236}">
                <a16:creationId xmlns:a16="http://schemas.microsoft.com/office/drawing/2014/main" id="{A1AD3702-79CD-4ED1-8DF8-2049328459B4}"/>
              </a:ext>
            </a:extLst>
          </p:cNvPr>
          <p:cNvSpPr/>
          <p:nvPr/>
        </p:nvSpPr>
        <p:spPr bwMode="ltGray">
          <a:xfrm>
            <a:off x="8985502" y="4663411"/>
            <a:ext cx="235956" cy="250273"/>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GB" dirty="0" err="1">
              <a:solidFill>
                <a:schemeClr val="bg1"/>
              </a:solidFill>
              <a:latin typeface="Georgia" pitchFamily="18" charset="0"/>
            </a:endParaRPr>
          </a:p>
        </p:txBody>
      </p:sp>
      <p:cxnSp>
        <p:nvCxnSpPr>
          <p:cNvPr id="41" name="Straight Connector 40">
            <a:extLst>
              <a:ext uri="{FF2B5EF4-FFF2-40B4-BE49-F238E27FC236}">
                <a16:creationId xmlns:a16="http://schemas.microsoft.com/office/drawing/2014/main" id="{9A04F831-8461-4F83-872E-0C89FC15D130}"/>
              </a:ext>
            </a:extLst>
          </p:cNvPr>
          <p:cNvCxnSpPr/>
          <p:nvPr/>
        </p:nvCxnSpPr>
        <p:spPr>
          <a:xfrm>
            <a:off x="6767672" y="2466931"/>
            <a:ext cx="1071243" cy="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D175196-7446-487C-888E-432F10E85948}"/>
              </a:ext>
            </a:extLst>
          </p:cNvPr>
          <p:cNvCxnSpPr>
            <a:endCxn id="44" idx="0"/>
          </p:cNvCxnSpPr>
          <p:nvPr/>
        </p:nvCxnSpPr>
        <p:spPr>
          <a:xfrm>
            <a:off x="7301653" y="2494199"/>
            <a:ext cx="4807" cy="1535481"/>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2CCE161-0E3F-4F83-A489-704C03D294DC}"/>
              </a:ext>
            </a:extLst>
          </p:cNvPr>
          <p:cNvSpPr txBox="1"/>
          <p:nvPr/>
        </p:nvSpPr>
        <p:spPr>
          <a:xfrm>
            <a:off x="6792147" y="1763947"/>
            <a:ext cx="1108342" cy="457174"/>
          </a:xfrm>
          <a:prstGeom prst="rect">
            <a:avLst/>
          </a:prstGeom>
          <a:noFill/>
        </p:spPr>
        <p:txBody>
          <a:bodyPr wrap="square" lIns="0" tIns="0" rIns="0" bIns="0" rtlCol="0">
            <a:noAutofit/>
          </a:bodyPr>
          <a:lstStyle/>
          <a:p>
            <a:pPr defTabSz="699897" eaLnBrk="0" hangingPunct="0">
              <a:spcAft>
                <a:spcPts val="175"/>
              </a:spcAft>
              <a:defRPr/>
            </a:pPr>
            <a:endParaRPr lang="fr-FR" sz="1200" kern="0" dirty="0">
              <a:solidFill>
                <a:schemeClr val="tx2"/>
              </a:solidFill>
              <a:latin typeface="+mj-lt"/>
              <a:cs typeface="Arial" charset="0"/>
            </a:endParaRPr>
          </a:p>
        </p:txBody>
      </p:sp>
      <p:sp>
        <p:nvSpPr>
          <p:cNvPr id="44" name="Oval 43">
            <a:extLst>
              <a:ext uri="{FF2B5EF4-FFF2-40B4-BE49-F238E27FC236}">
                <a16:creationId xmlns:a16="http://schemas.microsoft.com/office/drawing/2014/main" id="{247E507A-44C1-45F7-8E3B-F931B1725D69}"/>
              </a:ext>
            </a:extLst>
          </p:cNvPr>
          <p:cNvSpPr/>
          <p:nvPr/>
        </p:nvSpPr>
        <p:spPr bwMode="ltGray">
          <a:xfrm>
            <a:off x="7188482" y="4029680"/>
            <a:ext cx="235956" cy="250273"/>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GB" dirty="0" err="1">
              <a:solidFill>
                <a:schemeClr val="bg1"/>
              </a:solidFill>
              <a:latin typeface="Georgia" pitchFamily="18" charset="0"/>
            </a:endParaRPr>
          </a:p>
        </p:txBody>
      </p:sp>
      <p:sp>
        <p:nvSpPr>
          <p:cNvPr id="45" name="Freeform 728">
            <a:extLst>
              <a:ext uri="{FF2B5EF4-FFF2-40B4-BE49-F238E27FC236}">
                <a16:creationId xmlns:a16="http://schemas.microsoft.com/office/drawing/2014/main" id="{403533E6-F6BC-42BD-9C81-370A83DCC466}"/>
              </a:ext>
            </a:extLst>
          </p:cNvPr>
          <p:cNvSpPr>
            <a:spLocks noEditPoints="1"/>
          </p:cNvSpPr>
          <p:nvPr/>
        </p:nvSpPr>
        <p:spPr bwMode="auto">
          <a:xfrm>
            <a:off x="4884061" y="4642895"/>
            <a:ext cx="1993082" cy="756594"/>
          </a:xfrm>
          <a:custGeom>
            <a:avLst/>
            <a:gdLst>
              <a:gd name="T0" fmla="*/ 238 w 380"/>
              <a:gd name="T1" fmla="*/ 6 h 136"/>
              <a:gd name="T2" fmla="*/ 270 w 380"/>
              <a:gd name="T3" fmla="*/ 30 h 136"/>
              <a:gd name="T4" fmla="*/ 176 w 380"/>
              <a:gd name="T5" fmla="*/ 6 h 136"/>
              <a:gd name="T6" fmla="*/ 358 w 380"/>
              <a:gd name="T7" fmla="*/ 70 h 136"/>
              <a:gd name="T8" fmla="*/ 12 w 380"/>
              <a:gd name="T9" fmla="*/ 134 h 136"/>
              <a:gd name="T10" fmla="*/ 166 w 380"/>
              <a:gd name="T11" fmla="*/ 4 h 136"/>
              <a:gd name="T12" fmla="*/ 286 w 380"/>
              <a:gd name="T13" fmla="*/ 50 h 136"/>
              <a:gd name="T14" fmla="*/ 36 w 380"/>
              <a:gd name="T15" fmla="*/ 54 h 136"/>
              <a:gd name="T16" fmla="*/ 4 w 380"/>
              <a:gd name="T17" fmla="*/ 122 h 136"/>
              <a:gd name="T18" fmla="*/ 156 w 380"/>
              <a:gd name="T19" fmla="*/ 12 h 136"/>
              <a:gd name="T20" fmla="*/ 356 w 380"/>
              <a:gd name="T21" fmla="*/ 92 h 136"/>
              <a:gd name="T22" fmla="*/ 342 w 380"/>
              <a:gd name="T23" fmla="*/ 104 h 136"/>
              <a:gd name="T24" fmla="*/ 342 w 380"/>
              <a:gd name="T25" fmla="*/ 84 h 136"/>
              <a:gd name="T26" fmla="*/ 326 w 380"/>
              <a:gd name="T27" fmla="*/ 84 h 136"/>
              <a:gd name="T28" fmla="*/ 318 w 380"/>
              <a:gd name="T29" fmla="*/ 84 h 136"/>
              <a:gd name="T30" fmla="*/ 330 w 380"/>
              <a:gd name="T31" fmla="*/ 72 h 136"/>
              <a:gd name="T32" fmla="*/ 328 w 380"/>
              <a:gd name="T33" fmla="*/ 62 h 136"/>
              <a:gd name="T34" fmla="*/ 308 w 380"/>
              <a:gd name="T35" fmla="*/ 74 h 136"/>
              <a:gd name="T36" fmla="*/ 310 w 380"/>
              <a:gd name="T37" fmla="*/ 58 h 136"/>
              <a:gd name="T38" fmla="*/ 286 w 380"/>
              <a:gd name="T39" fmla="*/ 52 h 136"/>
              <a:gd name="T40" fmla="*/ 274 w 380"/>
              <a:gd name="T41" fmla="*/ 60 h 136"/>
              <a:gd name="T42" fmla="*/ 268 w 380"/>
              <a:gd name="T43" fmla="*/ 52 h 136"/>
              <a:gd name="T44" fmla="*/ 254 w 380"/>
              <a:gd name="T45" fmla="*/ 52 h 136"/>
              <a:gd name="T46" fmla="*/ 250 w 380"/>
              <a:gd name="T47" fmla="*/ 50 h 136"/>
              <a:gd name="T48" fmla="*/ 254 w 380"/>
              <a:gd name="T49" fmla="*/ 38 h 136"/>
              <a:gd name="T50" fmla="*/ 240 w 380"/>
              <a:gd name="T51" fmla="*/ 40 h 136"/>
              <a:gd name="T52" fmla="*/ 230 w 380"/>
              <a:gd name="T53" fmla="*/ 38 h 136"/>
              <a:gd name="T54" fmla="*/ 244 w 380"/>
              <a:gd name="T55" fmla="*/ 28 h 136"/>
              <a:gd name="T56" fmla="*/ 240 w 380"/>
              <a:gd name="T57" fmla="*/ 18 h 136"/>
              <a:gd name="T58" fmla="*/ 218 w 380"/>
              <a:gd name="T59" fmla="*/ 26 h 136"/>
              <a:gd name="T60" fmla="*/ 224 w 380"/>
              <a:gd name="T61" fmla="*/ 12 h 136"/>
              <a:gd name="T62" fmla="*/ 200 w 380"/>
              <a:gd name="T63" fmla="*/ 6 h 136"/>
              <a:gd name="T64" fmla="*/ 198 w 380"/>
              <a:gd name="T65" fmla="*/ 18 h 136"/>
              <a:gd name="T66" fmla="*/ 166 w 380"/>
              <a:gd name="T67" fmla="*/ 12 h 136"/>
              <a:gd name="T68" fmla="*/ 166 w 380"/>
              <a:gd name="T69" fmla="*/ 28 h 136"/>
              <a:gd name="T70" fmla="*/ 156 w 380"/>
              <a:gd name="T71" fmla="*/ 40 h 136"/>
              <a:gd name="T72" fmla="*/ 152 w 380"/>
              <a:gd name="T73" fmla="*/ 68 h 136"/>
              <a:gd name="T74" fmla="*/ 124 w 380"/>
              <a:gd name="T75" fmla="*/ 78 h 136"/>
              <a:gd name="T76" fmla="*/ 116 w 380"/>
              <a:gd name="T77" fmla="*/ 68 h 136"/>
              <a:gd name="T78" fmla="*/ 126 w 380"/>
              <a:gd name="T79" fmla="*/ 60 h 136"/>
              <a:gd name="T80" fmla="*/ 112 w 380"/>
              <a:gd name="T81" fmla="*/ 64 h 136"/>
              <a:gd name="T82" fmla="*/ 102 w 380"/>
              <a:gd name="T83" fmla="*/ 56 h 136"/>
              <a:gd name="T84" fmla="*/ 100 w 380"/>
              <a:gd name="T85" fmla="*/ 48 h 136"/>
              <a:gd name="T86" fmla="*/ 92 w 380"/>
              <a:gd name="T87" fmla="*/ 58 h 136"/>
              <a:gd name="T88" fmla="*/ 74 w 380"/>
              <a:gd name="T89" fmla="*/ 66 h 136"/>
              <a:gd name="T90" fmla="*/ 54 w 380"/>
              <a:gd name="T91" fmla="*/ 60 h 136"/>
              <a:gd name="T92" fmla="*/ 58 w 380"/>
              <a:gd name="T93" fmla="*/ 80 h 136"/>
              <a:gd name="T94" fmla="*/ 44 w 380"/>
              <a:gd name="T95" fmla="*/ 90 h 136"/>
              <a:gd name="T96" fmla="*/ 30 w 380"/>
              <a:gd name="T97" fmla="*/ 108 h 136"/>
              <a:gd name="T98" fmla="*/ 18 w 380"/>
              <a:gd name="T99" fmla="*/ 126 h 136"/>
              <a:gd name="T100" fmla="*/ 372 w 380"/>
              <a:gd name="T101" fmla="*/ 124 h 136"/>
              <a:gd name="T102" fmla="*/ 374 w 380"/>
              <a:gd name="T103" fmla="*/ 100 h 136"/>
              <a:gd name="T104" fmla="*/ 116 w 380"/>
              <a:gd name="T105" fmla="*/ 80 h 136"/>
              <a:gd name="T106" fmla="*/ 134 w 380"/>
              <a:gd name="T107" fmla="*/ 86 h 136"/>
              <a:gd name="T108" fmla="*/ 280 w 380"/>
              <a:gd name="T109" fmla="*/ 68 h 136"/>
              <a:gd name="T110" fmla="*/ 286 w 380"/>
              <a:gd name="T111" fmla="*/ 62 h 136"/>
              <a:gd name="T112" fmla="*/ 62 w 380"/>
              <a:gd name="T113" fmla="*/ 48 h 136"/>
              <a:gd name="T114" fmla="*/ 124 w 380"/>
              <a:gd name="T115" fmla="*/ 48 h 136"/>
              <a:gd name="T116" fmla="*/ 74 w 380"/>
              <a:gd name="T117" fmla="*/ 52 h 136"/>
              <a:gd name="T118" fmla="*/ 82 w 380"/>
              <a:gd name="T119" fmla="*/ 5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0" h="136">
                <a:moveTo>
                  <a:pt x="198" y="4"/>
                </a:moveTo>
                <a:lnTo>
                  <a:pt x="198" y="4"/>
                </a:lnTo>
                <a:lnTo>
                  <a:pt x="198" y="2"/>
                </a:lnTo>
                <a:lnTo>
                  <a:pt x="198" y="0"/>
                </a:lnTo>
                <a:lnTo>
                  <a:pt x="196" y="0"/>
                </a:lnTo>
                <a:lnTo>
                  <a:pt x="196" y="0"/>
                </a:lnTo>
                <a:lnTo>
                  <a:pt x="196" y="4"/>
                </a:lnTo>
                <a:lnTo>
                  <a:pt x="196" y="4"/>
                </a:lnTo>
                <a:lnTo>
                  <a:pt x="198" y="4"/>
                </a:lnTo>
                <a:lnTo>
                  <a:pt x="198" y="4"/>
                </a:lnTo>
                <a:close/>
                <a:moveTo>
                  <a:pt x="238" y="6"/>
                </a:moveTo>
                <a:lnTo>
                  <a:pt x="238" y="6"/>
                </a:lnTo>
                <a:lnTo>
                  <a:pt x="238" y="10"/>
                </a:lnTo>
                <a:lnTo>
                  <a:pt x="238" y="10"/>
                </a:lnTo>
                <a:lnTo>
                  <a:pt x="242" y="10"/>
                </a:lnTo>
                <a:lnTo>
                  <a:pt x="242" y="10"/>
                </a:lnTo>
                <a:lnTo>
                  <a:pt x="242" y="8"/>
                </a:lnTo>
                <a:lnTo>
                  <a:pt x="238" y="6"/>
                </a:lnTo>
                <a:lnTo>
                  <a:pt x="238" y="6"/>
                </a:lnTo>
                <a:close/>
                <a:moveTo>
                  <a:pt x="278" y="36"/>
                </a:moveTo>
                <a:lnTo>
                  <a:pt x="278" y="36"/>
                </a:lnTo>
                <a:lnTo>
                  <a:pt x="274" y="36"/>
                </a:lnTo>
                <a:lnTo>
                  <a:pt x="274" y="36"/>
                </a:lnTo>
                <a:lnTo>
                  <a:pt x="272" y="38"/>
                </a:lnTo>
                <a:lnTo>
                  <a:pt x="272" y="38"/>
                </a:lnTo>
                <a:lnTo>
                  <a:pt x="276" y="38"/>
                </a:lnTo>
                <a:lnTo>
                  <a:pt x="278" y="36"/>
                </a:lnTo>
                <a:lnTo>
                  <a:pt x="278" y="36"/>
                </a:lnTo>
                <a:close/>
                <a:moveTo>
                  <a:pt x="270" y="30"/>
                </a:moveTo>
                <a:lnTo>
                  <a:pt x="270" y="30"/>
                </a:lnTo>
                <a:lnTo>
                  <a:pt x="270" y="24"/>
                </a:lnTo>
                <a:lnTo>
                  <a:pt x="270" y="20"/>
                </a:lnTo>
                <a:lnTo>
                  <a:pt x="268" y="20"/>
                </a:lnTo>
                <a:lnTo>
                  <a:pt x="268" y="20"/>
                </a:lnTo>
                <a:lnTo>
                  <a:pt x="266" y="26"/>
                </a:lnTo>
                <a:lnTo>
                  <a:pt x="266" y="28"/>
                </a:lnTo>
                <a:lnTo>
                  <a:pt x="270" y="30"/>
                </a:lnTo>
                <a:lnTo>
                  <a:pt x="270" y="30"/>
                </a:lnTo>
                <a:close/>
                <a:moveTo>
                  <a:pt x="194" y="10"/>
                </a:moveTo>
                <a:lnTo>
                  <a:pt x="194" y="10"/>
                </a:lnTo>
                <a:lnTo>
                  <a:pt x="196" y="12"/>
                </a:lnTo>
                <a:lnTo>
                  <a:pt x="198" y="12"/>
                </a:lnTo>
                <a:lnTo>
                  <a:pt x="198" y="12"/>
                </a:lnTo>
                <a:lnTo>
                  <a:pt x="198" y="10"/>
                </a:lnTo>
                <a:lnTo>
                  <a:pt x="196" y="8"/>
                </a:lnTo>
                <a:lnTo>
                  <a:pt x="194" y="8"/>
                </a:lnTo>
                <a:lnTo>
                  <a:pt x="194" y="10"/>
                </a:lnTo>
                <a:lnTo>
                  <a:pt x="194" y="10"/>
                </a:lnTo>
                <a:close/>
                <a:moveTo>
                  <a:pt x="176" y="6"/>
                </a:moveTo>
                <a:lnTo>
                  <a:pt x="176" y="6"/>
                </a:lnTo>
                <a:lnTo>
                  <a:pt x="172" y="6"/>
                </a:lnTo>
                <a:lnTo>
                  <a:pt x="170" y="6"/>
                </a:lnTo>
                <a:lnTo>
                  <a:pt x="170" y="8"/>
                </a:lnTo>
                <a:lnTo>
                  <a:pt x="170" y="8"/>
                </a:lnTo>
                <a:lnTo>
                  <a:pt x="174" y="10"/>
                </a:lnTo>
                <a:lnTo>
                  <a:pt x="176" y="8"/>
                </a:lnTo>
                <a:lnTo>
                  <a:pt x="176" y="6"/>
                </a:lnTo>
                <a:lnTo>
                  <a:pt x="176" y="6"/>
                </a:lnTo>
                <a:close/>
                <a:moveTo>
                  <a:pt x="190" y="14"/>
                </a:moveTo>
                <a:lnTo>
                  <a:pt x="190" y="14"/>
                </a:lnTo>
                <a:lnTo>
                  <a:pt x="190" y="10"/>
                </a:lnTo>
                <a:lnTo>
                  <a:pt x="190" y="8"/>
                </a:lnTo>
                <a:lnTo>
                  <a:pt x="190" y="6"/>
                </a:lnTo>
                <a:lnTo>
                  <a:pt x="190" y="6"/>
                </a:lnTo>
                <a:lnTo>
                  <a:pt x="186" y="6"/>
                </a:lnTo>
                <a:lnTo>
                  <a:pt x="182" y="6"/>
                </a:lnTo>
                <a:lnTo>
                  <a:pt x="182" y="8"/>
                </a:lnTo>
                <a:lnTo>
                  <a:pt x="182" y="8"/>
                </a:lnTo>
                <a:lnTo>
                  <a:pt x="186" y="10"/>
                </a:lnTo>
                <a:lnTo>
                  <a:pt x="186" y="12"/>
                </a:lnTo>
                <a:lnTo>
                  <a:pt x="188" y="14"/>
                </a:lnTo>
                <a:lnTo>
                  <a:pt x="190" y="14"/>
                </a:lnTo>
                <a:lnTo>
                  <a:pt x="190" y="14"/>
                </a:lnTo>
                <a:close/>
                <a:moveTo>
                  <a:pt x="356" y="74"/>
                </a:moveTo>
                <a:lnTo>
                  <a:pt x="356" y="74"/>
                </a:lnTo>
                <a:lnTo>
                  <a:pt x="358" y="70"/>
                </a:lnTo>
                <a:lnTo>
                  <a:pt x="358" y="66"/>
                </a:lnTo>
                <a:lnTo>
                  <a:pt x="354" y="66"/>
                </a:lnTo>
                <a:lnTo>
                  <a:pt x="354" y="66"/>
                </a:lnTo>
                <a:lnTo>
                  <a:pt x="354" y="72"/>
                </a:lnTo>
                <a:lnTo>
                  <a:pt x="354" y="74"/>
                </a:lnTo>
                <a:lnTo>
                  <a:pt x="356" y="74"/>
                </a:lnTo>
                <a:lnTo>
                  <a:pt x="356" y="74"/>
                </a:lnTo>
                <a:close/>
                <a:moveTo>
                  <a:pt x="378" y="136"/>
                </a:moveTo>
                <a:lnTo>
                  <a:pt x="380" y="136"/>
                </a:lnTo>
                <a:lnTo>
                  <a:pt x="380" y="136"/>
                </a:lnTo>
                <a:lnTo>
                  <a:pt x="380" y="134"/>
                </a:lnTo>
                <a:lnTo>
                  <a:pt x="380" y="134"/>
                </a:lnTo>
                <a:lnTo>
                  <a:pt x="378" y="136"/>
                </a:lnTo>
                <a:lnTo>
                  <a:pt x="378" y="136"/>
                </a:lnTo>
                <a:close/>
                <a:moveTo>
                  <a:pt x="12" y="136"/>
                </a:moveTo>
                <a:lnTo>
                  <a:pt x="16" y="136"/>
                </a:lnTo>
                <a:lnTo>
                  <a:pt x="16" y="136"/>
                </a:lnTo>
                <a:lnTo>
                  <a:pt x="12" y="134"/>
                </a:lnTo>
                <a:lnTo>
                  <a:pt x="12" y="134"/>
                </a:lnTo>
                <a:lnTo>
                  <a:pt x="12" y="136"/>
                </a:lnTo>
                <a:lnTo>
                  <a:pt x="12" y="136"/>
                </a:lnTo>
                <a:close/>
                <a:moveTo>
                  <a:pt x="364" y="82"/>
                </a:moveTo>
                <a:lnTo>
                  <a:pt x="364" y="82"/>
                </a:lnTo>
                <a:lnTo>
                  <a:pt x="362" y="82"/>
                </a:lnTo>
                <a:lnTo>
                  <a:pt x="360" y="82"/>
                </a:lnTo>
                <a:lnTo>
                  <a:pt x="360" y="82"/>
                </a:lnTo>
                <a:lnTo>
                  <a:pt x="360" y="82"/>
                </a:lnTo>
                <a:lnTo>
                  <a:pt x="362" y="84"/>
                </a:lnTo>
                <a:lnTo>
                  <a:pt x="364" y="82"/>
                </a:lnTo>
                <a:lnTo>
                  <a:pt x="364" y="82"/>
                </a:lnTo>
                <a:close/>
                <a:moveTo>
                  <a:pt x="166" y="4"/>
                </a:moveTo>
                <a:lnTo>
                  <a:pt x="166" y="4"/>
                </a:lnTo>
                <a:lnTo>
                  <a:pt x="166" y="2"/>
                </a:lnTo>
                <a:lnTo>
                  <a:pt x="162" y="0"/>
                </a:lnTo>
                <a:lnTo>
                  <a:pt x="162" y="0"/>
                </a:lnTo>
                <a:lnTo>
                  <a:pt x="162" y="4"/>
                </a:lnTo>
                <a:lnTo>
                  <a:pt x="164" y="4"/>
                </a:lnTo>
                <a:lnTo>
                  <a:pt x="166" y="4"/>
                </a:lnTo>
                <a:lnTo>
                  <a:pt x="166" y="4"/>
                </a:lnTo>
                <a:close/>
                <a:moveTo>
                  <a:pt x="326" y="52"/>
                </a:moveTo>
                <a:lnTo>
                  <a:pt x="326" y="52"/>
                </a:lnTo>
                <a:lnTo>
                  <a:pt x="324" y="56"/>
                </a:lnTo>
                <a:lnTo>
                  <a:pt x="324" y="56"/>
                </a:lnTo>
                <a:lnTo>
                  <a:pt x="328" y="56"/>
                </a:lnTo>
                <a:lnTo>
                  <a:pt x="328" y="56"/>
                </a:lnTo>
                <a:lnTo>
                  <a:pt x="328" y="54"/>
                </a:lnTo>
                <a:lnTo>
                  <a:pt x="326" y="52"/>
                </a:lnTo>
                <a:lnTo>
                  <a:pt x="326" y="52"/>
                </a:lnTo>
                <a:close/>
                <a:moveTo>
                  <a:pt x="286" y="50"/>
                </a:moveTo>
                <a:lnTo>
                  <a:pt x="286" y="50"/>
                </a:lnTo>
                <a:lnTo>
                  <a:pt x="286" y="48"/>
                </a:lnTo>
                <a:lnTo>
                  <a:pt x="286" y="46"/>
                </a:lnTo>
                <a:lnTo>
                  <a:pt x="284" y="46"/>
                </a:lnTo>
                <a:lnTo>
                  <a:pt x="284" y="46"/>
                </a:lnTo>
                <a:lnTo>
                  <a:pt x="284" y="48"/>
                </a:lnTo>
                <a:lnTo>
                  <a:pt x="284" y="50"/>
                </a:lnTo>
                <a:lnTo>
                  <a:pt x="286" y="50"/>
                </a:lnTo>
                <a:lnTo>
                  <a:pt x="286" y="50"/>
                </a:lnTo>
                <a:close/>
                <a:moveTo>
                  <a:pt x="34" y="82"/>
                </a:moveTo>
                <a:lnTo>
                  <a:pt x="34" y="82"/>
                </a:lnTo>
                <a:lnTo>
                  <a:pt x="30" y="82"/>
                </a:lnTo>
                <a:lnTo>
                  <a:pt x="28" y="84"/>
                </a:lnTo>
                <a:lnTo>
                  <a:pt x="30" y="86"/>
                </a:lnTo>
                <a:lnTo>
                  <a:pt x="30" y="86"/>
                </a:lnTo>
                <a:lnTo>
                  <a:pt x="32" y="84"/>
                </a:lnTo>
                <a:lnTo>
                  <a:pt x="34" y="82"/>
                </a:lnTo>
                <a:lnTo>
                  <a:pt x="34" y="82"/>
                </a:lnTo>
                <a:close/>
                <a:moveTo>
                  <a:pt x="22" y="98"/>
                </a:moveTo>
                <a:lnTo>
                  <a:pt x="22" y="100"/>
                </a:lnTo>
                <a:lnTo>
                  <a:pt x="28" y="100"/>
                </a:lnTo>
                <a:lnTo>
                  <a:pt x="28" y="100"/>
                </a:lnTo>
                <a:lnTo>
                  <a:pt x="26" y="98"/>
                </a:lnTo>
                <a:lnTo>
                  <a:pt x="22" y="98"/>
                </a:lnTo>
                <a:lnTo>
                  <a:pt x="22" y="98"/>
                </a:lnTo>
                <a:close/>
                <a:moveTo>
                  <a:pt x="40" y="54"/>
                </a:moveTo>
                <a:lnTo>
                  <a:pt x="36" y="54"/>
                </a:lnTo>
                <a:lnTo>
                  <a:pt x="36" y="54"/>
                </a:lnTo>
                <a:lnTo>
                  <a:pt x="36" y="56"/>
                </a:lnTo>
                <a:lnTo>
                  <a:pt x="36" y="58"/>
                </a:lnTo>
                <a:lnTo>
                  <a:pt x="36" y="58"/>
                </a:lnTo>
                <a:lnTo>
                  <a:pt x="40" y="56"/>
                </a:lnTo>
                <a:lnTo>
                  <a:pt x="40" y="54"/>
                </a:lnTo>
                <a:lnTo>
                  <a:pt x="40" y="54"/>
                </a:lnTo>
                <a:close/>
                <a:moveTo>
                  <a:pt x="50" y="46"/>
                </a:moveTo>
                <a:lnTo>
                  <a:pt x="50" y="46"/>
                </a:lnTo>
                <a:lnTo>
                  <a:pt x="50" y="44"/>
                </a:lnTo>
                <a:lnTo>
                  <a:pt x="48" y="42"/>
                </a:lnTo>
                <a:lnTo>
                  <a:pt x="48" y="42"/>
                </a:lnTo>
                <a:lnTo>
                  <a:pt x="48" y="46"/>
                </a:lnTo>
                <a:lnTo>
                  <a:pt x="48" y="46"/>
                </a:lnTo>
                <a:lnTo>
                  <a:pt x="50" y="46"/>
                </a:lnTo>
                <a:lnTo>
                  <a:pt x="50" y="46"/>
                </a:lnTo>
                <a:close/>
                <a:moveTo>
                  <a:pt x="0" y="120"/>
                </a:moveTo>
                <a:lnTo>
                  <a:pt x="0" y="120"/>
                </a:lnTo>
                <a:lnTo>
                  <a:pt x="4" y="122"/>
                </a:lnTo>
                <a:lnTo>
                  <a:pt x="4" y="124"/>
                </a:lnTo>
                <a:lnTo>
                  <a:pt x="6" y="126"/>
                </a:lnTo>
                <a:lnTo>
                  <a:pt x="8" y="126"/>
                </a:lnTo>
                <a:lnTo>
                  <a:pt x="8" y="126"/>
                </a:lnTo>
                <a:lnTo>
                  <a:pt x="8" y="122"/>
                </a:lnTo>
                <a:lnTo>
                  <a:pt x="6" y="120"/>
                </a:lnTo>
                <a:lnTo>
                  <a:pt x="6" y="120"/>
                </a:lnTo>
                <a:lnTo>
                  <a:pt x="2" y="120"/>
                </a:lnTo>
                <a:lnTo>
                  <a:pt x="2" y="120"/>
                </a:lnTo>
                <a:lnTo>
                  <a:pt x="0" y="120"/>
                </a:lnTo>
                <a:lnTo>
                  <a:pt x="0" y="120"/>
                </a:lnTo>
                <a:close/>
                <a:moveTo>
                  <a:pt x="156" y="12"/>
                </a:moveTo>
                <a:lnTo>
                  <a:pt x="152" y="12"/>
                </a:lnTo>
                <a:lnTo>
                  <a:pt x="152" y="12"/>
                </a:lnTo>
                <a:lnTo>
                  <a:pt x="152" y="14"/>
                </a:lnTo>
                <a:lnTo>
                  <a:pt x="152" y="16"/>
                </a:lnTo>
                <a:lnTo>
                  <a:pt x="152" y="16"/>
                </a:lnTo>
                <a:lnTo>
                  <a:pt x="154" y="16"/>
                </a:lnTo>
                <a:lnTo>
                  <a:pt x="156" y="12"/>
                </a:lnTo>
                <a:lnTo>
                  <a:pt x="156" y="12"/>
                </a:lnTo>
                <a:close/>
                <a:moveTo>
                  <a:pt x="370" y="104"/>
                </a:moveTo>
                <a:lnTo>
                  <a:pt x="370" y="104"/>
                </a:lnTo>
                <a:lnTo>
                  <a:pt x="368" y="108"/>
                </a:lnTo>
                <a:lnTo>
                  <a:pt x="362" y="108"/>
                </a:lnTo>
                <a:lnTo>
                  <a:pt x="362" y="108"/>
                </a:lnTo>
                <a:lnTo>
                  <a:pt x="360" y="106"/>
                </a:lnTo>
                <a:lnTo>
                  <a:pt x="362" y="102"/>
                </a:lnTo>
                <a:lnTo>
                  <a:pt x="362" y="94"/>
                </a:lnTo>
                <a:lnTo>
                  <a:pt x="362" y="94"/>
                </a:lnTo>
                <a:lnTo>
                  <a:pt x="360" y="96"/>
                </a:lnTo>
                <a:lnTo>
                  <a:pt x="358" y="96"/>
                </a:lnTo>
                <a:lnTo>
                  <a:pt x="356" y="98"/>
                </a:lnTo>
                <a:lnTo>
                  <a:pt x="354" y="98"/>
                </a:lnTo>
                <a:lnTo>
                  <a:pt x="354" y="98"/>
                </a:lnTo>
                <a:lnTo>
                  <a:pt x="352" y="94"/>
                </a:lnTo>
                <a:lnTo>
                  <a:pt x="352" y="90"/>
                </a:lnTo>
                <a:lnTo>
                  <a:pt x="352" y="90"/>
                </a:lnTo>
                <a:lnTo>
                  <a:pt x="356" y="92"/>
                </a:lnTo>
                <a:lnTo>
                  <a:pt x="358" y="90"/>
                </a:lnTo>
                <a:lnTo>
                  <a:pt x="362" y="90"/>
                </a:lnTo>
                <a:lnTo>
                  <a:pt x="362" y="88"/>
                </a:lnTo>
                <a:lnTo>
                  <a:pt x="362" y="88"/>
                </a:lnTo>
                <a:lnTo>
                  <a:pt x="360" y="88"/>
                </a:lnTo>
                <a:lnTo>
                  <a:pt x="358" y="88"/>
                </a:lnTo>
                <a:lnTo>
                  <a:pt x="352" y="86"/>
                </a:lnTo>
                <a:lnTo>
                  <a:pt x="352" y="86"/>
                </a:lnTo>
                <a:lnTo>
                  <a:pt x="352" y="88"/>
                </a:lnTo>
                <a:lnTo>
                  <a:pt x="350" y="90"/>
                </a:lnTo>
                <a:lnTo>
                  <a:pt x="350" y="90"/>
                </a:lnTo>
                <a:lnTo>
                  <a:pt x="344" y="92"/>
                </a:lnTo>
                <a:lnTo>
                  <a:pt x="342" y="94"/>
                </a:lnTo>
                <a:lnTo>
                  <a:pt x="340" y="98"/>
                </a:lnTo>
                <a:lnTo>
                  <a:pt x="340" y="98"/>
                </a:lnTo>
                <a:lnTo>
                  <a:pt x="342" y="100"/>
                </a:lnTo>
                <a:lnTo>
                  <a:pt x="344" y="102"/>
                </a:lnTo>
                <a:lnTo>
                  <a:pt x="344" y="102"/>
                </a:lnTo>
                <a:lnTo>
                  <a:pt x="342" y="104"/>
                </a:lnTo>
                <a:lnTo>
                  <a:pt x="336" y="104"/>
                </a:lnTo>
                <a:lnTo>
                  <a:pt x="334" y="102"/>
                </a:lnTo>
                <a:lnTo>
                  <a:pt x="332" y="98"/>
                </a:lnTo>
                <a:lnTo>
                  <a:pt x="332" y="98"/>
                </a:lnTo>
                <a:lnTo>
                  <a:pt x="336" y="96"/>
                </a:lnTo>
                <a:lnTo>
                  <a:pt x="336" y="96"/>
                </a:lnTo>
                <a:lnTo>
                  <a:pt x="336" y="92"/>
                </a:lnTo>
                <a:lnTo>
                  <a:pt x="336" y="90"/>
                </a:lnTo>
                <a:lnTo>
                  <a:pt x="336" y="88"/>
                </a:lnTo>
                <a:lnTo>
                  <a:pt x="336" y="88"/>
                </a:lnTo>
                <a:lnTo>
                  <a:pt x="338" y="88"/>
                </a:lnTo>
                <a:lnTo>
                  <a:pt x="338" y="90"/>
                </a:lnTo>
                <a:lnTo>
                  <a:pt x="340" y="90"/>
                </a:lnTo>
                <a:lnTo>
                  <a:pt x="340" y="90"/>
                </a:lnTo>
                <a:lnTo>
                  <a:pt x="340" y="90"/>
                </a:lnTo>
                <a:lnTo>
                  <a:pt x="344" y="88"/>
                </a:lnTo>
                <a:lnTo>
                  <a:pt x="344" y="88"/>
                </a:lnTo>
                <a:lnTo>
                  <a:pt x="344" y="86"/>
                </a:lnTo>
                <a:lnTo>
                  <a:pt x="342" y="84"/>
                </a:lnTo>
                <a:lnTo>
                  <a:pt x="342" y="84"/>
                </a:lnTo>
                <a:lnTo>
                  <a:pt x="342" y="82"/>
                </a:lnTo>
                <a:lnTo>
                  <a:pt x="342" y="82"/>
                </a:lnTo>
                <a:lnTo>
                  <a:pt x="344" y="80"/>
                </a:lnTo>
                <a:lnTo>
                  <a:pt x="346" y="78"/>
                </a:lnTo>
                <a:lnTo>
                  <a:pt x="346" y="78"/>
                </a:lnTo>
                <a:lnTo>
                  <a:pt x="340" y="74"/>
                </a:lnTo>
                <a:lnTo>
                  <a:pt x="340" y="74"/>
                </a:lnTo>
                <a:lnTo>
                  <a:pt x="338" y="76"/>
                </a:lnTo>
                <a:lnTo>
                  <a:pt x="336" y="76"/>
                </a:lnTo>
                <a:lnTo>
                  <a:pt x="336" y="76"/>
                </a:lnTo>
                <a:lnTo>
                  <a:pt x="334" y="76"/>
                </a:lnTo>
                <a:lnTo>
                  <a:pt x="332" y="76"/>
                </a:lnTo>
                <a:lnTo>
                  <a:pt x="328" y="78"/>
                </a:lnTo>
                <a:lnTo>
                  <a:pt x="328" y="78"/>
                </a:lnTo>
                <a:lnTo>
                  <a:pt x="328" y="80"/>
                </a:lnTo>
                <a:lnTo>
                  <a:pt x="326" y="82"/>
                </a:lnTo>
                <a:lnTo>
                  <a:pt x="326" y="82"/>
                </a:lnTo>
                <a:lnTo>
                  <a:pt x="326" y="84"/>
                </a:lnTo>
                <a:lnTo>
                  <a:pt x="326" y="86"/>
                </a:lnTo>
                <a:lnTo>
                  <a:pt x="326" y="86"/>
                </a:lnTo>
                <a:lnTo>
                  <a:pt x="320" y="88"/>
                </a:lnTo>
                <a:lnTo>
                  <a:pt x="316" y="88"/>
                </a:lnTo>
                <a:lnTo>
                  <a:pt x="312" y="88"/>
                </a:lnTo>
                <a:lnTo>
                  <a:pt x="312" y="88"/>
                </a:lnTo>
                <a:lnTo>
                  <a:pt x="312" y="90"/>
                </a:lnTo>
                <a:lnTo>
                  <a:pt x="310" y="92"/>
                </a:lnTo>
                <a:lnTo>
                  <a:pt x="310" y="92"/>
                </a:lnTo>
                <a:lnTo>
                  <a:pt x="308" y="90"/>
                </a:lnTo>
                <a:lnTo>
                  <a:pt x="306" y="88"/>
                </a:lnTo>
                <a:lnTo>
                  <a:pt x="306" y="88"/>
                </a:lnTo>
                <a:lnTo>
                  <a:pt x="304" y="88"/>
                </a:lnTo>
                <a:lnTo>
                  <a:pt x="302" y="86"/>
                </a:lnTo>
                <a:lnTo>
                  <a:pt x="302" y="86"/>
                </a:lnTo>
                <a:lnTo>
                  <a:pt x="302" y="84"/>
                </a:lnTo>
                <a:lnTo>
                  <a:pt x="302" y="84"/>
                </a:lnTo>
                <a:lnTo>
                  <a:pt x="310" y="86"/>
                </a:lnTo>
                <a:lnTo>
                  <a:pt x="318" y="84"/>
                </a:lnTo>
                <a:lnTo>
                  <a:pt x="318" y="84"/>
                </a:lnTo>
                <a:lnTo>
                  <a:pt x="318" y="82"/>
                </a:lnTo>
                <a:lnTo>
                  <a:pt x="320" y="80"/>
                </a:lnTo>
                <a:lnTo>
                  <a:pt x="320" y="80"/>
                </a:lnTo>
                <a:lnTo>
                  <a:pt x="326" y="78"/>
                </a:lnTo>
                <a:lnTo>
                  <a:pt x="326" y="78"/>
                </a:lnTo>
                <a:lnTo>
                  <a:pt x="328" y="76"/>
                </a:lnTo>
                <a:lnTo>
                  <a:pt x="328" y="76"/>
                </a:lnTo>
                <a:lnTo>
                  <a:pt x="322" y="74"/>
                </a:lnTo>
                <a:lnTo>
                  <a:pt x="318" y="72"/>
                </a:lnTo>
                <a:lnTo>
                  <a:pt x="318" y="72"/>
                </a:lnTo>
                <a:lnTo>
                  <a:pt x="320" y="66"/>
                </a:lnTo>
                <a:lnTo>
                  <a:pt x="324" y="66"/>
                </a:lnTo>
                <a:lnTo>
                  <a:pt x="324" y="66"/>
                </a:lnTo>
                <a:lnTo>
                  <a:pt x="324" y="66"/>
                </a:lnTo>
                <a:lnTo>
                  <a:pt x="324" y="68"/>
                </a:lnTo>
                <a:lnTo>
                  <a:pt x="324" y="68"/>
                </a:lnTo>
                <a:lnTo>
                  <a:pt x="328" y="70"/>
                </a:lnTo>
                <a:lnTo>
                  <a:pt x="330" y="72"/>
                </a:lnTo>
                <a:lnTo>
                  <a:pt x="330" y="72"/>
                </a:lnTo>
                <a:lnTo>
                  <a:pt x="332" y="74"/>
                </a:lnTo>
                <a:lnTo>
                  <a:pt x="332" y="74"/>
                </a:lnTo>
                <a:lnTo>
                  <a:pt x="334" y="72"/>
                </a:lnTo>
                <a:lnTo>
                  <a:pt x="336" y="70"/>
                </a:lnTo>
                <a:lnTo>
                  <a:pt x="336" y="70"/>
                </a:lnTo>
                <a:lnTo>
                  <a:pt x="330" y="68"/>
                </a:lnTo>
                <a:lnTo>
                  <a:pt x="328" y="64"/>
                </a:lnTo>
                <a:lnTo>
                  <a:pt x="328" y="64"/>
                </a:lnTo>
                <a:lnTo>
                  <a:pt x="328" y="64"/>
                </a:lnTo>
                <a:lnTo>
                  <a:pt x="330" y="64"/>
                </a:lnTo>
                <a:lnTo>
                  <a:pt x="330" y="64"/>
                </a:lnTo>
                <a:lnTo>
                  <a:pt x="330" y="62"/>
                </a:lnTo>
                <a:lnTo>
                  <a:pt x="330" y="62"/>
                </a:lnTo>
                <a:lnTo>
                  <a:pt x="330" y="60"/>
                </a:lnTo>
                <a:lnTo>
                  <a:pt x="328" y="58"/>
                </a:lnTo>
                <a:lnTo>
                  <a:pt x="328" y="60"/>
                </a:lnTo>
                <a:lnTo>
                  <a:pt x="328" y="60"/>
                </a:lnTo>
                <a:lnTo>
                  <a:pt x="328" y="62"/>
                </a:lnTo>
                <a:lnTo>
                  <a:pt x="328" y="64"/>
                </a:lnTo>
                <a:lnTo>
                  <a:pt x="328" y="64"/>
                </a:lnTo>
                <a:lnTo>
                  <a:pt x="326" y="62"/>
                </a:lnTo>
                <a:lnTo>
                  <a:pt x="324" y="62"/>
                </a:lnTo>
                <a:lnTo>
                  <a:pt x="324" y="58"/>
                </a:lnTo>
                <a:lnTo>
                  <a:pt x="324" y="58"/>
                </a:lnTo>
                <a:lnTo>
                  <a:pt x="320" y="62"/>
                </a:lnTo>
                <a:lnTo>
                  <a:pt x="314" y="66"/>
                </a:lnTo>
                <a:lnTo>
                  <a:pt x="314" y="66"/>
                </a:lnTo>
                <a:lnTo>
                  <a:pt x="310" y="64"/>
                </a:lnTo>
                <a:lnTo>
                  <a:pt x="308" y="64"/>
                </a:lnTo>
                <a:lnTo>
                  <a:pt x="306" y="64"/>
                </a:lnTo>
                <a:lnTo>
                  <a:pt x="306" y="64"/>
                </a:lnTo>
                <a:lnTo>
                  <a:pt x="306" y="66"/>
                </a:lnTo>
                <a:lnTo>
                  <a:pt x="308" y="68"/>
                </a:lnTo>
                <a:lnTo>
                  <a:pt x="310" y="72"/>
                </a:lnTo>
                <a:lnTo>
                  <a:pt x="310" y="72"/>
                </a:lnTo>
                <a:lnTo>
                  <a:pt x="308" y="74"/>
                </a:lnTo>
                <a:lnTo>
                  <a:pt x="308" y="74"/>
                </a:lnTo>
                <a:lnTo>
                  <a:pt x="304" y="72"/>
                </a:lnTo>
                <a:lnTo>
                  <a:pt x="302" y="70"/>
                </a:lnTo>
                <a:lnTo>
                  <a:pt x="302" y="68"/>
                </a:lnTo>
                <a:lnTo>
                  <a:pt x="302" y="68"/>
                </a:lnTo>
                <a:lnTo>
                  <a:pt x="304" y="66"/>
                </a:lnTo>
                <a:lnTo>
                  <a:pt x="304" y="62"/>
                </a:lnTo>
                <a:lnTo>
                  <a:pt x="304" y="62"/>
                </a:lnTo>
                <a:lnTo>
                  <a:pt x="302" y="60"/>
                </a:lnTo>
                <a:lnTo>
                  <a:pt x="304" y="58"/>
                </a:lnTo>
                <a:lnTo>
                  <a:pt x="304" y="58"/>
                </a:lnTo>
                <a:lnTo>
                  <a:pt x="306" y="58"/>
                </a:lnTo>
                <a:lnTo>
                  <a:pt x="306" y="60"/>
                </a:lnTo>
                <a:lnTo>
                  <a:pt x="310" y="60"/>
                </a:lnTo>
                <a:lnTo>
                  <a:pt x="310" y="60"/>
                </a:lnTo>
                <a:lnTo>
                  <a:pt x="314" y="62"/>
                </a:lnTo>
                <a:lnTo>
                  <a:pt x="316" y="58"/>
                </a:lnTo>
                <a:lnTo>
                  <a:pt x="316" y="58"/>
                </a:lnTo>
                <a:lnTo>
                  <a:pt x="314" y="58"/>
                </a:lnTo>
                <a:lnTo>
                  <a:pt x="310" y="58"/>
                </a:lnTo>
                <a:lnTo>
                  <a:pt x="310" y="58"/>
                </a:lnTo>
                <a:lnTo>
                  <a:pt x="310" y="56"/>
                </a:lnTo>
                <a:lnTo>
                  <a:pt x="310" y="56"/>
                </a:lnTo>
                <a:lnTo>
                  <a:pt x="306" y="58"/>
                </a:lnTo>
                <a:lnTo>
                  <a:pt x="306" y="58"/>
                </a:lnTo>
                <a:lnTo>
                  <a:pt x="304" y="54"/>
                </a:lnTo>
                <a:lnTo>
                  <a:pt x="302" y="52"/>
                </a:lnTo>
                <a:lnTo>
                  <a:pt x="300" y="50"/>
                </a:lnTo>
                <a:lnTo>
                  <a:pt x="300" y="50"/>
                </a:lnTo>
                <a:lnTo>
                  <a:pt x="300" y="52"/>
                </a:lnTo>
                <a:lnTo>
                  <a:pt x="298" y="52"/>
                </a:lnTo>
                <a:lnTo>
                  <a:pt x="296" y="56"/>
                </a:lnTo>
                <a:lnTo>
                  <a:pt x="296" y="56"/>
                </a:lnTo>
                <a:lnTo>
                  <a:pt x="296" y="56"/>
                </a:lnTo>
                <a:lnTo>
                  <a:pt x="294" y="56"/>
                </a:lnTo>
                <a:lnTo>
                  <a:pt x="294" y="56"/>
                </a:lnTo>
                <a:lnTo>
                  <a:pt x="290" y="54"/>
                </a:lnTo>
                <a:lnTo>
                  <a:pt x="288" y="52"/>
                </a:lnTo>
                <a:lnTo>
                  <a:pt x="286" y="52"/>
                </a:lnTo>
                <a:lnTo>
                  <a:pt x="286" y="52"/>
                </a:lnTo>
                <a:lnTo>
                  <a:pt x="286" y="54"/>
                </a:lnTo>
                <a:lnTo>
                  <a:pt x="286" y="54"/>
                </a:lnTo>
                <a:lnTo>
                  <a:pt x="284" y="58"/>
                </a:lnTo>
                <a:lnTo>
                  <a:pt x="284" y="58"/>
                </a:lnTo>
                <a:lnTo>
                  <a:pt x="284" y="56"/>
                </a:lnTo>
                <a:lnTo>
                  <a:pt x="284" y="54"/>
                </a:lnTo>
                <a:lnTo>
                  <a:pt x="282" y="54"/>
                </a:lnTo>
                <a:lnTo>
                  <a:pt x="280" y="56"/>
                </a:lnTo>
                <a:lnTo>
                  <a:pt x="280" y="56"/>
                </a:lnTo>
                <a:lnTo>
                  <a:pt x="282" y="56"/>
                </a:lnTo>
                <a:lnTo>
                  <a:pt x="284" y="58"/>
                </a:lnTo>
                <a:lnTo>
                  <a:pt x="284" y="58"/>
                </a:lnTo>
                <a:lnTo>
                  <a:pt x="284" y="58"/>
                </a:lnTo>
                <a:lnTo>
                  <a:pt x="284" y="58"/>
                </a:lnTo>
                <a:lnTo>
                  <a:pt x="280" y="62"/>
                </a:lnTo>
                <a:lnTo>
                  <a:pt x="276" y="64"/>
                </a:lnTo>
                <a:lnTo>
                  <a:pt x="276" y="64"/>
                </a:lnTo>
                <a:lnTo>
                  <a:pt x="274" y="60"/>
                </a:lnTo>
                <a:lnTo>
                  <a:pt x="274" y="58"/>
                </a:lnTo>
                <a:lnTo>
                  <a:pt x="274" y="58"/>
                </a:lnTo>
                <a:lnTo>
                  <a:pt x="276" y="60"/>
                </a:lnTo>
                <a:lnTo>
                  <a:pt x="278" y="60"/>
                </a:lnTo>
                <a:lnTo>
                  <a:pt x="278" y="60"/>
                </a:lnTo>
                <a:lnTo>
                  <a:pt x="276" y="56"/>
                </a:lnTo>
                <a:lnTo>
                  <a:pt x="276" y="54"/>
                </a:lnTo>
                <a:lnTo>
                  <a:pt x="276" y="52"/>
                </a:lnTo>
                <a:lnTo>
                  <a:pt x="276" y="52"/>
                </a:lnTo>
                <a:lnTo>
                  <a:pt x="276" y="52"/>
                </a:lnTo>
                <a:lnTo>
                  <a:pt x="276" y="52"/>
                </a:lnTo>
                <a:lnTo>
                  <a:pt x="276" y="50"/>
                </a:lnTo>
                <a:lnTo>
                  <a:pt x="276" y="50"/>
                </a:lnTo>
                <a:lnTo>
                  <a:pt x="272" y="50"/>
                </a:lnTo>
                <a:lnTo>
                  <a:pt x="272" y="50"/>
                </a:lnTo>
                <a:lnTo>
                  <a:pt x="270" y="52"/>
                </a:lnTo>
                <a:lnTo>
                  <a:pt x="270" y="52"/>
                </a:lnTo>
                <a:lnTo>
                  <a:pt x="270" y="52"/>
                </a:lnTo>
                <a:lnTo>
                  <a:pt x="268" y="52"/>
                </a:lnTo>
                <a:lnTo>
                  <a:pt x="268" y="52"/>
                </a:lnTo>
                <a:lnTo>
                  <a:pt x="266" y="50"/>
                </a:lnTo>
                <a:lnTo>
                  <a:pt x="266" y="44"/>
                </a:lnTo>
                <a:lnTo>
                  <a:pt x="266" y="44"/>
                </a:lnTo>
                <a:lnTo>
                  <a:pt x="268" y="46"/>
                </a:lnTo>
                <a:lnTo>
                  <a:pt x="272" y="46"/>
                </a:lnTo>
                <a:lnTo>
                  <a:pt x="274" y="44"/>
                </a:lnTo>
                <a:lnTo>
                  <a:pt x="276" y="42"/>
                </a:lnTo>
                <a:lnTo>
                  <a:pt x="276" y="42"/>
                </a:lnTo>
                <a:lnTo>
                  <a:pt x="272" y="42"/>
                </a:lnTo>
                <a:lnTo>
                  <a:pt x="270" y="42"/>
                </a:lnTo>
                <a:lnTo>
                  <a:pt x="264" y="40"/>
                </a:lnTo>
                <a:lnTo>
                  <a:pt x="264" y="40"/>
                </a:lnTo>
                <a:lnTo>
                  <a:pt x="264" y="42"/>
                </a:lnTo>
                <a:lnTo>
                  <a:pt x="264" y="44"/>
                </a:lnTo>
                <a:lnTo>
                  <a:pt x="264" y="44"/>
                </a:lnTo>
                <a:lnTo>
                  <a:pt x="258" y="46"/>
                </a:lnTo>
                <a:lnTo>
                  <a:pt x="254" y="48"/>
                </a:lnTo>
                <a:lnTo>
                  <a:pt x="254" y="52"/>
                </a:lnTo>
                <a:lnTo>
                  <a:pt x="254" y="52"/>
                </a:lnTo>
                <a:lnTo>
                  <a:pt x="256" y="54"/>
                </a:lnTo>
                <a:lnTo>
                  <a:pt x="256" y="56"/>
                </a:lnTo>
                <a:lnTo>
                  <a:pt x="256" y="56"/>
                </a:lnTo>
                <a:lnTo>
                  <a:pt x="256" y="58"/>
                </a:lnTo>
                <a:lnTo>
                  <a:pt x="256" y="58"/>
                </a:lnTo>
                <a:lnTo>
                  <a:pt x="252" y="56"/>
                </a:lnTo>
                <a:lnTo>
                  <a:pt x="252" y="56"/>
                </a:lnTo>
                <a:lnTo>
                  <a:pt x="252" y="58"/>
                </a:lnTo>
                <a:lnTo>
                  <a:pt x="254" y="58"/>
                </a:lnTo>
                <a:lnTo>
                  <a:pt x="254" y="58"/>
                </a:lnTo>
                <a:lnTo>
                  <a:pt x="248" y="56"/>
                </a:lnTo>
                <a:lnTo>
                  <a:pt x="246" y="54"/>
                </a:lnTo>
                <a:lnTo>
                  <a:pt x="244" y="52"/>
                </a:lnTo>
                <a:lnTo>
                  <a:pt x="244" y="52"/>
                </a:lnTo>
                <a:lnTo>
                  <a:pt x="250" y="50"/>
                </a:lnTo>
                <a:lnTo>
                  <a:pt x="250" y="50"/>
                </a:lnTo>
                <a:lnTo>
                  <a:pt x="250" y="50"/>
                </a:lnTo>
                <a:lnTo>
                  <a:pt x="250" y="50"/>
                </a:lnTo>
                <a:lnTo>
                  <a:pt x="250" y="50"/>
                </a:lnTo>
                <a:lnTo>
                  <a:pt x="252" y="50"/>
                </a:lnTo>
                <a:lnTo>
                  <a:pt x="252" y="50"/>
                </a:lnTo>
                <a:lnTo>
                  <a:pt x="252" y="48"/>
                </a:lnTo>
                <a:lnTo>
                  <a:pt x="250" y="46"/>
                </a:lnTo>
                <a:lnTo>
                  <a:pt x="250" y="46"/>
                </a:lnTo>
                <a:lnTo>
                  <a:pt x="250" y="48"/>
                </a:lnTo>
                <a:lnTo>
                  <a:pt x="250" y="48"/>
                </a:lnTo>
                <a:lnTo>
                  <a:pt x="248" y="46"/>
                </a:lnTo>
                <a:lnTo>
                  <a:pt x="250" y="44"/>
                </a:lnTo>
                <a:lnTo>
                  <a:pt x="250" y="44"/>
                </a:lnTo>
                <a:lnTo>
                  <a:pt x="252" y="44"/>
                </a:lnTo>
                <a:lnTo>
                  <a:pt x="254" y="44"/>
                </a:lnTo>
                <a:lnTo>
                  <a:pt x="254" y="44"/>
                </a:lnTo>
                <a:lnTo>
                  <a:pt x="256" y="42"/>
                </a:lnTo>
                <a:lnTo>
                  <a:pt x="256" y="42"/>
                </a:lnTo>
                <a:lnTo>
                  <a:pt x="256" y="40"/>
                </a:lnTo>
                <a:lnTo>
                  <a:pt x="256" y="38"/>
                </a:lnTo>
                <a:lnTo>
                  <a:pt x="254" y="38"/>
                </a:lnTo>
                <a:lnTo>
                  <a:pt x="254" y="36"/>
                </a:lnTo>
                <a:lnTo>
                  <a:pt x="254" y="36"/>
                </a:lnTo>
                <a:lnTo>
                  <a:pt x="256" y="34"/>
                </a:lnTo>
                <a:lnTo>
                  <a:pt x="258" y="32"/>
                </a:lnTo>
                <a:lnTo>
                  <a:pt x="258" y="32"/>
                </a:lnTo>
                <a:lnTo>
                  <a:pt x="254" y="28"/>
                </a:lnTo>
                <a:lnTo>
                  <a:pt x="254" y="28"/>
                </a:lnTo>
                <a:lnTo>
                  <a:pt x="252" y="30"/>
                </a:lnTo>
                <a:lnTo>
                  <a:pt x="250" y="30"/>
                </a:lnTo>
                <a:lnTo>
                  <a:pt x="250" y="30"/>
                </a:lnTo>
                <a:lnTo>
                  <a:pt x="248" y="30"/>
                </a:lnTo>
                <a:lnTo>
                  <a:pt x="246" y="32"/>
                </a:lnTo>
                <a:lnTo>
                  <a:pt x="242" y="32"/>
                </a:lnTo>
                <a:lnTo>
                  <a:pt x="242" y="32"/>
                </a:lnTo>
                <a:lnTo>
                  <a:pt x="240" y="36"/>
                </a:lnTo>
                <a:lnTo>
                  <a:pt x="238" y="36"/>
                </a:lnTo>
                <a:lnTo>
                  <a:pt x="238" y="36"/>
                </a:lnTo>
                <a:lnTo>
                  <a:pt x="238" y="38"/>
                </a:lnTo>
                <a:lnTo>
                  <a:pt x="240" y="40"/>
                </a:lnTo>
                <a:lnTo>
                  <a:pt x="240" y="40"/>
                </a:lnTo>
                <a:lnTo>
                  <a:pt x="232" y="42"/>
                </a:lnTo>
                <a:lnTo>
                  <a:pt x="228" y="42"/>
                </a:lnTo>
                <a:lnTo>
                  <a:pt x="226" y="42"/>
                </a:lnTo>
                <a:lnTo>
                  <a:pt x="226" y="42"/>
                </a:lnTo>
                <a:lnTo>
                  <a:pt x="224" y="46"/>
                </a:lnTo>
                <a:lnTo>
                  <a:pt x="222" y="46"/>
                </a:lnTo>
                <a:lnTo>
                  <a:pt x="222" y="46"/>
                </a:lnTo>
                <a:lnTo>
                  <a:pt x="220" y="44"/>
                </a:lnTo>
                <a:lnTo>
                  <a:pt x="218" y="42"/>
                </a:lnTo>
                <a:lnTo>
                  <a:pt x="218" y="42"/>
                </a:lnTo>
                <a:lnTo>
                  <a:pt x="216" y="42"/>
                </a:lnTo>
                <a:lnTo>
                  <a:pt x="214" y="42"/>
                </a:lnTo>
                <a:lnTo>
                  <a:pt x="214" y="40"/>
                </a:lnTo>
                <a:lnTo>
                  <a:pt x="216" y="38"/>
                </a:lnTo>
                <a:lnTo>
                  <a:pt x="216" y="38"/>
                </a:lnTo>
                <a:lnTo>
                  <a:pt x="222" y="40"/>
                </a:lnTo>
                <a:lnTo>
                  <a:pt x="230" y="38"/>
                </a:lnTo>
                <a:lnTo>
                  <a:pt x="230" y="38"/>
                </a:lnTo>
                <a:lnTo>
                  <a:pt x="232" y="36"/>
                </a:lnTo>
                <a:lnTo>
                  <a:pt x="234" y="34"/>
                </a:lnTo>
                <a:lnTo>
                  <a:pt x="234" y="34"/>
                </a:lnTo>
                <a:lnTo>
                  <a:pt x="238" y="34"/>
                </a:lnTo>
                <a:lnTo>
                  <a:pt x="240" y="32"/>
                </a:lnTo>
                <a:lnTo>
                  <a:pt x="240" y="30"/>
                </a:lnTo>
                <a:lnTo>
                  <a:pt x="240" y="30"/>
                </a:lnTo>
                <a:lnTo>
                  <a:pt x="236" y="28"/>
                </a:lnTo>
                <a:lnTo>
                  <a:pt x="232" y="26"/>
                </a:lnTo>
                <a:lnTo>
                  <a:pt x="232" y="26"/>
                </a:lnTo>
                <a:lnTo>
                  <a:pt x="232" y="22"/>
                </a:lnTo>
                <a:lnTo>
                  <a:pt x="236" y="20"/>
                </a:lnTo>
                <a:lnTo>
                  <a:pt x="236" y="20"/>
                </a:lnTo>
                <a:lnTo>
                  <a:pt x="238" y="22"/>
                </a:lnTo>
                <a:lnTo>
                  <a:pt x="238" y="24"/>
                </a:lnTo>
                <a:lnTo>
                  <a:pt x="238" y="24"/>
                </a:lnTo>
                <a:lnTo>
                  <a:pt x="240" y="24"/>
                </a:lnTo>
                <a:lnTo>
                  <a:pt x="242" y="26"/>
                </a:lnTo>
                <a:lnTo>
                  <a:pt x="244" y="28"/>
                </a:lnTo>
                <a:lnTo>
                  <a:pt x="246" y="28"/>
                </a:lnTo>
                <a:lnTo>
                  <a:pt x="246" y="28"/>
                </a:lnTo>
                <a:lnTo>
                  <a:pt x="248" y="28"/>
                </a:lnTo>
                <a:lnTo>
                  <a:pt x="248" y="24"/>
                </a:lnTo>
                <a:lnTo>
                  <a:pt x="248" y="24"/>
                </a:lnTo>
                <a:lnTo>
                  <a:pt x="244" y="22"/>
                </a:lnTo>
                <a:lnTo>
                  <a:pt x="240" y="18"/>
                </a:lnTo>
                <a:lnTo>
                  <a:pt x="240" y="18"/>
                </a:lnTo>
                <a:lnTo>
                  <a:pt x="242" y="18"/>
                </a:lnTo>
                <a:lnTo>
                  <a:pt x="242" y="18"/>
                </a:lnTo>
                <a:lnTo>
                  <a:pt x="244" y="18"/>
                </a:lnTo>
                <a:lnTo>
                  <a:pt x="244" y="18"/>
                </a:lnTo>
                <a:lnTo>
                  <a:pt x="244" y="18"/>
                </a:lnTo>
                <a:lnTo>
                  <a:pt x="242" y="14"/>
                </a:lnTo>
                <a:lnTo>
                  <a:pt x="242" y="14"/>
                </a:lnTo>
                <a:lnTo>
                  <a:pt x="240" y="14"/>
                </a:lnTo>
                <a:lnTo>
                  <a:pt x="240" y="14"/>
                </a:lnTo>
                <a:lnTo>
                  <a:pt x="242" y="16"/>
                </a:lnTo>
                <a:lnTo>
                  <a:pt x="240" y="18"/>
                </a:lnTo>
                <a:lnTo>
                  <a:pt x="240" y="18"/>
                </a:lnTo>
                <a:lnTo>
                  <a:pt x="238" y="16"/>
                </a:lnTo>
                <a:lnTo>
                  <a:pt x="238" y="16"/>
                </a:lnTo>
                <a:lnTo>
                  <a:pt x="238" y="12"/>
                </a:lnTo>
                <a:lnTo>
                  <a:pt x="238" y="12"/>
                </a:lnTo>
                <a:lnTo>
                  <a:pt x="232" y="18"/>
                </a:lnTo>
                <a:lnTo>
                  <a:pt x="228" y="22"/>
                </a:lnTo>
                <a:lnTo>
                  <a:pt x="228" y="22"/>
                </a:lnTo>
                <a:lnTo>
                  <a:pt x="224" y="18"/>
                </a:lnTo>
                <a:lnTo>
                  <a:pt x="222" y="18"/>
                </a:lnTo>
                <a:lnTo>
                  <a:pt x="220" y="18"/>
                </a:lnTo>
                <a:lnTo>
                  <a:pt x="220" y="18"/>
                </a:lnTo>
                <a:lnTo>
                  <a:pt x="220" y="20"/>
                </a:lnTo>
                <a:lnTo>
                  <a:pt x="220" y="22"/>
                </a:lnTo>
                <a:lnTo>
                  <a:pt x="222" y="26"/>
                </a:lnTo>
                <a:lnTo>
                  <a:pt x="222" y="26"/>
                </a:lnTo>
                <a:lnTo>
                  <a:pt x="220" y="28"/>
                </a:lnTo>
                <a:lnTo>
                  <a:pt x="220" y="28"/>
                </a:lnTo>
                <a:lnTo>
                  <a:pt x="218" y="26"/>
                </a:lnTo>
                <a:lnTo>
                  <a:pt x="216" y="24"/>
                </a:lnTo>
                <a:lnTo>
                  <a:pt x="216" y="22"/>
                </a:lnTo>
                <a:lnTo>
                  <a:pt x="216" y="22"/>
                </a:lnTo>
                <a:lnTo>
                  <a:pt x="216" y="20"/>
                </a:lnTo>
                <a:lnTo>
                  <a:pt x="218" y="18"/>
                </a:lnTo>
                <a:lnTo>
                  <a:pt x="218" y="18"/>
                </a:lnTo>
                <a:lnTo>
                  <a:pt x="216" y="14"/>
                </a:lnTo>
                <a:lnTo>
                  <a:pt x="216" y="12"/>
                </a:lnTo>
                <a:lnTo>
                  <a:pt x="216" y="12"/>
                </a:lnTo>
                <a:lnTo>
                  <a:pt x="218" y="12"/>
                </a:lnTo>
                <a:lnTo>
                  <a:pt x="220" y="14"/>
                </a:lnTo>
                <a:lnTo>
                  <a:pt x="220" y="14"/>
                </a:lnTo>
                <a:lnTo>
                  <a:pt x="222" y="16"/>
                </a:lnTo>
                <a:lnTo>
                  <a:pt x="222" y="16"/>
                </a:lnTo>
                <a:lnTo>
                  <a:pt x="226" y="16"/>
                </a:lnTo>
                <a:lnTo>
                  <a:pt x="230" y="12"/>
                </a:lnTo>
                <a:lnTo>
                  <a:pt x="230" y="12"/>
                </a:lnTo>
                <a:lnTo>
                  <a:pt x="226" y="12"/>
                </a:lnTo>
                <a:lnTo>
                  <a:pt x="224" y="12"/>
                </a:lnTo>
                <a:lnTo>
                  <a:pt x="224" y="12"/>
                </a:lnTo>
                <a:lnTo>
                  <a:pt x="222" y="10"/>
                </a:lnTo>
                <a:lnTo>
                  <a:pt x="222" y="10"/>
                </a:lnTo>
                <a:lnTo>
                  <a:pt x="218" y="12"/>
                </a:lnTo>
                <a:lnTo>
                  <a:pt x="218" y="12"/>
                </a:lnTo>
                <a:lnTo>
                  <a:pt x="216" y="8"/>
                </a:lnTo>
                <a:lnTo>
                  <a:pt x="216" y="6"/>
                </a:lnTo>
                <a:lnTo>
                  <a:pt x="214" y="4"/>
                </a:lnTo>
                <a:lnTo>
                  <a:pt x="214" y="4"/>
                </a:lnTo>
                <a:lnTo>
                  <a:pt x="212" y="6"/>
                </a:lnTo>
                <a:lnTo>
                  <a:pt x="212" y="8"/>
                </a:lnTo>
                <a:lnTo>
                  <a:pt x="210" y="10"/>
                </a:lnTo>
                <a:lnTo>
                  <a:pt x="210" y="10"/>
                </a:lnTo>
                <a:lnTo>
                  <a:pt x="208" y="10"/>
                </a:lnTo>
                <a:lnTo>
                  <a:pt x="206" y="10"/>
                </a:lnTo>
                <a:lnTo>
                  <a:pt x="206" y="10"/>
                </a:lnTo>
                <a:lnTo>
                  <a:pt x="204" y="8"/>
                </a:lnTo>
                <a:lnTo>
                  <a:pt x="202" y="6"/>
                </a:lnTo>
                <a:lnTo>
                  <a:pt x="200" y="6"/>
                </a:lnTo>
                <a:lnTo>
                  <a:pt x="200" y="6"/>
                </a:lnTo>
                <a:lnTo>
                  <a:pt x="200" y="10"/>
                </a:lnTo>
                <a:lnTo>
                  <a:pt x="198" y="12"/>
                </a:lnTo>
                <a:lnTo>
                  <a:pt x="198" y="14"/>
                </a:lnTo>
                <a:lnTo>
                  <a:pt x="198" y="16"/>
                </a:lnTo>
                <a:lnTo>
                  <a:pt x="198" y="16"/>
                </a:lnTo>
                <a:lnTo>
                  <a:pt x="208" y="18"/>
                </a:lnTo>
                <a:lnTo>
                  <a:pt x="208" y="18"/>
                </a:lnTo>
                <a:lnTo>
                  <a:pt x="210" y="14"/>
                </a:lnTo>
                <a:lnTo>
                  <a:pt x="210" y="12"/>
                </a:lnTo>
                <a:lnTo>
                  <a:pt x="214" y="12"/>
                </a:lnTo>
                <a:lnTo>
                  <a:pt x="214" y="12"/>
                </a:lnTo>
                <a:lnTo>
                  <a:pt x="214" y="16"/>
                </a:lnTo>
                <a:lnTo>
                  <a:pt x="212" y="18"/>
                </a:lnTo>
                <a:lnTo>
                  <a:pt x="212" y="18"/>
                </a:lnTo>
                <a:lnTo>
                  <a:pt x="208" y="20"/>
                </a:lnTo>
                <a:lnTo>
                  <a:pt x="202" y="22"/>
                </a:lnTo>
                <a:lnTo>
                  <a:pt x="202" y="22"/>
                </a:lnTo>
                <a:lnTo>
                  <a:pt x="198" y="18"/>
                </a:lnTo>
                <a:lnTo>
                  <a:pt x="192" y="18"/>
                </a:lnTo>
                <a:lnTo>
                  <a:pt x="192" y="18"/>
                </a:lnTo>
                <a:lnTo>
                  <a:pt x="194" y="22"/>
                </a:lnTo>
                <a:lnTo>
                  <a:pt x="198" y="24"/>
                </a:lnTo>
                <a:lnTo>
                  <a:pt x="198" y="24"/>
                </a:lnTo>
                <a:lnTo>
                  <a:pt x="188" y="24"/>
                </a:lnTo>
                <a:lnTo>
                  <a:pt x="188" y="24"/>
                </a:lnTo>
                <a:lnTo>
                  <a:pt x="188" y="22"/>
                </a:lnTo>
                <a:lnTo>
                  <a:pt x="188" y="20"/>
                </a:lnTo>
                <a:lnTo>
                  <a:pt x="188" y="20"/>
                </a:lnTo>
                <a:lnTo>
                  <a:pt x="184" y="20"/>
                </a:lnTo>
                <a:lnTo>
                  <a:pt x="182" y="20"/>
                </a:lnTo>
                <a:lnTo>
                  <a:pt x="176" y="18"/>
                </a:lnTo>
                <a:lnTo>
                  <a:pt x="176" y="18"/>
                </a:lnTo>
                <a:lnTo>
                  <a:pt x="170" y="14"/>
                </a:lnTo>
                <a:lnTo>
                  <a:pt x="168" y="12"/>
                </a:lnTo>
                <a:lnTo>
                  <a:pt x="164" y="10"/>
                </a:lnTo>
                <a:lnTo>
                  <a:pt x="164" y="10"/>
                </a:lnTo>
                <a:lnTo>
                  <a:pt x="166" y="12"/>
                </a:lnTo>
                <a:lnTo>
                  <a:pt x="168" y="14"/>
                </a:lnTo>
                <a:lnTo>
                  <a:pt x="168" y="14"/>
                </a:lnTo>
                <a:lnTo>
                  <a:pt x="168" y="18"/>
                </a:lnTo>
                <a:lnTo>
                  <a:pt x="168" y="18"/>
                </a:lnTo>
                <a:lnTo>
                  <a:pt x="168" y="18"/>
                </a:lnTo>
                <a:lnTo>
                  <a:pt x="168" y="18"/>
                </a:lnTo>
                <a:lnTo>
                  <a:pt x="168" y="18"/>
                </a:lnTo>
                <a:lnTo>
                  <a:pt x="166" y="20"/>
                </a:lnTo>
                <a:lnTo>
                  <a:pt x="166" y="20"/>
                </a:lnTo>
                <a:lnTo>
                  <a:pt x="164" y="18"/>
                </a:lnTo>
                <a:lnTo>
                  <a:pt x="162" y="16"/>
                </a:lnTo>
                <a:lnTo>
                  <a:pt x="162" y="16"/>
                </a:lnTo>
                <a:lnTo>
                  <a:pt x="160" y="18"/>
                </a:lnTo>
                <a:lnTo>
                  <a:pt x="158" y="22"/>
                </a:lnTo>
                <a:lnTo>
                  <a:pt x="158" y="22"/>
                </a:lnTo>
                <a:lnTo>
                  <a:pt x="164" y="24"/>
                </a:lnTo>
                <a:lnTo>
                  <a:pt x="166" y="26"/>
                </a:lnTo>
                <a:lnTo>
                  <a:pt x="166" y="28"/>
                </a:lnTo>
                <a:lnTo>
                  <a:pt x="166" y="28"/>
                </a:lnTo>
                <a:lnTo>
                  <a:pt x="170" y="32"/>
                </a:lnTo>
                <a:lnTo>
                  <a:pt x="170" y="32"/>
                </a:lnTo>
                <a:lnTo>
                  <a:pt x="170" y="34"/>
                </a:lnTo>
                <a:lnTo>
                  <a:pt x="170" y="34"/>
                </a:lnTo>
                <a:lnTo>
                  <a:pt x="172" y="36"/>
                </a:lnTo>
                <a:lnTo>
                  <a:pt x="172" y="36"/>
                </a:lnTo>
                <a:lnTo>
                  <a:pt x="172" y="38"/>
                </a:lnTo>
                <a:lnTo>
                  <a:pt x="172" y="38"/>
                </a:lnTo>
                <a:lnTo>
                  <a:pt x="170" y="38"/>
                </a:lnTo>
                <a:lnTo>
                  <a:pt x="170" y="38"/>
                </a:lnTo>
                <a:lnTo>
                  <a:pt x="168" y="38"/>
                </a:lnTo>
                <a:lnTo>
                  <a:pt x="164" y="36"/>
                </a:lnTo>
                <a:lnTo>
                  <a:pt x="164" y="36"/>
                </a:lnTo>
                <a:lnTo>
                  <a:pt x="164" y="38"/>
                </a:lnTo>
                <a:lnTo>
                  <a:pt x="162" y="38"/>
                </a:lnTo>
                <a:lnTo>
                  <a:pt x="162" y="38"/>
                </a:lnTo>
                <a:lnTo>
                  <a:pt x="158" y="38"/>
                </a:lnTo>
                <a:lnTo>
                  <a:pt x="158" y="38"/>
                </a:lnTo>
                <a:lnTo>
                  <a:pt x="156" y="40"/>
                </a:lnTo>
                <a:lnTo>
                  <a:pt x="156" y="40"/>
                </a:lnTo>
                <a:lnTo>
                  <a:pt x="160" y="42"/>
                </a:lnTo>
                <a:lnTo>
                  <a:pt x="162" y="42"/>
                </a:lnTo>
                <a:lnTo>
                  <a:pt x="162" y="44"/>
                </a:lnTo>
                <a:lnTo>
                  <a:pt x="162" y="44"/>
                </a:lnTo>
                <a:lnTo>
                  <a:pt x="160" y="48"/>
                </a:lnTo>
                <a:lnTo>
                  <a:pt x="158" y="48"/>
                </a:lnTo>
                <a:lnTo>
                  <a:pt x="154" y="52"/>
                </a:lnTo>
                <a:lnTo>
                  <a:pt x="154" y="52"/>
                </a:lnTo>
                <a:lnTo>
                  <a:pt x="148" y="52"/>
                </a:lnTo>
                <a:lnTo>
                  <a:pt x="148" y="52"/>
                </a:lnTo>
                <a:lnTo>
                  <a:pt x="148" y="56"/>
                </a:lnTo>
                <a:lnTo>
                  <a:pt x="150" y="60"/>
                </a:lnTo>
                <a:lnTo>
                  <a:pt x="150" y="60"/>
                </a:lnTo>
                <a:lnTo>
                  <a:pt x="148" y="64"/>
                </a:lnTo>
                <a:lnTo>
                  <a:pt x="148" y="66"/>
                </a:lnTo>
                <a:lnTo>
                  <a:pt x="148" y="66"/>
                </a:lnTo>
                <a:lnTo>
                  <a:pt x="152" y="68"/>
                </a:lnTo>
                <a:lnTo>
                  <a:pt x="152" y="68"/>
                </a:lnTo>
                <a:lnTo>
                  <a:pt x="152" y="70"/>
                </a:lnTo>
                <a:lnTo>
                  <a:pt x="152" y="70"/>
                </a:lnTo>
                <a:lnTo>
                  <a:pt x="150" y="72"/>
                </a:lnTo>
                <a:lnTo>
                  <a:pt x="150" y="72"/>
                </a:lnTo>
                <a:lnTo>
                  <a:pt x="144" y="70"/>
                </a:lnTo>
                <a:lnTo>
                  <a:pt x="144" y="70"/>
                </a:lnTo>
                <a:lnTo>
                  <a:pt x="144" y="68"/>
                </a:lnTo>
                <a:lnTo>
                  <a:pt x="142" y="64"/>
                </a:lnTo>
                <a:lnTo>
                  <a:pt x="142" y="64"/>
                </a:lnTo>
                <a:lnTo>
                  <a:pt x="136" y="68"/>
                </a:lnTo>
                <a:lnTo>
                  <a:pt x="128" y="72"/>
                </a:lnTo>
                <a:lnTo>
                  <a:pt x="128" y="72"/>
                </a:lnTo>
                <a:lnTo>
                  <a:pt x="128" y="74"/>
                </a:lnTo>
                <a:lnTo>
                  <a:pt x="128" y="74"/>
                </a:lnTo>
                <a:lnTo>
                  <a:pt x="126" y="74"/>
                </a:lnTo>
                <a:lnTo>
                  <a:pt x="126" y="74"/>
                </a:lnTo>
                <a:lnTo>
                  <a:pt x="126" y="76"/>
                </a:lnTo>
                <a:lnTo>
                  <a:pt x="124" y="78"/>
                </a:lnTo>
                <a:lnTo>
                  <a:pt x="124" y="78"/>
                </a:lnTo>
                <a:lnTo>
                  <a:pt x="124" y="80"/>
                </a:lnTo>
                <a:lnTo>
                  <a:pt x="124" y="82"/>
                </a:lnTo>
                <a:lnTo>
                  <a:pt x="124" y="82"/>
                </a:lnTo>
                <a:lnTo>
                  <a:pt x="122" y="82"/>
                </a:lnTo>
                <a:lnTo>
                  <a:pt x="122" y="82"/>
                </a:lnTo>
                <a:lnTo>
                  <a:pt x="120" y="78"/>
                </a:lnTo>
                <a:lnTo>
                  <a:pt x="120" y="78"/>
                </a:lnTo>
                <a:lnTo>
                  <a:pt x="116" y="78"/>
                </a:lnTo>
                <a:lnTo>
                  <a:pt x="116" y="78"/>
                </a:lnTo>
                <a:lnTo>
                  <a:pt x="118" y="76"/>
                </a:lnTo>
                <a:lnTo>
                  <a:pt x="118" y="76"/>
                </a:lnTo>
                <a:lnTo>
                  <a:pt x="118" y="76"/>
                </a:lnTo>
                <a:lnTo>
                  <a:pt x="124" y="74"/>
                </a:lnTo>
                <a:lnTo>
                  <a:pt x="126" y="74"/>
                </a:lnTo>
                <a:lnTo>
                  <a:pt x="126" y="72"/>
                </a:lnTo>
                <a:lnTo>
                  <a:pt x="126" y="72"/>
                </a:lnTo>
                <a:lnTo>
                  <a:pt x="120" y="70"/>
                </a:lnTo>
                <a:lnTo>
                  <a:pt x="116" y="68"/>
                </a:lnTo>
                <a:lnTo>
                  <a:pt x="116" y="68"/>
                </a:lnTo>
                <a:lnTo>
                  <a:pt x="118" y="64"/>
                </a:lnTo>
                <a:lnTo>
                  <a:pt x="118" y="64"/>
                </a:lnTo>
                <a:lnTo>
                  <a:pt x="120" y="62"/>
                </a:lnTo>
                <a:lnTo>
                  <a:pt x="120" y="62"/>
                </a:lnTo>
                <a:lnTo>
                  <a:pt x="122" y="62"/>
                </a:lnTo>
                <a:lnTo>
                  <a:pt x="122" y="62"/>
                </a:lnTo>
                <a:lnTo>
                  <a:pt x="122" y="62"/>
                </a:lnTo>
                <a:lnTo>
                  <a:pt x="122" y="64"/>
                </a:lnTo>
                <a:lnTo>
                  <a:pt x="122" y="64"/>
                </a:lnTo>
                <a:lnTo>
                  <a:pt x="126" y="66"/>
                </a:lnTo>
                <a:lnTo>
                  <a:pt x="128" y="68"/>
                </a:lnTo>
                <a:lnTo>
                  <a:pt x="128" y="68"/>
                </a:lnTo>
                <a:lnTo>
                  <a:pt x="130" y="70"/>
                </a:lnTo>
                <a:lnTo>
                  <a:pt x="130" y="70"/>
                </a:lnTo>
                <a:lnTo>
                  <a:pt x="132" y="68"/>
                </a:lnTo>
                <a:lnTo>
                  <a:pt x="134" y="66"/>
                </a:lnTo>
                <a:lnTo>
                  <a:pt x="134" y="66"/>
                </a:lnTo>
                <a:lnTo>
                  <a:pt x="128" y="64"/>
                </a:lnTo>
                <a:lnTo>
                  <a:pt x="126" y="60"/>
                </a:lnTo>
                <a:lnTo>
                  <a:pt x="126" y="60"/>
                </a:lnTo>
                <a:lnTo>
                  <a:pt x="126" y="60"/>
                </a:lnTo>
                <a:lnTo>
                  <a:pt x="128" y="60"/>
                </a:lnTo>
                <a:lnTo>
                  <a:pt x="128" y="60"/>
                </a:lnTo>
                <a:lnTo>
                  <a:pt x="130" y="58"/>
                </a:lnTo>
                <a:lnTo>
                  <a:pt x="130" y="58"/>
                </a:lnTo>
                <a:lnTo>
                  <a:pt x="128" y="56"/>
                </a:lnTo>
                <a:lnTo>
                  <a:pt x="126" y="54"/>
                </a:lnTo>
                <a:lnTo>
                  <a:pt x="126" y="56"/>
                </a:lnTo>
                <a:lnTo>
                  <a:pt x="126" y="56"/>
                </a:lnTo>
                <a:lnTo>
                  <a:pt x="126" y="58"/>
                </a:lnTo>
                <a:lnTo>
                  <a:pt x="126" y="60"/>
                </a:lnTo>
                <a:lnTo>
                  <a:pt x="126" y="60"/>
                </a:lnTo>
                <a:lnTo>
                  <a:pt x="124" y="58"/>
                </a:lnTo>
                <a:lnTo>
                  <a:pt x="122" y="58"/>
                </a:lnTo>
                <a:lnTo>
                  <a:pt x="122" y="54"/>
                </a:lnTo>
                <a:lnTo>
                  <a:pt x="122" y="54"/>
                </a:lnTo>
                <a:lnTo>
                  <a:pt x="118" y="58"/>
                </a:lnTo>
                <a:lnTo>
                  <a:pt x="112" y="64"/>
                </a:lnTo>
                <a:lnTo>
                  <a:pt x="112" y="64"/>
                </a:lnTo>
                <a:lnTo>
                  <a:pt x="108" y="60"/>
                </a:lnTo>
                <a:lnTo>
                  <a:pt x="106" y="60"/>
                </a:lnTo>
                <a:lnTo>
                  <a:pt x="104" y="60"/>
                </a:lnTo>
                <a:lnTo>
                  <a:pt x="104" y="60"/>
                </a:lnTo>
                <a:lnTo>
                  <a:pt x="104" y="62"/>
                </a:lnTo>
                <a:lnTo>
                  <a:pt x="106" y="64"/>
                </a:lnTo>
                <a:lnTo>
                  <a:pt x="108" y="68"/>
                </a:lnTo>
                <a:lnTo>
                  <a:pt x="108" y="68"/>
                </a:lnTo>
                <a:lnTo>
                  <a:pt x="106" y="70"/>
                </a:lnTo>
                <a:lnTo>
                  <a:pt x="106" y="70"/>
                </a:lnTo>
                <a:lnTo>
                  <a:pt x="102" y="68"/>
                </a:lnTo>
                <a:lnTo>
                  <a:pt x="100" y="66"/>
                </a:lnTo>
                <a:lnTo>
                  <a:pt x="100" y="64"/>
                </a:lnTo>
                <a:lnTo>
                  <a:pt x="100" y="64"/>
                </a:lnTo>
                <a:lnTo>
                  <a:pt x="102" y="62"/>
                </a:lnTo>
                <a:lnTo>
                  <a:pt x="102" y="58"/>
                </a:lnTo>
                <a:lnTo>
                  <a:pt x="102" y="58"/>
                </a:lnTo>
                <a:lnTo>
                  <a:pt x="102" y="56"/>
                </a:lnTo>
                <a:lnTo>
                  <a:pt x="102" y="54"/>
                </a:lnTo>
                <a:lnTo>
                  <a:pt x="102" y="54"/>
                </a:lnTo>
                <a:lnTo>
                  <a:pt x="104" y="54"/>
                </a:lnTo>
                <a:lnTo>
                  <a:pt x="104" y="56"/>
                </a:lnTo>
                <a:lnTo>
                  <a:pt x="106" y="56"/>
                </a:lnTo>
                <a:lnTo>
                  <a:pt x="108" y="56"/>
                </a:lnTo>
                <a:lnTo>
                  <a:pt x="108" y="56"/>
                </a:lnTo>
                <a:lnTo>
                  <a:pt x="112" y="58"/>
                </a:lnTo>
                <a:lnTo>
                  <a:pt x="114" y="54"/>
                </a:lnTo>
                <a:lnTo>
                  <a:pt x="114" y="54"/>
                </a:lnTo>
                <a:lnTo>
                  <a:pt x="112" y="54"/>
                </a:lnTo>
                <a:lnTo>
                  <a:pt x="110" y="54"/>
                </a:lnTo>
                <a:lnTo>
                  <a:pt x="110" y="54"/>
                </a:lnTo>
                <a:lnTo>
                  <a:pt x="108" y="52"/>
                </a:lnTo>
                <a:lnTo>
                  <a:pt x="108" y="52"/>
                </a:lnTo>
                <a:lnTo>
                  <a:pt x="104" y="54"/>
                </a:lnTo>
                <a:lnTo>
                  <a:pt x="104" y="54"/>
                </a:lnTo>
                <a:lnTo>
                  <a:pt x="102" y="50"/>
                </a:lnTo>
                <a:lnTo>
                  <a:pt x="100" y="48"/>
                </a:lnTo>
                <a:lnTo>
                  <a:pt x="98" y="46"/>
                </a:lnTo>
                <a:lnTo>
                  <a:pt x="98" y="46"/>
                </a:lnTo>
                <a:lnTo>
                  <a:pt x="98" y="48"/>
                </a:lnTo>
                <a:lnTo>
                  <a:pt x="96" y="48"/>
                </a:lnTo>
                <a:lnTo>
                  <a:pt x="96" y="52"/>
                </a:lnTo>
                <a:lnTo>
                  <a:pt x="96" y="52"/>
                </a:lnTo>
                <a:lnTo>
                  <a:pt x="94" y="52"/>
                </a:lnTo>
                <a:lnTo>
                  <a:pt x="92" y="52"/>
                </a:lnTo>
                <a:lnTo>
                  <a:pt x="92" y="52"/>
                </a:lnTo>
                <a:lnTo>
                  <a:pt x="88" y="50"/>
                </a:lnTo>
                <a:lnTo>
                  <a:pt x="86" y="48"/>
                </a:lnTo>
                <a:lnTo>
                  <a:pt x="84" y="48"/>
                </a:lnTo>
                <a:lnTo>
                  <a:pt x="84" y="48"/>
                </a:lnTo>
                <a:lnTo>
                  <a:pt x="84" y="50"/>
                </a:lnTo>
                <a:lnTo>
                  <a:pt x="84" y="54"/>
                </a:lnTo>
                <a:lnTo>
                  <a:pt x="84" y="56"/>
                </a:lnTo>
                <a:lnTo>
                  <a:pt x="84" y="58"/>
                </a:lnTo>
                <a:lnTo>
                  <a:pt x="84" y="58"/>
                </a:lnTo>
                <a:lnTo>
                  <a:pt x="92" y="58"/>
                </a:lnTo>
                <a:lnTo>
                  <a:pt x="92" y="58"/>
                </a:lnTo>
                <a:lnTo>
                  <a:pt x="94" y="56"/>
                </a:lnTo>
                <a:lnTo>
                  <a:pt x="96" y="54"/>
                </a:lnTo>
                <a:lnTo>
                  <a:pt x="98" y="54"/>
                </a:lnTo>
                <a:lnTo>
                  <a:pt x="98" y="54"/>
                </a:lnTo>
                <a:lnTo>
                  <a:pt x="98" y="58"/>
                </a:lnTo>
                <a:lnTo>
                  <a:pt x="96" y="60"/>
                </a:lnTo>
                <a:lnTo>
                  <a:pt x="96" y="60"/>
                </a:lnTo>
                <a:lnTo>
                  <a:pt x="92" y="62"/>
                </a:lnTo>
                <a:lnTo>
                  <a:pt x="88" y="64"/>
                </a:lnTo>
                <a:lnTo>
                  <a:pt x="88" y="64"/>
                </a:lnTo>
                <a:lnTo>
                  <a:pt x="84" y="60"/>
                </a:lnTo>
                <a:lnTo>
                  <a:pt x="76" y="60"/>
                </a:lnTo>
                <a:lnTo>
                  <a:pt x="76" y="60"/>
                </a:lnTo>
                <a:lnTo>
                  <a:pt x="80" y="64"/>
                </a:lnTo>
                <a:lnTo>
                  <a:pt x="82" y="66"/>
                </a:lnTo>
                <a:lnTo>
                  <a:pt x="82" y="66"/>
                </a:lnTo>
                <a:lnTo>
                  <a:pt x="74" y="66"/>
                </a:lnTo>
                <a:lnTo>
                  <a:pt x="74" y="66"/>
                </a:lnTo>
                <a:lnTo>
                  <a:pt x="72" y="64"/>
                </a:lnTo>
                <a:lnTo>
                  <a:pt x="72" y="62"/>
                </a:lnTo>
                <a:lnTo>
                  <a:pt x="72" y="62"/>
                </a:lnTo>
                <a:lnTo>
                  <a:pt x="70" y="62"/>
                </a:lnTo>
                <a:lnTo>
                  <a:pt x="66" y="62"/>
                </a:lnTo>
                <a:lnTo>
                  <a:pt x="60" y="60"/>
                </a:lnTo>
                <a:lnTo>
                  <a:pt x="60" y="60"/>
                </a:lnTo>
                <a:lnTo>
                  <a:pt x="56" y="56"/>
                </a:lnTo>
                <a:lnTo>
                  <a:pt x="54" y="52"/>
                </a:lnTo>
                <a:lnTo>
                  <a:pt x="50" y="52"/>
                </a:lnTo>
                <a:lnTo>
                  <a:pt x="50" y="52"/>
                </a:lnTo>
                <a:lnTo>
                  <a:pt x="50" y="54"/>
                </a:lnTo>
                <a:lnTo>
                  <a:pt x="52" y="56"/>
                </a:lnTo>
                <a:lnTo>
                  <a:pt x="52" y="56"/>
                </a:lnTo>
                <a:lnTo>
                  <a:pt x="52" y="58"/>
                </a:lnTo>
                <a:lnTo>
                  <a:pt x="52" y="58"/>
                </a:lnTo>
                <a:lnTo>
                  <a:pt x="54" y="60"/>
                </a:lnTo>
                <a:lnTo>
                  <a:pt x="54" y="60"/>
                </a:lnTo>
                <a:lnTo>
                  <a:pt x="54" y="60"/>
                </a:lnTo>
                <a:lnTo>
                  <a:pt x="50" y="62"/>
                </a:lnTo>
                <a:lnTo>
                  <a:pt x="50" y="62"/>
                </a:lnTo>
                <a:lnTo>
                  <a:pt x="48" y="60"/>
                </a:lnTo>
                <a:lnTo>
                  <a:pt x="46" y="58"/>
                </a:lnTo>
                <a:lnTo>
                  <a:pt x="46" y="58"/>
                </a:lnTo>
                <a:lnTo>
                  <a:pt x="44" y="60"/>
                </a:lnTo>
                <a:lnTo>
                  <a:pt x="44" y="64"/>
                </a:lnTo>
                <a:lnTo>
                  <a:pt x="44" y="64"/>
                </a:lnTo>
                <a:lnTo>
                  <a:pt x="48" y="64"/>
                </a:lnTo>
                <a:lnTo>
                  <a:pt x="50" y="66"/>
                </a:lnTo>
                <a:lnTo>
                  <a:pt x="50" y="70"/>
                </a:lnTo>
                <a:lnTo>
                  <a:pt x="50" y="70"/>
                </a:lnTo>
                <a:lnTo>
                  <a:pt x="56" y="74"/>
                </a:lnTo>
                <a:lnTo>
                  <a:pt x="56" y="74"/>
                </a:lnTo>
                <a:lnTo>
                  <a:pt x="56" y="76"/>
                </a:lnTo>
                <a:lnTo>
                  <a:pt x="56" y="76"/>
                </a:lnTo>
                <a:lnTo>
                  <a:pt x="58" y="76"/>
                </a:lnTo>
                <a:lnTo>
                  <a:pt x="58" y="78"/>
                </a:lnTo>
                <a:lnTo>
                  <a:pt x="58" y="80"/>
                </a:lnTo>
                <a:lnTo>
                  <a:pt x="58" y="80"/>
                </a:lnTo>
                <a:lnTo>
                  <a:pt x="56" y="80"/>
                </a:lnTo>
                <a:lnTo>
                  <a:pt x="56" y="80"/>
                </a:lnTo>
                <a:lnTo>
                  <a:pt x="52" y="80"/>
                </a:lnTo>
                <a:lnTo>
                  <a:pt x="50" y="78"/>
                </a:lnTo>
                <a:lnTo>
                  <a:pt x="50" y="78"/>
                </a:lnTo>
                <a:lnTo>
                  <a:pt x="48" y="80"/>
                </a:lnTo>
                <a:lnTo>
                  <a:pt x="48" y="80"/>
                </a:lnTo>
                <a:lnTo>
                  <a:pt x="48" y="80"/>
                </a:lnTo>
                <a:lnTo>
                  <a:pt x="44" y="80"/>
                </a:lnTo>
                <a:lnTo>
                  <a:pt x="42" y="80"/>
                </a:lnTo>
                <a:lnTo>
                  <a:pt x="42" y="82"/>
                </a:lnTo>
                <a:lnTo>
                  <a:pt x="42" y="82"/>
                </a:lnTo>
                <a:lnTo>
                  <a:pt x="46" y="84"/>
                </a:lnTo>
                <a:lnTo>
                  <a:pt x="46" y="84"/>
                </a:lnTo>
                <a:lnTo>
                  <a:pt x="48" y="86"/>
                </a:lnTo>
                <a:lnTo>
                  <a:pt x="48" y="86"/>
                </a:lnTo>
                <a:lnTo>
                  <a:pt x="46" y="88"/>
                </a:lnTo>
                <a:lnTo>
                  <a:pt x="44" y="90"/>
                </a:lnTo>
                <a:lnTo>
                  <a:pt x="40" y="94"/>
                </a:lnTo>
                <a:lnTo>
                  <a:pt x="40" y="94"/>
                </a:lnTo>
                <a:lnTo>
                  <a:pt x="34" y="94"/>
                </a:lnTo>
                <a:lnTo>
                  <a:pt x="34" y="94"/>
                </a:lnTo>
                <a:lnTo>
                  <a:pt x="34" y="98"/>
                </a:lnTo>
                <a:lnTo>
                  <a:pt x="34" y="102"/>
                </a:lnTo>
                <a:lnTo>
                  <a:pt x="34" y="102"/>
                </a:lnTo>
                <a:lnTo>
                  <a:pt x="34" y="106"/>
                </a:lnTo>
                <a:lnTo>
                  <a:pt x="34" y="108"/>
                </a:lnTo>
                <a:lnTo>
                  <a:pt x="34" y="108"/>
                </a:lnTo>
                <a:lnTo>
                  <a:pt x="36" y="110"/>
                </a:lnTo>
                <a:lnTo>
                  <a:pt x="38" y="110"/>
                </a:lnTo>
                <a:lnTo>
                  <a:pt x="38" y="112"/>
                </a:lnTo>
                <a:lnTo>
                  <a:pt x="38" y="112"/>
                </a:lnTo>
                <a:lnTo>
                  <a:pt x="36" y="114"/>
                </a:lnTo>
                <a:lnTo>
                  <a:pt x="34" y="112"/>
                </a:lnTo>
                <a:lnTo>
                  <a:pt x="30" y="112"/>
                </a:lnTo>
                <a:lnTo>
                  <a:pt x="30" y="112"/>
                </a:lnTo>
                <a:lnTo>
                  <a:pt x="30" y="108"/>
                </a:lnTo>
                <a:lnTo>
                  <a:pt x="28" y="106"/>
                </a:lnTo>
                <a:lnTo>
                  <a:pt x="28" y="106"/>
                </a:lnTo>
                <a:lnTo>
                  <a:pt x="20" y="110"/>
                </a:lnTo>
                <a:lnTo>
                  <a:pt x="12" y="114"/>
                </a:lnTo>
                <a:lnTo>
                  <a:pt x="12" y="114"/>
                </a:lnTo>
                <a:lnTo>
                  <a:pt x="14" y="116"/>
                </a:lnTo>
                <a:lnTo>
                  <a:pt x="14" y="118"/>
                </a:lnTo>
                <a:lnTo>
                  <a:pt x="14" y="118"/>
                </a:lnTo>
                <a:lnTo>
                  <a:pt x="14" y="122"/>
                </a:lnTo>
                <a:lnTo>
                  <a:pt x="14" y="126"/>
                </a:lnTo>
                <a:lnTo>
                  <a:pt x="14" y="126"/>
                </a:lnTo>
                <a:lnTo>
                  <a:pt x="12" y="128"/>
                </a:lnTo>
                <a:lnTo>
                  <a:pt x="12" y="130"/>
                </a:lnTo>
                <a:lnTo>
                  <a:pt x="12" y="130"/>
                </a:lnTo>
                <a:lnTo>
                  <a:pt x="14" y="130"/>
                </a:lnTo>
                <a:lnTo>
                  <a:pt x="18" y="130"/>
                </a:lnTo>
                <a:lnTo>
                  <a:pt x="18" y="130"/>
                </a:lnTo>
                <a:lnTo>
                  <a:pt x="18" y="128"/>
                </a:lnTo>
                <a:lnTo>
                  <a:pt x="18" y="126"/>
                </a:lnTo>
                <a:lnTo>
                  <a:pt x="16" y="126"/>
                </a:lnTo>
                <a:lnTo>
                  <a:pt x="16" y="124"/>
                </a:lnTo>
                <a:lnTo>
                  <a:pt x="22" y="124"/>
                </a:lnTo>
                <a:lnTo>
                  <a:pt x="22" y="124"/>
                </a:lnTo>
                <a:lnTo>
                  <a:pt x="24" y="132"/>
                </a:lnTo>
                <a:lnTo>
                  <a:pt x="24" y="132"/>
                </a:lnTo>
                <a:lnTo>
                  <a:pt x="26" y="130"/>
                </a:lnTo>
                <a:lnTo>
                  <a:pt x="30" y="130"/>
                </a:lnTo>
                <a:lnTo>
                  <a:pt x="30" y="130"/>
                </a:lnTo>
                <a:lnTo>
                  <a:pt x="30" y="132"/>
                </a:lnTo>
                <a:lnTo>
                  <a:pt x="30" y="136"/>
                </a:lnTo>
                <a:lnTo>
                  <a:pt x="370" y="136"/>
                </a:lnTo>
                <a:lnTo>
                  <a:pt x="370" y="136"/>
                </a:lnTo>
                <a:lnTo>
                  <a:pt x="368" y="132"/>
                </a:lnTo>
                <a:lnTo>
                  <a:pt x="368" y="132"/>
                </a:lnTo>
                <a:lnTo>
                  <a:pt x="372" y="128"/>
                </a:lnTo>
                <a:lnTo>
                  <a:pt x="372" y="128"/>
                </a:lnTo>
                <a:lnTo>
                  <a:pt x="370" y="126"/>
                </a:lnTo>
                <a:lnTo>
                  <a:pt x="372" y="124"/>
                </a:lnTo>
                <a:lnTo>
                  <a:pt x="372" y="122"/>
                </a:lnTo>
                <a:lnTo>
                  <a:pt x="374" y="118"/>
                </a:lnTo>
                <a:lnTo>
                  <a:pt x="374" y="118"/>
                </a:lnTo>
                <a:lnTo>
                  <a:pt x="370" y="118"/>
                </a:lnTo>
                <a:lnTo>
                  <a:pt x="368" y="118"/>
                </a:lnTo>
                <a:lnTo>
                  <a:pt x="368" y="118"/>
                </a:lnTo>
                <a:lnTo>
                  <a:pt x="368" y="116"/>
                </a:lnTo>
                <a:lnTo>
                  <a:pt x="368" y="114"/>
                </a:lnTo>
                <a:lnTo>
                  <a:pt x="368" y="114"/>
                </a:lnTo>
                <a:lnTo>
                  <a:pt x="370" y="110"/>
                </a:lnTo>
                <a:lnTo>
                  <a:pt x="372" y="108"/>
                </a:lnTo>
                <a:lnTo>
                  <a:pt x="372" y="106"/>
                </a:lnTo>
                <a:lnTo>
                  <a:pt x="372" y="106"/>
                </a:lnTo>
                <a:lnTo>
                  <a:pt x="374" y="106"/>
                </a:lnTo>
                <a:lnTo>
                  <a:pt x="376" y="104"/>
                </a:lnTo>
                <a:lnTo>
                  <a:pt x="378" y="102"/>
                </a:lnTo>
                <a:lnTo>
                  <a:pt x="376" y="100"/>
                </a:lnTo>
                <a:lnTo>
                  <a:pt x="376" y="100"/>
                </a:lnTo>
                <a:lnTo>
                  <a:pt x="374" y="100"/>
                </a:lnTo>
                <a:lnTo>
                  <a:pt x="372" y="100"/>
                </a:lnTo>
                <a:lnTo>
                  <a:pt x="370" y="104"/>
                </a:lnTo>
                <a:lnTo>
                  <a:pt x="370" y="104"/>
                </a:lnTo>
                <a:close/>
                <a:moveTo>
                  <a:pt x="110" y="84"/>
                </a:moveTo>
                <a:lnTo>
                  <a:pt x="110" y="84"/>
                </a:lnTo>
                <a:lnTo>
                  <a:pt x="110" y="86"/>
                </a:lnTo>
                <a:lnTo>
                  <a:pt x="108" y="88"/>
                </a:lnTo>
                <a:lnTo>
                  <a:pt x="108" y="88"/>
                </a:lnTo>
                <a:lnTo>
                  <a:pt x="106" y="86"/>
                </a:lnTo>
                <a:lnTo>
                  <a:pt x="104" y="84"/>
                </a:lnTo>
                <a:lnTo>
                  <a:pt x="104" y="84"/>
                </a:lnTo>
                <a:lnTo>
                  <a:pt x="102" y="84"/>
                </a:lnTo>
                <a:lnTo>
                  <a:pt x="100" y="82"/>
                </a:lnTo>
                <a:lnTo>
                  <a:pt x="100" y="82"/>
                </a:lnTo>
                <a:lnTo>
                  <a:pt x="100" y="80"/>
                </a:lnTo>
                <a:lnTo>
                  <a:pt x="100" y="80"/>
                </a:lnTo>
                <a:lnTo>
                  <a:pt x="108" y="82"/>
                </a:lnTo>
                <a:lnTo>
                  <a:pt x="116" y="80"/>
                </a:lnTo>
                <a:lnTo>
                  <a:pt x="116" y="80"/>
                </a:lnTo>
                <a:lnTo>
                  <a:pt x="116" y="78"/>
                </a:lnTo>
                <a:lnTo>
                  <a:pt x="116" y="78"/>
                </a:lnTo>
                <a:lnTo>
                  <a:pt x="118" y="80"/>
                </a:lnTo>
                <a:lnTo>
                  <a:pt x="120" y="84"/>
                </a:lnTo>
                <a:lnTo>
                  <a:pt x="120" y="84"/>
                </a:lnTo>
                <a:lnTo>
                  <a:pt x="116" y="84"/>
                </a:lnTo>
                <a:lnTo>
                  <a:pt x="110" y="84"/>
                </a:lnTo>
                <a:lnTo>
                  <a:pt x="110" y="84"/>
                </a:lnTo>
                <a:close/>
                <a:moveTo>
                  <a:pt x="142" y="96"/>
                </a:moveTo>
                <a:lnTo>
                  <a:pt x="142" y="96"/>
                </a:lnTo>
                <a:lnTo>
                  <a:pt x="134" y="98"/>
                </a:lnTo>
                <a:lnTo>
                  <a:pt x="134" y="98"/>
                </a:lnTo>
                <a:lnTo>
                  <a:pt x="132" y="96"/>
                </a:lnTo>
                <a:lnTo>
                  <a:pt x="130" y="94"/>
                </a:lnTo>
                <a:lnTo>
                  <a:pt x="130" y="94"/>
                </a:lnTo>
                <a:lnTo>
                  <a:pt x="134" y="92"/>
                </a:lnTo>
                <a:lnTo>
                  <a:pt x="134" y="92"/>
                </a:lnTo>
                <a:lnTo>
                  <a:pt x="134" y="88"/>
                </a:lnTo>
                <a:lnTo>
                  <a:pt x="134" y="86"/>
                </a:lnTo>
                <a:lnTo>
                  <a:pt x="134" y="84"/>
                </a:lnTo>
                <a:lnTo>
                  <a:pt x="134" y="84"/>
                </a:lnTo>
                <a:lnTo>
                  <a:pt x="136" y="86"/>
                </a:lnTo>
                <a:lnTo>
                  <a:pt x="138" y="86"/>
                </a:lnTo>
                <a:lnTo>
                  <a:pt x="138" y="86"/>
                </a:lnTo>
                <a:lnTo>
                  <a:pt x="138" y="90"/>
                </a:lnTo>
                <a:lnTo>
                  <a:pt x="138" y="90"/>
                </a:lnTo>
                <a:lnTo>
                  <a:pt x="140" y="90"/>
                </a:lnTo>
                <a:lnTo>
                  <a:pt x="142" y="88"/>
                </a:lnTo>
                <a:lnTo>
                  <a:pt x="142" y="88"/>
                </a:lnTo>
                <a:lnTo>
                  <a:pt x="140" y="90"/>
                </a:lnTo>
                <a:lnTo>
                  <a:pt x="138" y="94"/>
                </a:lnTo>
                <a:lnTo>
                  <a:pt x="138" y="94"/>
                </a:lnTo>
                <a:lnTo>
                  <a:pt x="142" y="96"/>
                </a:lnTo>
                <a:lnTo>
                  <a:pt x="142" y="96"/>
                </a:lnTo>
                <a:close/>
                <a:moveTo>
                  <a:pt x="282" y="70"/>
                </a:moveTo>
                <a:lnTo>
                  <a:pt x="282" y="70"/>
                </a:lnTo>
                <a:lnTo>
                  <a:pt x="280" y="68"/>
                </a:lnTo>
                <a:lnTo>
                  <a:pt x="280" y="68"/>
                </a:lnTo>
                <a:lnTo>
                  <a:pt x="280" y="68"/>
                </a:lnTo>
                <a:lnTo>
                  <a:pt x="280" y="68"/>
                </a:lnTo>
                <a:lnTo>
                  <a:pt x="284" y="70"/>
                </a:lnTo>
                <a:lnTo>
                  <a:pt x="284" y="70"/>
                </a:lnTo>
                <a:lnTo>
                  <a:pt x="282" y="70"/>
                </a:lnTo>
                <a:lnTo>
                  <a:pt x="282" y="70"/>
                </a:lnTo>
                <a:close/>
                <a:moveTo>
                  <a:pt x="298" y="64"/>
                </a:moveTo>
                <a:lnTo>
                  <a:pt x="298" y="64"/>
                </a:lnTo>
                <a:lnTo>
                  <a:pt x="294" y="66"/>
                </a:lnTo>
                <a:lnTo>
                  <a:pt x="290" y="66"/>
                </a:lnTo>
                <a:lnTo>
                  <a:pt x="290" y="66"/>
                </a:lnTo>
                <a:lnTo>
                  <a:pt x="284" y="64"/>
                </a:lnTo>
                <a:lnTo>
                  <a:pt x="284" y="64"/>
                </a:lnTo>
                <a:lnTo>
                  <a:pt x="284" y="60"/>
                </a:lnTo>
                <a:lnTo>
                  <a:pt x="284" y="60"/>
                </a:lnTo>
                <a:lnTo>
                  <a:pt x="284" y="60"/>
                </a:lnTo>
                <a:lnTo>
                  <a:pt x="284" y="60"/>
                </a:lnTo>
                <a:lnTo>
                  <a:pt x="286" y="62"/>
                </a:lnTo>
                <a:lnTo>
                  <a:pt x="286" y="62"/>
                </a:lnTo>
                <a:lnTo>
                  <a:pt x="294" y="62"/>
                </a:lnTo>
                <a:lnTo>
                  <a:pt x="294" y="62"/>
                </a:lnTo>
                <a:lnTo>
                  <a:pt x="296" y="60"/>
                </a:lnTo>
                <a:lnTo>
                  <a:pt x="298" y="58"/>
                </a:lnTo>
                <a:lnTo>
                  <a:pt x="300" y="58"/>
                </a:lnTo>
                <a:lnTo>
                  <a:pt x="300" y="58"/>
                </a:lnTo>
                <a:lnTo>
                  <a:pt x="300" y="62"/>
                </a:lnTo>
                <a:lnTo>
                  <a:pt x="298" y="64"/>
                </a:lnTo>
                <a:lnTo>
                  <a:pt x="298" y="64"/>
                </a:lnTo>
                <a:close/>
                <a:moveTo>
                  <a:pt x="62" y="48"/>
                </a:moveTo>
                <a:lnTo>
                  <a:pt x="62" y="48"/>
                </a:lnTo>
                <a:lnTo>
                  <a:pt x="58" y="48"/>
                </a:lnTo>
                <a:lnTo>
                  <a:pt x="56" y="48"/>
                </a:lnTo>
                <a:lnTo>
                  <a:pt x="56" y="50"/>
                </a:lnTo>
                <a:lnTo>
                  <a:pt x="56" y="50"/>
                </a:lnTo>
                <a:lnTo>
                  <a:pt x="58" y="50"/>
                </a:lnTo>
                <a:lnTo>
                  <a:pt x="60" y="50"/>
                </a:lnTo>
                <a:lnTo>
                  <a:pt x="62" y="48"/>
                </a:lnTo>
                <a:lnTo>
                  <a:pt x="62" y="48"/>
                </a:lnTo>
                <a:close/>
                <a:moveTo>
                  <a:pt x="4" y="104"/>
                </a:moveTo>
                <a:lnTo>
                  <a:pt x="4" y="104"/>
                </a:lnTo>
                <a:lnTo>
                  <a:pt x="2" y="104"/>
                </a:lnTo>
                <a:lnTo>
                  <a:pt x="0" y="104"/>
                </a:lnTo>
                <a:lnTo>
                  <a:pt x="0" y="104"/>
                </a:lnTo>
                <a:lnTo>
                  <a:pt x="0" y="106"/>
                </a:lnTo>
                <a:lnTo>
                  <a:pt x="2" y="106"/>
                </a:lnTo>
                <a:lnTo>
                  <a:pt x="4" y="104"/>
                </a:lnTo>
                <a:lnTo>
                  <a:pt x="4" y="104"/>
                </a:lnTo>
                <a:lnTo>
                  <a:pt x="4" y="104"/>
                </a:lnTo>
                <a:close/>
                <a:moveTo>
                  <a:pt x="138" y="56"/>
                </a:moveTo>
                <a:lnTo>
                  <a:pt x="138" y="58"/>
                </a:lnTo>
                <a:lnTo>
                  <a:pt x="142" y="58"/>
                </a:lnTo>
                <a:lnTo>
                  <a:pt x="142" y="58"/>
                </a:lnTo>
                <a:lnTo>
                  <a:pt x="142" y="56"/>
                </a:lnTo>
                <a:lnTo>
                  <a:pt x="138" y="56"/>
                </a:lnTo>
                <a:lnTo>
                  <a:pt x="138" y="56"/>
                </a:lnTo>
                <a:close/>
                <a:moveTo>
                  <a:pt x="124" y="48"/>
                </a:moveTo>
                <a:lnTo>
                  <a:pt x="124" y="48"/>
                </a:lnTo>
                <a:lnTo>
                  <a:pt x="122" y="52"/>
                </a:lnTo>
                <a:lnTo>
                  <a:pt x="122" y="52"/>
                </a:lnTo>
                <a:lnTo>
                  <a:pt x="126" y="52"/>
                </a:lnTo>
                <a:lnTo>
                  <a:pt x="126" y="52"/>
                </a:lnTo>
                <a:lnTo>
                  <a:pt x="126" y="50"/>
                </a:lnTo>
                <a:lnTo>
                  <a:pt x="124" y="48"/>
                </a:lnTo>
                <a:lnTo>
                  <a:pt x="124" y="48"/>
                </a:lnTo>
                <a:close/>
                <a:moveTo>
                  <a:pt x="148" y="40"/>
                </a:moveTo>
                <a:lnTo>
                  <a:pt x="148" y="40"/>
                </a:lnTo>
                <a:lnTo>
                  <a:pt x="144" y="40"/>
                </a:lnTo>
                <a:lnTo>
                  <a:pt x="144" y="42"/>
                </a:lnTo>
                <a:lnTo>
                  <a:pt x="144" y="44"/>
                </a:lnTo>
                <a:lnTo>
                  <a:pt x="144" y="44"/>
                </a:lnTo>
                <a:lnTo>
                  <a:pt x="148" y="42"/>
                </a:lnTo>
                <a:lnTo>
                  <a:pt x="148" y="40"/>
                </a:lnTo>
                <a:lnTo>
                  <a:pt x="148" y="40"/>
                </a:lnTo>
                <a:close/>
                <a:moveTo>
                  <a:pt x="76" y="56"/>
                </a:moveTo>
                <a:lnTo>
                  <a:pt x="76" y="56"/>
                </a:lnTo>
                <a:lnTo>
                  <a:pt x="74" y="52"/>
                </a:lnTo>
                <a:lnTo>
                  <a:pt x="74" y="50"/>
                </a:lnTo>
                <a:lnTo>
                  <a:pt x="76" y="48"/>
                </a:lnTo>
                <a:lnTo>
                  <a:pt x="76" y="48"/>
                </a:lnTo>
                <a:lnTo>
                  <a:pt x="72" y="46"/>
                </a:lnTo>
                <a:lnTo>
                  <a:pt x="68" y="48"/>
                </a:lnTo>
                <a:lnTo>
                  <a:pt x="68" y="50"/>
                </a:lnTo>
                <a:lnTo>
                  <a:pt x="68" y="50"/>
                </a:lnTo>
                <a:lnTo>
                  <a:pt x="70" y="52"/>
                </a:lnTo>
                <a:lnTo>
                  <a:pt x="72" y="54"/>
                </a:lnTo>
                <a:lnTo>
                  <a:pt x="74" y="56"/>
                </a:lnTo>
                <a:lnTo>
                  <a:pt x="76" y="56"/>
                </a:lnTo>
                <a:lnTo>
                  <a:pt x="76" y="56"/>
                </a:lnTo>
                <a:close/>
                <a:moveTo>
                  <a:pt x="78" y="52"/>
                </a:moveTo>
                <a:lnTo>
                  <a:pt x="78" y="52"/>
                </a:lnTo>
                <a:lnTo>
                  <a:pt x="80" y="52"/>
                </a:lnTo>
                <a:lnTo>
                  <a:pt x="82" y="54"/>
                </a:lnTo>
                <a:lnTo>
                  <a:pt x="82" y="54"/>
                </a:lnTo>
                <a:lnTo>
                  <a:pt x="82" y="52"/>
                </a:lnTo>
                <a:lnTo>
                  <a:pt x="82" y="50"/>
                </a:lnTo>
                <a:lnTo>
                  <a:pt x="80" y="50"/>
                </a:lnTo>
                <a:lnTo>
                  <a:pt x="78" y="52"/>
                </a:lnTo>
                <a:lnTo>
                  <a:pt x="78" y="52"/>
                </a:lnTo>
                <a:close/>
                <a:moveTo>
                  <a:pt x="84" y="46"/>
                </a:moveTo>
                <a:lnTo>
                  <a:pt x="84" y="46"/>
                </a:lnTo>
                <a:lnTo>
                  <a:pt x="84" y="44"/>
                </a:lnTo>
                <a:lnTo>
                  <a:pt x="84" y="42"/>
                </a:lnTo>
                <a:lnTo>
                  <a:pt x="82" y="42"/>
                </a:lnTo>
                <a:lnTo>
                  <a:pt x="82" y="42"/>
                </a:lnTo>
                <a:lnTo>
                  <a:pt x="82" y="46"/>
                </a:lnTo>
                <a:lnTo>
                  <a:pt x="82" y="46"/>
                </a:lnTo>
                <a:lnTo>
                  <a:pt x="84" y="46"/>
                </a:lnTo>
                <a:lnTo>
                  <a:pt x="84" y="46"/>
                </a:lnTo>
                <a:close/>
              </a:path>
            </a:pathLst>
          </a:custGeom>
          <a:solidFill>
            <a:srgbClr val="C0BAA7"/>
          </a:solidFill>
          <a:ln>
            <a:noFill/>
          </a:ln>
        </p:spPr>
        <p:txBody>
          <a:bodyPr vert="horz" wrap="square" lIns="80147" tIns="40074" rIns="80147" bIns="40074" numCol="1" anchor="t" anchorCtr="0" compatLnSpc="1">
            <a:prstTxWarp prst="textNoShape">
              <a:avLst/>
            </a:prstTxWarp>
          </a:bodyPr>
          <a:lstStyle/>
          <a:p>
            <a:endParaRPr lang="en-GB"/>
          </a:p>
        </p:txBody>
      </p:sp>
      <p:grpSp>
        <p:nvGrpSpPr>
          <p:cNvPr id="46" name="Group 938">
            <a:extLst>
              <a:ext uri="{FF2B5EF4-FFF2-40B4-BE49-F238E27FC236}">
                <a16:creationId xmlns:a16="http://schemas.microsoft.com/office/drawing/2014/main" id="{A92AAE8C-A63A-4A20-BF5C-767EBB081246}"/>
              </a:ext>
            </a:extLst>
          </p:cNvPr>
          <p:cNvGrpSpPr/>
          <p:nvPr/>
        </p:nvGrpSpPr>
        <p:grpSpPr>
          <a:xfrm>
            <a:off x="5923379" y="4762871"/>
            <a:ext cx="389434" cy="652205"/>
            <a:chOff x="3580065" y="3598658"/>
            <a:chExt cx="934607" cy="1475695"/>
          </a:xfrm>
        </p:grpSpPr>
        <p:sp>
          <p:nvSpPr>
            <p:cNvPr id="47" name="Freeform 121">
              <a:extLst>
                <a:ext uri="{FF2B5EF4-FFF2-40B4-BE49-F238E27FC236}">
                  <a16:creationId xmlns:a16="http://schemas.microsoft.com/office/drawing/2014/main" id="{92AF4351-44DB-4464-875E-95E473BAEDB2}"/>
                </a:ext>
              </a:extLst>
            </p:cNvPr>
            <p:cNvSpPr>
              <a:spLocks noEditPoints="1"/>
            </p:cNvSpPr>
            <p:nvPr/>
          </p:nvSpPr>
          <p:spPr bwMode="auto">
            <a:xfrm>
              <a:off x="3580065" y="3598658"/>
              <a:ext cx="934607" cy="1475695"/>
            </a:xfrm>
            <a:custGeom>
              <a:avLst/>
              <a:gdLst>
                <a:gd name="T0" fmla="*/ 200 w 798"/>
                <a:gd name="T1" fmla="*/ 1136 h 1260"/>
                <a:gd name="T2" fmla="*/ 208 w 798"/>
                <a:gd name="T3" fmla="*/ 1210 h 1260"/>
                <a:gd name="T4" fmla="*/ 222 w 798"/>
                <a:gd name="T5" fmla="*/ 1188 h 1260"/>
                <a:gd name="T6" fmla="*/ 286 w 798"/>
                <a:gd name="T7" fmla="*/ 1240 h 1260"/>
                <a:gd name="T8" fmla="*/ 374 w 798"/>
                <a:gd name="T9" fmla="*/ 1236 h 1260"/>
                <a:gd name="T10" fmla="*/ 304 w 798"/>
                <a:gd name="T11" fmla="*/ 1206 h 1260"/>
                <a:gd name="T12" fmla="*/ 286 w 798"/>
                <a:gd name="T13" fmla="*/ 1126 h 1260"/>
                <a:gd name="T14" fmla="*/ 376 w 798"/>
                <a:gd name="T15" fmla="*/ 974 h 1260"/>
                <a:gd name="T16" fmla="*/ 440 w 798"/>
                <a:gd name="T17" fmla="*/ 880 h 1260"/>
                <a:gd name="T18" fmla="*/ 482 w 798"/>
                <a:gd name="T19" fmla="*/ 826 h 1260"/>
                <a:gd name="T20" fmla="*/ 530 w 798"/>
                <a:gd name="T21" fmla="*/ 944 h 1260"/>
                <a:gd name="T22" fmla="*/ 612 w 798"/>
                <a:gd name="T23" fmla="*/ 1132 h 1260"/>
                <a:gd name="T24" fmla="*/ 602 w 798"/>
                <a:gd name="T25" fmla="*/ 1176 h 1260"/>
                <a:gd name="T26" fmla="*/ 624 w 798"/>
                <a:gd name="T27" fmla="*/ 1242 h 1260"/>
                <a:gd name="T28" fmla="*/ 630 w 798"/>
                <a:gd name="T29" fmla="*/ 1224 h 1260"/>
                <a:gd name="T30" fmla="*/ 752 w 798"/>
                <a:gd name="T31" fmla="*/ 1256 h 1260"/>
                <a:gd name="T32" fmla="*/ 776 w 798"/>
                <a:gd name="T33" fmla="*/ 1232 h 1260"/>
                <a:gd name="T34" fmla="*/ 722 w 798"/>
                <a:gd name="T35" fmla="*/ 1218 h 1260"/>
                <a:gd name="T36" fmla="*/ 610 w 798"/>
                <a:gd name="T37" fmla="*/ 960 h 1260"/>
                <a:gd name="T38" fmla="*/ 588 w 798"/>
                <a:gd name="T39" fmla="*/ 828 h 1260"/>
                <a:gd name="T40" fmla="*/ 580 w 798"/>
                <a:gd name="T41" fmla="*/ 736 h 1260"/>
                <a:gd name="T42" fmla="*/ 552 w 798"/>
                <a:gd name="T43" fmla="*/ 596 h 1260"/>
                <a:gd name="T44" fmla="*/ 612 w 798"/>
                <a:gd name="T45" fmla="*/ 564 h 1260"/>
                <a:gd name="T46" fmla="*/ 636 w 798"/>
                <a:gd name="T47" fmla="*/ 554 h 1260"/>
                <a:gd name="T48" fmla="*/ 688 w 798"/>
                <a:gd name="T49" fmla="*/ 594 h 1260"/>
                <a:gd name="T50" fmla="*/ 652 w 798"/>
                <a:gd name="T51" fmla="*/ 512 h 1260"/>
                <a:gd name="T52" fmla="*/ 580 w 798"/>
                <a:gd name="T53" fmla="*/ 424 h 1260"/>
                <a:gd name="T54" fmla="*/ 502 w 798"/>
                <a:gd name="T55" fmla="*/ 250 h 1260"/>
                <a:gd name="T56" fmla="*/ 488 w 798"/>
                <a:gd name="T57" fmla="*/ 188 h 1260"/>
                <a:gd name="T58" fmla="*/ 508 w 798"/>
                <a:gd name="T59" fmla="*/ 180 h 1260"/>
                <a:gd name="T60" fmla="*/ 520 w 798"/>
                <a:gd name="T61" fmla="*/ 160 h 1260"/>
                <a:gd name="T62" fmla="*/ 534 w 798"/>
                <a:gd name="T63" fmla="*/ 142 h 1260"/>
                <a:gd name="T64" fmla="*/ 526 w 798"/>
                <a:gd name="T65" fmla="*/ 106 h 1260"/>
                <a:gd name="T66" fmla="*/ 510 w 798"/>
                <a:gd name="T67" fmla="*/ 36 h 1260"/>
                <a:gd name="T68" fmla="*/ 498 w 798"/>
                <a:gd name="T69" fmla="*/ 24 h 1260"/>
                <a:gd name="T70" fmla="*/ 436 w 798"/>
                <a:gd name="T71" fmla="*/ 0 h 1260"/>
                <a:gd name="T72" fmla="*/ 400 w 798"/>
                <a:gd name="T73" fmla="*/ 14 h 1260"/>
                <a:gd name="T74" fmla="*/ 380 w 798"/>
                <a:gd name="T75" fmla="*/ 34 h 1260"/>
                <a:gd name="T76" fmla="*/ 346 w 798"/>
                <a:gd name="T77" fmla="*/ 80 h 1260"/>
                <a:gd name="T78" fmla="*/ 330 w 798"/>
                <a:gd name="T79" fmla="*/ 120 h 1260"/>
                <a:gd name="T80" fmla="*/ 344 w 798"/>
                <a:gd name="T81" fmla="*/ 116 h 1260"/>
                <a:gd name="T82" fmla="*/ 324 w 798"/>
                <a:gd name="T83" fmla="*/ 178 h 1260"/>
                <a:gd name="T84" fmla="*/ 300 w 798"/>
                <a:gd name="T85" fmla="*/ 210 h 1260"/>
                <a:gd name="T86" fmla="*/ 324 w 798"/>
                <a:gd name="T87" fmla="*/ 224 h 1260"/>
                <a:gd name="T88" fmla="*/ 318 w 798"/>
                <a:gd name="T89" fmla="*/ 286 h 1260"/>
                <a:gd name="T90" fmla="*/ 300 w 798"/>
                <a:gd name="T91" fmla="*/ 398 h 1260"/>
                <a:gd name="T92" fmla="*/ 250 w 798"/>
                <a:gd name="T93" fmla="*/ 528 h 1260"/>
                <a:gd name="T94" fmla="*/ 204 w 798"/>
                <a:gd name="T95" fmla="*/ 640 h 1260"/>
                <a:gd name="T96" fmla="*/ 160 w 798"/>
                <a:gd name="T97" fmla="*/ 698 h 1260"/>
                <a:gd name="T98" fmla="*/ 60 w 798"/>
                <a:gd name="T99" fmla="*/ 728 h 1260"/>
                <a:gd name="T100" fmla="*/ 6 w 798"/>
                <a:gd name="T101" fmla="*/ 878 h 1260"/>
                <a:gd name="T102" fmla="*/ 128 w 798"/>
                <a:gd name="T103" fmla="*/ 982 h 1260"/>
                <a:gd name="T104" fmla="*/ 258 w 798"/>
                <a:gd name="T105" fmla="*/ 668 h 1260"/>
                <a:gd name="T106" fmla="*/ 264 w 798"/>
                <a:gd name="T107" fmla="*/ 650 h 1260"/>
                <a:gd name="T108" fmla="*/ 286 w 798"/>
                <a:gd name="T109" fmla="*/ 622 h 1260"/>
                <a:gd name="T110" fmla="*/ 364 w 798"/>
                <a:gd name="T111" fmla="*/ 580 h 1260"/>
                <a:gd name="T112" fmla="*/ 344 w 798"/>
                <a:gd name="T113" fmla="*/ 670 h 1260"/>
                <a:gd name="T114" fmla="*/ 318 w 798"/>
                <a:gd name="T115" fmla="*/ 768 h 1260"/>
                <a:gd name="T116" fmla="*/ 258 w 798"/>
                <a:gd name="T117" fmla="*/ 668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8" h="1260">
                  <a:moveTo>
                    <a:pt x="268" y="1038"/>
                  </a:moveTo>
                  <a:lnTo>
                    <a:pt x="268" y="1038"/>
                  </a:lnTo>
                  <a:lnTo>
                    <a:pt x="256" y="1070"/>
                  </a:lnTo>
                  <a:lnTo>
                    <a:pt x="242" y="1096"/>
                  </a:lnTo>
                  <a:lnTo>
                    <a:pt x="234" y="1108"/>
                  </a:lnTo>
                  <a:lnTo>
                    <a:pt x="226" y="1118"/>
                  </a:lnTo>
                  <a:lnTo>
                    <a:pt x="214" y="1128"/>
                  </a:lnTo>
                  <a:lnTo>
                    <a:pt x="200" y="1136"/>
                  </a:lnTo>
                  <a:lnTo>
                    <a:pt x="200" y="1136"/>
                  </a:lnTo>
                  <a:lnTo>
                    <a:pt x="194" y="1148"/>
                  </a:lnTo>
                  <a:lnTo>
                    <a:pt x="192" y="1158"/>
                  </a:lnTo>
                  <a:lnTo>
                    <a:pt x="194" y="1168"/>
                  </a:lnTo>
                  <a:lnTo>
                    <a:pt x="198" y="1178"/>
                  </a:lnTo>
                  <a:lnTo>
                    <a:pt x="204" y="1188"/>
                  </a:lnTo>
                  <a:lnTo>
                    <a:pt x="206" y="1198"/>
                  </a:lnTo>
                  <a:lnTo>
                    <a:pt x="208" y="1210"/>
                  </a:lnTo>
                  <a:lnTo>
                    <a:pt x="206" y="1224"/>
                  </a:lnTo>
                  <a:lnTo>
                    <a:pt x="206" y="1224"/>
                  </a:lnTo>
                  <a:lnTo>
                    <a:pt x="210" y="1222"/>
                  </a:lnTo>
                  <a:lnTo>
                    <a:pt x="212" y="1216"/>
                  </a:lnTo>
                  <a:lnTo>
                    <a:pt x="214" y="1206"/>
                  </a:lnTo>
                  <a:lnTo>
                    <a:pt x="214" y="1194"/>
                  </a:lnTo>
                  <a:lnTo>
                    <a:pt x="218" y="1190"/>
                  </a:lnTo>
                  <a:lnTo>
                    <a:pt x="222" y="1188"/>
                  </a:lnTo>
                  <a:lnTo>
                    <a:pt x="222" y="1188"/>
                  </a:lnTo>
                  <a:lnTo>
                    <a:pt x="232" y="1190"/>
                  </a:lnTo>
                  <a:lnTo>
                    <a:pt x="240" y="1194"/>
                  </a:lnTo>
                  <a:lnTo>
                    <a:pt x="248" y="1202"/>
                  </a:lnTo>
                  <a:lnTo>
                    <a:pt x="254" y="1210"/>
                  </a:lnTo>
                  <a:lnTo>
                    <a:pt x="268" y="1226"/>
                  </a:lnTo>
                  <a:lnTo>
                    <a:pt x="276" y="1234"/>
                  </a:lnTo>
                  <a:lnTo>
                    <a:pt x="286" y="1240"/>
                  </a:lnTo>
                  <a:lnTo>
                    <a:pt x="286" y="1240"/>
                  </a:lnTo>
                  <a:lnTo>
                    <a:pt x="296" y="1242"/>
                  </a:lnTo>
                  <a:lnTo>
                    <a:pt x="306" y="1244"/>
                  </a:lnTo>
                  <a:lnTo>
                    <a:pt x="328" y="1244"/>
                  </a:lnTo>
                  <a:lnTo>
                    <a:pt x="350" y="1242"/>
                  </a:lnTo>
                  <a:lnTo>
                    <a:pt x="372" y="1236"/>
                  </a:lnTo>
                  <a:lnTo>
                    <a:pt x="372" y="1236"/>
                  </a:lnTo>
                  <a:lnTo>
                    <a:pt x="374" y="1236"/>
                  </a:lnTo>
                  <a:lnTo>
                    <a:pt x="372" y="1234"/>
                  </a:lnTo>
                  <a:lnTo>
                    <a:pt x="368" y="1234"/>
                  </a:lnTo>
                  <a:lnTo>
                    <a:pt x="348" y="1228"/>
                  </a:lnTo>
                  <a:lnTo>
                    <a:pt x="334" y="1224"/>
                  </a:lnTo>
                  <a:lnTo>
                    <a:pt x="322" y="1220"/>
                  </a:lnTo>
                  <a:lnTo>
                    <a:pt x="312" y="1214"/>
                  </a:lnTo>
                  <a:lnTo>
                    <a:pt x="304" y="1206"/>
                  </a:lnTo>
                  <a:lnTo>
                    <a:pt x="304" y="1206"/>
                  </a:lnTo>
                  <a:lnTo>
                    <a:pt x="302" y="1196"/>
                  </a:lnTo>
                  <a:lnTo>
                    <a:pt x="298" y="1186"/>
                  </a:lnTo>
                  <a:lnTo>
                    <a:pt x="288" y="1170"/>
                  </a:lnTo>
                  <a:lnTo>
                    <a:pt x="286" y="1160"/>
                  </a:lnTo>
                  <a:lnTo>
                    <a:pt x="284" y="1150"/>
                  </a:lnTo>
                  <a:lnTo>
                    <a:pt x="282" y="1140"/>
                  </a:lnTo>
                  <a:lnTo>
                    <a:pt x="286" y="1126"/>
                  </a:lnTo>
                  <a:lnTo>
                    <a:pt x="286" y="1126"/>
                  </a:lnTo>
                  <a:lnTo>
                    <a:pt x="290" y="1116"/>
                  </a:lnTo>
                  <a:lnTo>
                    <a:pt x="294" y="1106"/>
                  </a:lnTo>
                  <a:lnTo>
                    <a:pt x="306" y="1086"/>
                  </a:lnTo>
                  <a:lnTo>
                    <a:pt x="340" y="1042"/>
                  </a:lnTo>
                  <a:lnTo>
                    <a:pt x="340" y="1042"/>
                  </a:lnTo>
                  <a:lnTo>
                    <a:pt x="354" y="1020"/>
                  </a:lnTo>
                  <a:lnTo>
                    <a:pt x="366" y="996"/>
                  </a:lnTo>
                  <a:lnTo>
                    <a:pt x="376" y="974"/>
                  </a:lnTo>
                  <a:lnTo>
                    <a:pt x="388" y="954"/>
                  </a:lnTo>
                  <a:lnTo>
                    <a:pt x="388" y="954"/>
                  </a:lnTo>
                  <a:lnTo>
                    <a:pt x="400" y="942"/>
                  </a:lnTo>
                  <a:lnTo>
                    <a:pt x="412" y="930"/>
                  </a:lnTo>
                  <a:lnTo>
                    <a:pt x="422" y="918"/>
                  </a:lnTo>
                  <a:lnTo>
                    <a:pt x="432" y="904"/>
                  </a:lnTo>
                  <a:lnTo>
                    <a:pt x="432" y="904"/>
                  </a:lnTo>
                  <a:lnTo>
                    <a:pt x="440" y="880"/>
                  </a:lnTo>
                  <a:lnTo>
                    <a:pt x="446" y="858"/>
                  </a:lnTo>
                  <a:lnTo>
                    <a:pt x="450" y="848"/>
                  </a:lnTo>
                  <a:lnTo>
                    <a:pt x="454" y="838"/>
                  </a:lnTo>
                  <a:lnTo>
                    <a:pt x="460" y="828"/>
                  </a:lnTo>
                  <a:lnTo>
                    <a:pt x="468" y="820"/>
                  </a:lnTo>
                  <a:lnTo>
                    <a:pt x="468" y="820"/>
                  </a:lnTo>
                  <a:lnTo>
                    <a:pt x="476" y="822"/>
                  </a:lnTo>
                  <a:lnTo>
                    <a:pt x="482" y="826"/>
                  </a:lnTo>
                  <a:lnTo>
                    <a:pt x="488" y="832"/>
                  </a:lnTo>
                  <a:lnTo>
                    <a:pt x="494" y="840"/>
                  </a:lnTo>
                  <a:lnTo>
                    <a:pt x="500" y="856"/>
                  </a:lnTo>
                  <a:lnTo>
                    <a:pt x="508" y="872"/>
                  </a:lnTo>
                  <a:lnTo>
                    <a:pt x="508" y="872"/>
                  </a:lnTo>
                  <a:lnTo>
                    <a:pt x="516" y="894"/>
                  </a:lnTo>
                  <a:lnTo>
                    <a:pt x="524" y="918"/>
                  </a:lnTo>
                  <a:lnTo>
                    <a:pt x="530" y="944"/>
                  </a:lnTo>
                  <a:lnTo>
                    <a:pt x="534" y="974"/>
                  </a:lnTo>
                  <a:lnTo>
                    <a:pt x="534" y="974"/>
                  </a:lnTo>
                  <a:lnTo>
                    <a:pt x="540" y="1002"/>
                  </a:lnTo>
                  <a:lnTo>
                    <a:pt x="550" y="1026"/>
                  </a:lnTo>
                  <a:lnTo>
                    <a:pt x="562" y="1048"/>
                  </a:lnTo>
                  <a:lnTo>
                    <a:pt x="574" y="1068"/>
                  </a:lnTo>
                  <a:lnTo>
                    <a:pt x="600" y="1110"/>
                  </a:lnTo>
                  <a:lnTo>
                    <a:pt x="612" y="1132"/>
                  </a:lnTo>
                  <a:lnTo>
                    <a:pt x="620" y="1154"/>
                  </a:lnTo>
                  <a:lnTo>
                    <a:pt x="620" y="1154"/>
                  </a:lnTo>
                  <a:lnTo>
                    <a:pt x="616" y="1160"/>
                  </a:lnTo>
                  <a:lnTo>
                    <a:pt x="616" y="1166"/>
                  </a:lnTo>
                  <a:lnTo>
                    <a:pt x="616" y="1166"/>
                  </a:lnTo>
                  <a:lnTo>
                    <a:pt x="610" y="1168"/>
                  </a:lnTo>
                  <a:lnTo>
                    <a:pt x="606" y="1172"/>
                  </a:lnTo>
                  <a:lnTo>
                    <a:pt x="602" y="1176"/>
                  </a:lnTo>
                  <a:lnTo>
                    <a:pt x="600" y="1180"/>
                  </a:lnTo>
                  <a:lnTo>
                    <a:pt x="598" y="1194"/>
                  </a:lnTo>
                  <a:lnTo>
                    <a:pt x="598" y="1208"/>
                  </a:lnTo>
                  <a:lnTo>
                    <a:pt x="598" y="1208"/>
                  </a:lnTo>
                  <a:lnTo>
                    <a:pt x="608" y="1218"/>
                  </a:lnTo>
                  <a:lnTo>
                    <a:pt x="618" y="1228"/>
                  </a:lnTo>
                  <a:lnTo>
                    <a:pt x="622" y="1234"/>
                  </a:lnTo>
                  <a:lnTo>
                    <a:pt x="624" y="1242"/>
                  </a:lnTo>
                  <a:lnTo>
                    <a:pt x="626" y="1250"/>
                  </a:lnTo>
                  <a:lnTo>
                    <a:pt x="626" y="1260"/>
                  </a:lnTo>
                  <a:lnTo>
                    <a:pt x="626" y="1260"/>
                  </a:lnTo>
                  <a:lnTo>
                    <a:pt x="628" y="1260"/>
                  </a:lnTo>
                  <a:lnTo>
                    <a:pt x="630" y="1256"/>
                  </a:lnTo>
                  <a:lnTo>
                    <a:pt x="628" y="1242"/>
                  </a:lnTo>
                  <a:lnTo>
                    <a:pt x="628" y="1230"/>
                  </a:lnTo>
                  <a:lnTo>
                    <a:pt x="630" y="1224"/>
                  </a:lnTo>
                  <a:lnTo>
                    <a:pt x="634" y="1220"/>
                  </a:lnTo>
                  <a:lnTo>
                    <a:pt x="634" y="1220"/>
                  </a:lnTo>
                  <a:lnTo>
                    <a:pt x="652" y="1228"/>
                  </a:lnTo>
                  <a:lnTo>
                    <a:pt x="668" y="1236"/>
                  </a:lnTo>
                  <a:lnTo>
                    <a:pt x="696" y="1258"/>
                  </a:lnTo>
                  <a:lnTo>
                    <a:pt x="696" y="1258"/>
                  </a:lnTo>
                  <a:lnTo>
                    <a:pt x="726" y="1258"/>
                  </a:lnTo>
                  <a:lnTo>
                    <a:pt x="752" y="1256"/>
                  </a:lnTo>
                  <a:lnTo>
                    <a:pt x="778" y="1250"/>
                  </a:lnTo>
                  <a:lnTo>
                    <a:pt x="788" y="1246"/>
                  </a:lnTo>
                  <a:lnTo>
                    <a:pt x="798" y="1242"/>
                  </a:lnTo>
                  <a:lnTo>
                    <a:pt x="798" y="1242"/>
                  </a:lnTo>
                  <a:lnTo>
                    <a:pt x="796" y="1238"/>
                  </a:lnTo>
                  <a:lnTo>
                    <a:pt x="790" y="1234"/>
                  </a:lnTo>
                  <a:lnTo>
                    <a:pt x="784" y="1234"/>
                  </a:lnTo>
                  <a:lnTo>
                    <a:pt x="776" y="1232"/>
                  </a:lnTo>
                  <a:lnTo>
                    <a:pt x="760" y="1234"/>
                  </a:lnTo>
                  <a:lnTo>
                    <a:pt x="744" y="1234"/>
                  </a:lnTo>
                  <a:lnTo>
                    <a:pt x="744" y="1234"/>
                  </a:lnTo>
                  <a:lnTo>
                    <a:pt x="740" y="1228"/>
                  </a:lnTo>
                  <a:lnTo>
                    <a:pt x="734" y="1224"/>
                  </a:lnTo>
                  <a:lnTo>
                    <a:pt x="728" y="1222"/>
                  </a:lnTo>
                  <a:lnTo>
                    <a:pt x="722" y="1218"/>
                  </a:lnTo>
                  <a:lnTo>
                    <a:pt x="722" y="1218"/>
                  </a:lnTo>
                  <a:lnTo>
                    <a:pt x="714" y="1208"/>
                  </a:lnTo>
                  <a:lnTo>
                    <a:pt x="704" y="1196"/>
                  </a:lnTo>
                  <a:lnTo>
                    <a:pt x="688" y="1168"/>
                  </a:lnTo>
                  <a:lnTo>
                    <a:pt x="672" y="1138"/>
                  </a:lnTo>
                  <a:lnTo>
                    <a:pt x="660" y="1106"/>
                  </a:lnTo>
                  <a:lnTo>
                    <a:pt x="634" y="1034"/>
                  </a:lnTo>
                  <a:lnTo>
                    <a:pt x="610" y="960"/>
                  </a:lnTo>
                  <a:lnTo>
                    <a:pt x="610" y="960"/>
                  </a:lnTo>
                  <a:lnTo>
                    <a:pt x="606" y="944"/>
                  </a:lnTo>
                  <a:lnTo>
                    <a:pt x="604" y="928"/>
                  </a:lnTo>
                  <a:lnTo>
                    <a:pt x="604" y="892"/>
                  </a:lnTo>
                  <a:lnTo>
                    <a:pt x="602" y="874"/>
                  </a:lnTo>
                  <a:lnTo>
                    <a:pt x="600" y="858"/>
                  </a:lnTo>
                  <a:lnTo>
                    <a:pt x="596" y="842"/>
                  </a:lnTo>
                  <a:lnTo>
                    <a:pt x="588" y="828"/>
                  </a:lnTo>
                  <a:lnTo>
                    <a:pt x="588" y="828"/>
                  </a:lnTo>
                  <a:lnTo>
                    <a:pt x="590" y="824"/>
                  </a:lnTo>
                  <a:lnTo>
                    <a:pt x="592" y="824"/>
                  </a:lnTo>
                  <a:lnTo>
                    <a:pt x="596" y="822"/>
                  </a:lnTo>
                  <a:lnTo>
                    <a:pt x="598" y="820"/>
                  </a:lnTo>
                  <a:lnTo>
                    <a:pt x="598" y="820"/>
                  </a:lnTo>
                  <a:lnTo>
                    <a:pt x="594" y="790"/>
                  </a:lnTo>
                  <a:lnTo>
                    <a:pt x="588" y="762"/>
                  </a:lnTo>
                  <a:lnTo>
                    <a:pt x="580" y="736"/>
                  </a:lnTo>
                  <a:lnTo>
                    <a:pt x="572" y="710"/>
                  </a:lnTo>
                  <a:lnTo>
                    <a:pt x="562" y="686"/>
                  </a:lnTo>
                  <a:lnTo>
                    <a:pt x="556" y="660"/>
                  </a:lnTo>
                  <a:lnTo>
                    <a:pt x="550" y="632"/>
                  </a:lnTo>
                  <a:lnTo>
                    <a:pt x="550" y="604"/>
                  </a:lnTo>
                  <a:lnTo>
                    <a:pt x="550" y="604"/>
                  </a:lnTo>
                  <a:lnTo>
                    <a:pt x="550" y="600"/>
                  </a:lnTo>
                  <a:lnTo>
                    <a:pt x="552" y="596"/>
                  </a:lnTo>
                  <a:lnTo>
                    <a:pt x="562" y="586"/>
                  </a:lnTo>
                  <a:lnTo>
                    <a:pt x="562" y="586"/>
                  </a:lnTo>
                  <a:lnTo>
                    <a:pt x="566" y="564"/>
                  </a:lnTo>
                  <a:lnTo>
                    <a:pt x="570" y="540"/>
                  </a:lnTo>
                  <a:lnTo>
                    <a:pt x="570" y="540"/>
                  </a:lnTo>
                  <a:lnTo>
                    <a:pt x="586" y="548"/>
                  </a:lnTo>
                  <a:lnTo>
                    <a:pt x="600" y="556"/>
                  </a:lnTo>
                  <a:lnTo>
                    <a:pt x="612" y="564"/>
                  </a:lnTo>
                  <a:lnTo>
                    <a:pt x="620" y="568"/>
                  </a:lnTo>
                  <a:lnTo>
                    <a:pt x="628" y="570"/>
                  </a:lnTo>
                  <a:lnTo>
                    <a:pt x="628" y="570"/>
                  </a:lnTo>
                  <a:lnTo>
                    <a:pt x="630" y="564"/>
                  </a:lnTo>
                  <a:lnTo>
                    <a:pt x="630" y="564"/>
                  </a:lnTo>
                  <a:lnTo>
                    <a:pt x="630" y="562"/>
                  </a:lnTo>
                  <a:lnTo>
                    <a:pt x="632" y="560"/>
                  </a:lnTo>
                  <a:lnTo>
                    <a:pt x="636" y="554"/>
                  </a:lnTo>
                  <a:lnTo>
                    <a:pt x="636" y="554"/>
                  </a:lnTo>
                  <a:lnTo>
                    <a:pt x="650" y="562"/>
                  </a:lnTo>
                  <a:lnTo>
                    <a:pt x="658" y="566"/>
                  </a:lnTo>
                  <a:lnTo>
                    <a:pt x="666" y="566"/>
                  </a:lnTo>
                  <a:lnTo>
                    <a:pt x="682" y="578"/>
                  </a:lnTo>
                  <a:lnTo>
                    <a:pt x="682" y="578"/>
                  </a:lnTo>
                  <a:lnTo>
                    <a:pt x="686" y="588"/>
                  </a:lnTo>
                  <a:lnTo>
                    <a:pt x="688" y="594"/>
                  </a:lnTo>
                  <a:lnTo>
                    <a:pt x="690" y="594"/>
                  </a:lnTo>
                  <a:lnTo>
                    <a:pt x="690" y="594"/>
                  </a:lnTo>
                  <a:lnTo>
                    <a:pt x="702" y="576"/>
                  </a:lnTo>
                  <a:lnTo>
                    <a:pt x="700" y="540"/>
                  </a:lnTo>
                  <a:lnTo>
                    <a:pt x="678" y="520"/>
                  </a:lnTo>
                  <a:lnTo>
                    <a:pt x="678" y="520"/>
                  </a:lnTo>
                  <a:lnTo>
                    <a:pt x="652" y="512"/>
                  </a:lnTo>
                  <a:lnTo>
                    <a:pt x="652" y="512"/>
                  </a:lnTo>
                  <a:lnTo>
                    <a:pt x="652" y="508"/>
                  </a:lnTo>
                  <a:lnTo>
                    <a:pt x="650" y="506"/>
                  </a:lnTo>
                  <a:lnTo>
                    <a:pt x="650" y="506"/>
                  </a:lnTo>
                  <a:lnTo>
                    <a:pt x="632" y="498"/>
                  </a:lnTo>
                  <a:lnTo>
                    <a:pt x="614" y="490"/>
                  </a:lnTo>
                  <a:lnTo>
                    <a:pt x="580" y="476"/>
                  </a:lnTo>
                  <a:lnTo>
                    <a:pt x="580" y="476"/>
                  </a:lnTo>
                  <a:lnTo>
                    <a:pt x="580" y="424"/>
                  </a:lnTo>
                  <a:lnTo>
                    <a:pt x="578" y="400"/>
                  </a:lnTo>
                  <a:lnTo>
                    <a:pt x="574" y="380"/>
                  </a:lnTo>
                  <a:lnTo>
                    <a:pt x="568" y="360"/>
                  </a:lnTo>
                  <a:lnTo>
                    <a:pt x="558" y="340"/>
                  </a:lnTo>
                  <a:lnTo>
                    <a:pt x="544" y="320"/>
                  </a:lnTo>
                  <a:lnTo>
                    <a:pt x="526" y="298"/>
                  </a:lnTo>
                  <a:lnTo>
                    <a:pt x="526" y="298"/>
                  </a:lnTo>
                  <a:lnTo>
                    <a:pt x="502" y="250"/>
                  </a:lnTo>
                  <a:lnTo>
                    <a:pt x="488" y="224"/>
                  </a:lnTo>
                  <a:lnTo>
                    <a:pt x="476" y="204"/>
                  </a:lnTo>
                  <a:lnTo>
                    <a:pt x="476" y="204"/>
                  </a:lnTo>
                  <a:lnTo>
                    <a:pt x="478" y="188"/>
                  </a:lnTo>
                  <a:lnTo>
                    <a:pt x="478" y="188"/>
                  </a:lnTo>
                  <a:lnTo>
                    <a:pt x="478" y="184"/>
                  </a:lnTo>
                  <a:lnTo>
                    <a:pt x="478" y="184"/>
                  </a:lnTo>
                  <a:lnTo>
                    <a:pt x="488" y="188"/>
                  </a:lnTo>
                  <a:lnTo>
                    <a:pt x="488" y="188"/>
                  </a:lnTo>
                  <a:lnTo>
                    <a:pt x="502" y="190"/>
                  </a:lnTo>
                  <a:lnTo>
                    <a:pt x="504" y="190"/>
                  </a:lnTo>
                  <a:lnTo>
                    <a:pt x="506" y="188"/>
                  </a:lnTo>
                  <a:lnTo>
                    <a:pt x="506" y="188"/>
                  </a:lnTo>
                  <a:lnTo>
                    <a:pt x="508" y="186"/>
                  </a:lnTo>
                  <a:lnTo>
                    <a:pt x="508" y="180"/>
                  </a:lnTo>
                  <a:lnTo>
                    <a:pt x="508" y="180"/>
                  </a:lnTo>
                  <a:lnTo>
                    <a:pt x="510" y="176"/>
                  </a:lnTo>
                  <a:lnTo>
                    <a:pt x="514" y="172"/>
                  </a:lnTo>
                  <a:lnTo>
                    <a:pt x="514" y="172"/>
                  </a:lnTo>
                  <a:lnTo>
                    <a:pt x="518" y="170"/>
                  </a:lnTo>
                  <a:lnTo>
                    <a:pt x="518" y="166"/>
                  </a:lnTo>
                  <a:lnTo>
                    <a:pt x="518" y="166"/>
                  </a:lnTo>
                  <a:lnTo>
                    <a:pt x="518" y="162"/>
                  </a:lnTo>
                  <a:lnTo>
                    <a:pt x="520" y="160"/>
                  </a:lnTo>
                  <a:lnTo>
                    <a:pt x="520" y="160"/>
                  </a:lnTo>
                  <a:lnTo>
                    <a:pt x="522" y="160"/>
                  </a:lnTo>
                  <a:lnTo>
                    <a:pt x="522" y="158"/>
                  </a:lnTo>
                  <a:lnTo>
                    <a:pt x="522" y="152"/>
                  </a:lnTo>
                  <a:lnTo>
                    <a:pt x="522" y="152"/>
                  </a:lnTo>
                  <a:lnTo>
                    <a:pt x="522" y="150"/>
                  </a:lnTo>
                  <a:lnTo>
                    <a:pt x="526" y="146"/>
                  </a:lnTo>
                  <a:lnTo>
                    <a:pt x="534" y="142"/>
                  </a:lnTo>
                  <a:lnTo>
                    <a:pt x="534" y="142"/>
                  </a:lnTo>
                  <a:lnTo>
                    <a:pt x="536" y="140"/>
                  </a:lnTo>
                  <a:lnTo>
                    <a:pt x="536" y="138"/>
                  </a:lnTo>
                  <a:lnTo>
                    <a:pt x="534" y="130"/>
                  </a:lnTo>
                  <a:lnTo>
                    <a:pt x="526" y="116"/>
                  </a:lnTo>
                  <a:lnTo>
                    <a:pt x="526" y="116"/>
                  </a:lnTo>
                  <a:lnTo>
                    <a:pt x="526" y="112"/>
                  </a:lnTo>
                  <a:lnTo>
                    <a:pt x="526" y="106"/>
                  </a:lnTo>
                  <a:lnTo>
                    <a:pt x="528" y="92"/>
                  </a:lnTo>
                  <a:lnTo>
                    <a:pt x="528" y="92"/>
                  </a:lnTo>
                  <a:lnTo>
                    <a:pt x="528" y="80"/>
                  </a:lnTo>
                  <a:lnTo>
                    <a:pt x="524" y="66"/>
                  </a:lnTo>
                  <a:lnTo>
                    <a:pt x="518" y="52"/>
                  </a:lnTo>
                  <a:lnTo>
                    <a:pt x="514" y="44"/>
                  </a:lnTo>
                  <a:lnTo>
                    <a:pt x="514" y="44"/>
                  </a:lnTo>
                  <a:lnTo>
                    <a:pt x="510" y="36"/>
                  </a:lnTo>
                  <a:lnTo>
                    <a:pt x="510" y="36"/>
                  </a:lnTo>
                  <a:lnTo>
                    <a:pt x="508" y="34"/>
                  </a:lnTo>
                  <a:lnTo>
                    <a:pt x="504" y="30"/>
                  </a:lnTo>
                  <a:lnTo>
                    <a:pt x="504" y="30"/>
                  </a:lnTo>
                  <a:lnTo>
                    <a:pt x="504" y="28"/>
                  </a:lnTo>
                  <a:lnTo>
                    <a:pt x="500" y="26"/>
                  </a:lnTo>
                  <a:lnTo>
                    <a:pt x="500" y="26"/>
                  </a:lnTo>
                  <a:lnTo>
                    <a:pt x="498" y="24"/>
                  </a:lnTo>
                  <a:lnTo>
                    <a:pt x="498" y="24"/>
                  </a:lnTo>
                  <a:lnTo>
                    <a:pt x="486" y="16"/>
                  </a:lnTo>
                  <a:lnTo>
                    <a:pt x="474" y="8"/>
                  </a:lnTo>
                  <a:lnTo>
                    <a:pt x="474" y="8"/>
                  </a:lnTo>
                  <a:lnTo>
                    <a:pt x="458" y="2"/>
                  </a:lnTo>
                  <a:lnTo>
                    <a:pt x="458" y="2"/>
                  </a:lnTo>
                  <a:lnTo>
                    <a:pt x="448" y="0"/>
                  </a:lnTo>
                  <a:lnTo>
                    <a:pt x="436" y="0"/>
                  </a:lnTo>
                  <a:lnTo>
                    <a:pt x="436" y="0"/>
                  </a:lnTo>
                  <a:lnTo>
                    <a:pt x="432" y="0"/>
                  </a:lnTo>
                  <a:lnTo>
                    <a:pt x="432" y="0"/>
                  </a:lnTo>
                  <a:lnTo>
                    <a:pt x="416" y="4"/>
                  </a:lnTo>
                  <a:lnTo>
                    <a:pt x="410" y="8"/>
                  </a:lnTo>
                  <a:lnTo>
                    <a:pt x="410" y="8"/>
                  </a:lnTo>
                  <a:lnTo>
                    <a:pt x="404" y="10"/>
                  </a:lnTo>
                  <a:lnTo>
                    <a:pt x="400" y="14"/>
                  </a:lnTo>
                  <a:lnTo>
                    <a:pt x="396" y="16"/>
                  </a:lnTo>
                  <a:lnTo>
                    <a:pt x="392" y="18"/>
                  </a:lnTo>
                  <a:lnTo>
                    <a:pt x="392" y="18"/>
                  </a:lnTo>
                  <a:lnTo>
                    <a:pt x="390" y="20"/>
                  </a:lnTo>
                  <a:lnTo>
                    <a:pt x="388" y="26"/>
                  </a:lnTo>
                  <a:lnTo>
                    <a:pt x="388" y="26"/>
                  </a:lnTo>
                  <a:lnTo>
                    <a:pt x="382" y="28"/>
                  </a:lnTo>
                  <a:lnTo>
                    <a:pt x="380" y="34"/>
                  </a:lnTo>
                  <a:lnTo>
                    <a:pt x="380" y="34"/>
                  </a:lnTo>
                  <a:lnTo>
                    <a:pt x="374" y="36"/>
                  </a:lnTo>
                  <a:lnTo>
                    <a:pt x="360" y="46"/>
                  </a:lnTo>
                  <a:lnTo>
                    <a:pt x="354" y="52"/>
                  </a:lnTo>
                  <a:lnTo>
                    <a:pt x="348" y="60"/>
                  </a:lnTo>
                  <a:lnTo>
                    <a:pt x="344" y="70"/>
                  </a:lnTo>
                  <a:lnTo>
                    <a:pt x="346" y="80"/>
                  </a:lnTo>
                  <a:lnTo>
                    <a:pt x="346" y="80"/>
                  </a:lnTo>
                  <a:lnTo>
                    <a:pt x="346" y="82"/>
                  </a:lnTo>
                  <a:lnTo>
                    <a:pt x="346" y="82"/>
                  </a:lnTo>
                  <a:lnTo>
                    <a:pt x="346" y="82"/>
                  </a:lnTo>
                  <a:lnTo>
                    <a:pt x="348" y="92"/>
                  </a:lnTo>
                  <a:lnTo>
                    <a:pt x="348" y="100"/>
                  </a:lnTo>
                  <a:lnTo>
                    <a:pt x="346" y="106"/>
                  </a:lnTo>
                  <a:lnTo>
                    <a:pt x="346" y="106"/>
                  </a:lnTo>
                  <a:lnTo>
                    <a:pt x="330" y="120"/>
                  </a:lnTo>
                  <a:lnTo>
                    <a:pt x="318" y="134"/>
                  </a:lnTo>
                  <a:lnTo>
                    <a:pt x="314" y="140"/>
                  </a:lnTo>
                  <a:lnTo>
                    <a:pt x="312" y="144"/>
                  </a:lnTo>
                  <a:lnTo>
                    <a:pt x="312" y="144"/>
                  </a:lnTo>
                  <a:lnTo>
                    <a:pt x="324" y="130"/>
                  </a:lnTo>
                  <a:lnTo>
                    <a:pt x="334" y="120"/>
                  </a:lnTo>
                  <a:lnTo>
                    <a:pt x="340" y="118"/>
                  </a:lnTo>
                  <a:lnTo>
                    <a:pt x="344" y="116"/>
                  </a:lnTo>
                  <a:lnTo>
                    <a:pt x="344" y="116"/>
                  </a:lnTo>
                  <a:lnTo>
                    <a:pt x="336" y="130"/>
                  </a:lnTo>
                  <a:lnTo>
                    <a:pt x="332" y="140"/>
                  </a:lnTo>
                  <a:lnTo>
                    <a:pt x="332" y="144"/>
                  </a:lnTo>
                  <a:lnTo>
                    <a:pt x="332" y="148"/>
                  </a:lnTo>
                  <a:lnTo>
                    <a:pt x="332" y="148"/>
                  </a:lnTo>
                  <a:lnTo>
                    <a:pt x="328" y="164"/>
                  </a:lnTo>
                  <a:lnTo>
                    <a:pt x="324" y="178"/>
                  </a:lnTo>
                  <a:lnTo>
                    <a:pt x="326" y="184"/>
                  </a:lnTo>
                  <a:lnTo>
                    <a:pt x="326" y="188"/>
                  </a:lnTo>
                  <a:lnTo>
                    <a:pt x="326" y="188"/>
                  </a:lnTo>
                  <a:lnTo>
                    <a:pt x="326" y="192"/>
                  </a:lnTo>
                  <a:lnTo>
                    <a:pt x="320" y="198"/>
                  </a:lnTo>
                  <a:lnTo>
                    <a:pt x="312" y="204"/>
                  </a:lnTo>
                  <a:lnTo>
                    <a:pt x="306" y="208"/>
                  </a:lnTo>
                  <a:lnTo>
                    <a:pt x="300" y="210"/>
                  </a:lnTo>
                  <a:lnTo>
                    <a:pt x="300" y="210"/>
                  </a:lnTo>
                  <a:lnTo>
                    <a:pt x="324" y="206"/>
                  </a:lnTo>
                  <a:lnTo>
                    <a:pt x="324" y="206"/>
                  </a:lnTo>
                  <a:lnTo>
                    <a:pt x="322" y="212"/>
                  </a:lnTo>
                  <a:lnTo>
                    <a:pt x="322" y="218"/>
                  </a:lnTo>
                  <a:lnTo>
                    <a:pt x="324" y="222"/>
                  </a:lnTo>
                  <a:lnTo>
                    <a:pt x="324" y="222"/>
                  </a:lnTo>
                  <a:lnTo>
                    <a:pt x="324" y="224"/>
                  </a:lnTo>
                  <a:lnTo>
                    <a:pt x="324" y="224"/>
                  </a:lnTo>
                  <a:lnTo>
                    <a:pt x="326" y="234"/>
                  </a:lnTo>
                  <a:lnTo>
                    <a:pt x="330" y="256"/>
                  </a:lnTo>
                  <a:lnTo>
                    <a:pt x="330" y="266"/>
                  </a:lnTo>
                  <a:lnTo>
                    <a:pt x="328" y="276"/>
                  </a:lnTo>
                  <a:lnTo>
                    <a:pt x="324" y="280"/>
                  </a:lnTo>
                  <a:lnTo>
                    <a:pt x="322" y="284"/>
                  </a:lnTo>
                  <a:lnTo>
                    <a:pt x="318" y="286"/>
                  </a:lnTo>
                  <a:lnTo>
                    <a:pt x="312" y="288"/>
                  </a:lnTo>
                  <a:lnTo>
                    <a:pt x="312" y="288"/>
                  </a:lnTo>
                  <a:lnTo>
                    <a:pt x="322" y="302"/>
                  </a:lnTo>
                  <a:lnTo>
                    <a:pt x="338" y="328"/>
                  </a:lnTo>
                  <a:lnTo>
                    <a:pt x="338" y="328"/>
                  </a:lnTo>
                  <a:lnTo>
                    <a:pt x="322" y="364"/>
                  </a:lnTo>
                  <a:lnTo>
                    <a:pt x="312" y="382"/>
                  </a:lnTo>
                  <a:lnTo>
                    <a:pt x="300" y="398"/>
                  </a:lnTo>
                  <a:lnTo>
                    <a:pt x="300" y="398"/>
                  </a:lnTo>
                  <a:lnTo>
                    <a:pt x="296" y="420"/>
                  </a:lnTo>
                  <a:lnTo>
                    <a:pt x="290" y="438"/>
                  </a:lnTo>
                  <a:lnTo>
                    <a:pt x="282" y="456"/>
                  </a:lnTo>
                  <a:lnTo>
                    <a:pt x="274" y="474"/>
                  </a:lnTo>
                  <a:lnTo>
                    <a:pt x="266" y="490"/>
                  </a:lnTo>
                  <a:lnTo>
                    <a:pt x="258" y="508"/>
                  </a:lnTo>
                  <a:lnTo>
                    <a:pt x="250" y="528"/>
                  </a:lnTo>
                  <a:lnTo>
                    <a:pt x="246" y="550"/>
                  </a:lnTo>
                  <a:lnTo>
                    <a:pt x="246" y="550"/>
                  </a:lnTo>
                  <a:lnTo>
                    <a:pt x="230" y="580"/>
                  </a:lnTo>
                  <a:lnTo>
                    <a:pt x="220" y="606"/>
                  </a:lnTo>
                  <a:lnTo>
                    <a:pt x="212" y="626"/>
                  </a:lnTo>
                  <a:lnTo>
                    <a:pt x="206" y="636"/>
                  </a:lnTo>
                  <a:lnTo>
                    <a:pt x="206" y="636"/>
                  </a:lnTo>
                  <a:lnTo>
                    <a:pt x="204" y="640"/>
                  </a:lnTo>
                  <a:lnTo>
                    <a:pt x="202" y="648"/>
                  </a:lnTo>
                  <a:lnTo>
                    <a:pt x="200" y="652"/>
                  </a:lnTo>
                  <a:lnTo>
                    <a:pt x="200" y="652"/>
                  </a:lnTo>
                  <a:lnTo>
                    <a:pt x="188" y="662"/>
                  </a:lnTo>
                  <a:lnTo>
                    <a:pt x="176" y="672"/>
                  </a:lnTo>
                  <a:lnTo>
                    <a:pt x="168" y="684"/>
                  </a:lnTo>
                  <a:lnTo>
                    <a:pt x="160" y="698"/>
                  </a:lnTo>
                  <a:lnTo>
                    <a:pt x="160" y="698"/>
                  </a:lnTo>
                  <a:lnTo>
                    <a:pt x="132" y="696"/>
                  </a:lnTo>
                  <a:lnTo>
                    <a:pt x="108" y="698"/>
                  </a:lnTo>
                  <a:lnTo>
                    <a:pt x="96" y="700"/>
                  </a:lnTo>
                  <a:lnTo>
                    <a:pt x="88" y="704"/>
                  </a:lnTo>
                  <a:lnTo>
                    <a:pt x="80" y="708"/>
                  </a:lnTo>
                  <a:lnTo>
                    <a:pt x="72" y="714"/>
                  </a:lnTo>
                  <a:lnTo>
                    <a:pt x="66" y="720"/>
                  </a:lnTo>
                  <a:lnTo>
                    <a:pt x="60" y="728"/>
                  </a:lnTo>
                  <a:lnTo>
                    <a:pt x="50" y="746"/>
                  </a:lnTo>
                  <a:lnTo>
                    <a:pt x="42" y="768"/>
                  </a:lnTo>
                  <a:lnTo>
                    <a:pt x="36" y="792"/>
                  </a:lnTo>
                  <a:lnTo>
                    <a:pt x="36" y="792"/>
                  </a:lnTo>
                  <a:lnTo>
                    <a:pt x="30" y="812"/>
                  </a:lnTo>
                  <a:lnTo>
                    <a:pt x="24" y="830"/>
                  </a:lnTo>
                  <a:lnTo>
                    <a:pt x="10" y="862"/>
                  </a:lnTo>
                  <a:lnTo>
                    <a:pt x="6" y="878"/>
                  </a:lnTo>
                  <a:lnTo>
                    <a:pt x="2" y="894"/>
                  </a:lnTo>
                  <a:lnTo>
                    <a:pt x="0" y="910"/>
                  </a:lnTo>
                  <a:lnTo>
                    <a:pt x="2" y="926"/>
                  </a:lnTo>
                  <a:lnTo>
                    <a:pt x="2" y="926"/>
                  </a:lnTo>
                  <a:lnTo>
                    <a:pt x="32" y="942"/>
                  </a:lnTo>
                  <a:lnTo>
                    <a:pt x="64" y="956"/>
                  </a:lnTo>
                  <a:lnTo>
                    <a:pt x="96" y="970"/>
                  </a:lnTo>
                  <a:lnTo>
                    <a:pt x="128" y="982"/>
                  </a:lnTo>
                  <a:lnTo>
                    <a:pt x="198" y="1004"/>
                  </a:lnTo>
                  <a:lnTo>
                    <a:pt x="268" y="1024"/>
                  </a:lnTo>
                  <a:lnTo>
                    <a:pt x="268" y="1024"/>
                  </a:lnTo>
                  <a:lnTo>
                    <a:pt x="270" y="1026"/>
                  </a:lnTo>
                  <a:lnTo>
                    <a:pt x="270" y="1028"/>
                  </a:lnTo>
                  <a:lnTo>
                    <a:pt x="268" y="1038"/>
                  </a:lnTo>
                  <a:lnTo>
                    <a:pt x="268" y="1038"/>
                  </a:lnTo>
                  <a:close/>
                  <a:moveTo>
                    <a:pt x="258" y="668"/>
                  </a:moveTo>
                  <a:lnTo>
                    <a:pt x="258" y="668"/>
                  </a:lnTo>
                  <a:lnTo>
                    <a:pt x="258" y="662"/>
                  </a:lnTo>
                  <a:lnTo>
                    <a:pt x="258" y="662"/>
                  </a:lnTo>
                  <a:lnTo>
                    <a:pt x="262" y="660"/>
                  </a:lnTo>
                  <a:lnTo>
                    <a:pt x="264" y="658"/>
                  </a:lnTo>
                  <a:lnTo>
                    <a:pt x="266" y="654"/>
                  </a:lnTo>
                  <a:lnTo>
                    <a:pt x="264" y="650"/>
                  </a:lnTo>
                  <a:lnTo>
                    <a:pt x="264" y="650"/>
                  </a:lnTo>
                  <a:lnTo>
                    <a:pt x="266" y="640"/>
                  </a:lnTo>
                  <a:lnTo>
                    <a:pt x="268" y="638"/>
                  </a:lnTo>
                  <a:lnTo>
                    <a:pt x="268" y="638"/>
                  </a:lnTo>
                  <a:lnTo>
                    <a:pt x="274" y="640"/>
                  </a:lnTo>
                  <a:lnTo>
                    <a:pt x="282" y="640"/>
                  </a:lnTo>
                  <a:lnTo>
                    <a:pt x="282" y="640"/>
                  </a:lnTo>
                  <a:lnTo>
                    <a:pt x="284" y="630"/>
                  </a:lnTo>
                  <a:lnTo>
                    <a:pt x="286" y="622"/>
                  </a:lnTo>
                  <a:lnTo>
                    <a:pt x="294" y="606"/>
                  </a:lnTo>
                  <a:lnTo>
                    <a:pt x="302" y="590"/>
                  </a:lnTo>
                  <a:lnTo>
                    <a:pt x="310" y="574"/>
                  </a:lnTo>
                  <a:lnTo>
                    <a:pt x="310" y="574"/>
                  </a:lnTo>
                  <a:lnTo>
                    <a:pt x="346" y="576"/>
                  </a:lnTo>
                  <a:lnTo>
                    <a:pt x="360" y="578"/>
                  </a:lnTo>
                  <a:lnTo>
                    <a:pt x="364" y="578"/>
                  </a:lnTo>
                  <a:lnTo>
                    <a:pt x="364" y="580"/>
                  </a:lnTo>
                  <a:lnTo>
                    <a:pt x="364" y="580"/>
                  </a:lnTo>
                  <a:lnTo>
                    <a:pt x="364" y="602"/>
                  </a:lnTo>
                  <a:lnTo>
                    <a:pt x="362" y="616"/>
                  </a:lnTo>
                  <a:lnTo>
                    <a:pt x="360" y="626"/>
                  </a:lnTo>
                  <a:lnTo>
                    <a:pt x="356" y="638"/>
                  </a:lnTo>
                  <a:lnTo>
                    <a:pt x="356" y="638"/>
                  </a:lnTo>
                  <a:lnTo>
                    <a:pt x="348" y="654"/>
                  </a:lnTo>
                  <a:lnTo>
                    <a:pt x="344" y="670"/>
                  </a:lnTo>
                  <a:lnTo>
                    <a:pt x="340" y="688"/>
                  </a:lnTo>
                  <a:lnTo>
                    <a:pt x="338" y="708"/>
                  </a:lnTo>
                  <a:lnTo>
                    <a:pt x="336" y="744"/>
                  </a:lnTo>
                  <a:lnTo>
                    <a:pt x="336" y="774"/>
                  </a:lnTo>
                  <a:lnTo>
                    <a:pt x="336" y="774"/>
                  </a:lnTo>
                  <a:lnTo>
                    <a:pt x="336" y="776"/>
                  </a:lnTo>
                  <a:lnTo>
                    <a:pt x="332" y="776"/>
                  </a:lnTo>
                  <a:lnTo>
                    <a:pt x="318" y="768"/>
                  </a:lnTo>
                  <a:lnTo>
                    <a:pt x="302" y="756"/>
                  </a:lnTo>
                  <a:lnTo>
                    <a:pt x="288" y="744"/>
                  </a:lnTo>
                  <a:lnTo>
                    <a:pt x="288" y="744"/>
                  </a:lnTo>
                  <a:lnTo>
                    <a:pt x="282" y="718"/>
                  </a:lnTo>
                  <a:lnTo>
                    <a:pt x="276" y="698"/>
                  </a:lnTo>
                  <a:lnTo>
                    <a:pt x="268" y="684"/>
                  </a:lnTo>
                  <a:lnTo>
                    <a:pt x="258" y="668"/>
                  </a:lnTo>
                  <a:lnTo>
                    <a:pt x="258" y="6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22">
              <a:extLst>
                <a:ext uri="{FF2B5EF4-FFF2-40B4-BE49-F238E27FC236}">
                  <a16:creationId xmlns:a16="http://schemas.microsoft.com/office/drawing/2014/main" id="{FCFD7EE4-4FDA-4142-BA70-8FA03EED346C}"/>
                </a:ext>
              </a:extLst>
            </p:cNvPr>
            <p:cNvSpPr>
              <a:spLocks/>
            </p:cNvSpPr>
            <p:nvPr/>
          </p:nvSpPr>
          <p:spPr bwMode="auto">
            <a:xfrm>
              <a:off x="3924394" y="3924647"/>
              <a:ext cx="7027" cy="0"/>
            </a:xfrm>
            <a:custGeom>
              <a:avLst/>
              <a:gdLst>
                <a:gd name="T0" fmla="*/ 6 w 6"/>
                <a:gd name="T1" fmla="*/ 6 w 6"/>
                <a:gd name="T2" fmla="*/ 0 w 6"/>
                <a:gd name="T3" fmla="*/ 0 w 6"/>
                <a:gd name="T4" fmla="*/ 6 w 6"/>
                <a:gd name="T5" fmla="*/ 6 w 6"/>
              </a:gdLst>
              <a:ahLst/>
              <a:cxnLst>
                <a:cxn ang="0">
                  <a:pos x="T0" y="0"/>
                </a:cxn>
                <a:cxn ang="0">
                  <a:pos x="T1" y="0"/>
                </a:cxn>
                <a:cxn ang="0">
                  <a:pos x="T2" y="0"/>
                </a:cxn>
                <a:cxn ang="0">
                  <a:pos x="T3" y="0"/>
                </a:cxn>
                <a:cxn ang="0">
                  <a:pos x="T4" y="0"/>
                </a:cxn>
                <a:cxn ang="0">
                  <a:pos x="T5" y="0"/>
                </a:cxn>
              </a:cxnLst>
              <a:rect l="0" t="0" r="r" b="b"/>
              <a:pathLst>
                <a:path w="6">
                  <a:moveTo>
                    <a:pt x="6" y="0"/>
                  </a:moveTo>
                  <a:lnTo>
                    <a:pt x="6" y="0"/>
                  </a:lnTo>
                  <a:lnTo>
                    <a:pt x="0" y="0"/>
                  </a:lnTo>
                  <a:lnTo>
                    <a:pt x="0" y="0"/>
                  </a:lnTo>
                  <a:lnTo>
                    <a:pt x="6" y="0"/>
                  </a:lnTo>
                  <a:lnTo>
                    <a:pt x="6"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23">
              <a:extLst>
                <a:ext uri="{FF2B5EF4-FFF2-40B4-BE49-F238E27FC236}">
                  <a16:creationId xmlns:a16="http://schemas.microsoft.com/office/drawing/2014/main" id="{58748EB7-0FAC-4E04-A9D1-105714FD6BB9}"/>
                </a:ext>
              </a:extLst>
            </p:cNvPr>
            <p:cNvSpPr>
              <a:spLocks/>
            </p:cNvSpPr>
            <p:nvPr/>
          </p:nvSpPr>
          <p:spPr bwMode="auto">
            <a:xfrm>
              <a:off x="3971241" y="4561373"/>
              <a:ext cx="32793" cy="100722"/>
            </a:xfrm>
            <a:custGeom>
              <a:avLst/>
              <a:gdLst>
                <a:gd name="T0" fmla="*/ 22 w 28"/>
                <a:gd name="T1" fmla="*/ 16 h 86"/>
                <a:gd name="T2" fmla="*/ 22 w 28"/>
                <a:gd name="T3" fmla="*/ 16 h 86"/>
                <a:gd name="T4" fmla="*/ 20 w 28"/>
                <a:gd name="T5" fmla="*/ 32 h 86"/>
                <a:gd name="T6" fmla="*/ 18 w 28"/>
                <a:gd name="T7" fmla="*/ 42 h 86"/>
                <a:gd name="T8" fmla="*/ 12 w 28"/>
                <a:gd name="T9" fmla="*/ 50 h 86"/>
                <a:gd name="T10" fmla="*/ 6 w 28"/>
                <a:gd name="T11" fmla="*/ 66 h 86"/>
                <a:gd name="T12" fmla="*/ 6 w 28"/>
                <a:gd name="T13" fmla="*/ 66 h 86"/>
                <a:gd name="T14" fmla="*/ 0 w 28"/>
                <a:gd name="T15" fmla="*/ 82 h 86"/>
                <a:gd name="T16" fmla="*/ 0 w 28"/>
                <a:gd name="T17" fmla="*/ 86 h 86"/>
                <a:gd name="T18" fmla="*/ 0 w 28"/>
                <a:gd name="T19" fmla="*/ 86 h 86"/>
                <a:gd name="T20" fmla="*/ 8 w 28"/>
                <a:gd name="T21" fmla="*/ 76 h 86"/>
                <a:gd name="T22" fmla="*/ 8 w 28"/>
                <a:gd name="T23" fmla="*/ 76 h 86"/>
                <a:gd name="T24" fmla="*/ 16 w 28"/>
                <a:gd name="T25" fmla="*/ 58 h 86"/>
                <a:gd name="T26" fmla="*/ 24 w 28"/>
                <a:gd name="T27" fmla="*/ 34 h 86"/>
                <a:gd name="T28" fmla="*/ 28 w 28"/>
                <a:gd name="T29" fmla="*/ 10 h 86"/>
                <a:gd name="T30" fmla="*/ 28 w 28"/>
                <a:gd name="T31" fmla="*/ 4 h 86"/>
                <a:gd name="T32" fmla="*/ 26 w 28"/>
                <a:gd name="T33" fmla="*/ 2 h 86"/>
                <a:gd name="T34" fmla="*/ 24 w 28"/>
                <a:gd name="T35" fmla="*/ 0 h 86"/>
                <a:gd name="T36" fmla="*/ 24 w 28"/>
                <a:gd name="T37" fmla="*/ 0 h 86"/>
                <a:gd name="T38" fmla="*/ 18 w 28"/>
                <a:gd name="T39" fmla="*/ 0 h 86"/>
                <a:gd name="T40" fmla="*/ 16 w 28"/>
                <a:gd name="T41" fmla="*/ 0 h 86"/>
                <a:gd name="T42" fmla="*/ 16 w 28"/>
                <a:gd name="T43" fmla="*/ 2 h 86"/>
                <a:gd name="T44" fmla="*/ 20 w 28"/>
                <a:gd name="T45" fmla="*/ 8 h 86"/>
                <a:gd name="T46" fmla="*/ 22 w 28"/>
                <a:gd name="T47" fmla="*/ 16 h 86"/>
                <a:gd name="T48" fmla="*/ 22 w 28"/>
                <a:gd name="T49" fmla="*/ 1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86">
                  <a:moveTo>
                    <a:pt x="22" y="16"/>
                  </a:moveTo>
                  <a:lnTo>
                    <a:pt x="22" y="16"/>
                  </a:lnTo>
                  <a:lnTo>
                    <a:pt x="20" y="32"/>
                  </a:lnTo>
                  <a:lnTo>
                    <a:pt x="18" y="42"/>
                  </a:lnTo>
                  <a:lnTo>
                    <a:pt x="12" y="50"/>
                  </a:lnTo>
                  <a:lnTo>
                    <a:pt x="6" y="66"/>
                  </a:lnTo>
                  <a:lnTo>
                    <a:pt x="6" y="66"/>
                  </a:lnTo>
                  <a:lnTo>
                    <a:pt x="0" y="82"/>
                  </a:lnTo>
                  <a:lnTo>
                    <a:pt x="0" y="86"/>
                  </a:lnTo>
                  <a:lnTo>
                    <a:pt x="0" y="86"/>
                  </a:lnTo>
                  <a:lnTo>
                    <a:pt x="8" y="76"/>
                  </a:lnTo>
                  <a:lnTo>
                    <a:pt x="8" y="76"/>
                  </a:lnTo>
                  <a:lnTo>
                    <a:pt x="16" y="58"/>
                  </a:lnTo>
                  <a:lnTo>
                    <a:pt x="24" y="34"/>
                  </a:lnTo>
                  <a:lnTo>
                    <a:pt x="28" y="10"/>
                  </a:lnTo>
                  <a:lnTo>
                    <a:pt x="28" y="4"/>
                  </a:lnTo>
                  <a:lnTo>
                    <a:pt x="26" y="2"/>
                  </a:lnTo>
                  <a:lnTo>
                    <a:pt x="24" y="0"/>
                  </a:lnTo>
                  <a:lnTo>
                    <a:pt x="24" y="0"/>
                  </a:lnTo>
                  <a:lnTo>
                    <a:pt x="18" y="0"/>
                  </a:lnTo>
                  <a:lnTo>
                    <a:pt x="16" y="0"/>
                  </a:lnTo>
                  <a:lnTo>
                    <a:pt x="16" y="2"/>
                  </a:lnTo>
                  <a:lnTo>
                    <a:pt x="20" y="8"/>
                  </a:lnTo>
                  <a:lnTo>
                    <a:pt x="22" y="16"/>
                  </a:lnTo>
                  <a:lnTo>
                    <a:pt x="22" y="1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24">
              <a:extLst>
                <a:ext uri="{FF2B5EF4-FFF2-40B4-BE49-F238E27FC236}">
                  <a16:creationId xmlns:a16="http://schemas.microsoft.com/office/drawing/2014/main" id="{353E6D47-C5CB-403F-8201-54E13FFCFABD}"/>
                </a:ext>
              </a:extLst>
            </p:cNvPr>
            <p:cNvSpPr>
              <a:spLocks/>
            </p:cNvSpPr>
            <p:nvPr/>
          </p:nvSpPr>
          <p:spPr bwMode="auto">
            <a:xfrm>
              <a:off x="3800248" y="4373984"/>
              <a:ext cx="84325" cy="77298"/>
            </a:xfrm>
            <a:custGeom>
              <a:avLst/>
              <a:gdLst>
                <a:gd name="T0" fmla="*/ 4 w 72"/>
                <a:gd name="T1" fmla="*/ 44 h 66"/>
                <a:gd name="T2" fmla="*/ 4 w 72"/>
                <a:gd name="T3" fmla="*/ 44 h 66"/>
                <a:gd name="T4" fmla="*/ 12 w 72"/>
                <a:gd name="T5" fmla="*/ 48 h 66"/>
                <a:gd name="T6" fmla="*/ 24 w 72"/>
                <a:gd name="T7" fmla="*/ 56 h 66"/>
                <a:gd name="T8" fmla="*/ 40 w 72"/>
                <a:gd name="T9" fmla="*/ 62 h 66"/>
                <a:gd name="T10" fmla="*/ 60 w 72"/>
                <a:gd name="T11" fmla="*/ 66 h 66"/>
                <a:gd name="T12" fmla="*/ 60 w 72"/>
                <a:gd name="T13" fmla="*/ 66 h 66"/>
                <a:gd name="T14" fmla="*/ 66 w 72"/>
                <a:gd name="T15" fmla="*/ 62 h 66"/>
                <a:gd name="T16" fmla="*/ 70 w 72"/>
                <a:gd name="T17" fmla="*/ 52 h 66"/>
                <a:gd name="T18" fmla="*/ 72 w 72"/>
                <a:gd name="T19" fmla="*/ 46 h 66"/>
                <a:gd name="T20" fmla="*/ 72 w 72"/>
                <a:gd name="T21" fmla="*/ 38 h 66"/>
                <a:gd name="T22" fmla="*/ 70 w 72"/>
                <a:gd name="T23" fmla="*/ 32 h 66"/>
                <a:gd name="T24" fmla="*/ 64 w 72"/>
                <a:gd name="T25" fmla="*/ 24 h 66"/>
                <a:gd name="T26" fmla="*/ 64 w 72"/>
                <a:gd name="T27" fmla="*/ 24 h 66"/>
                <a:gd name="T28" fmla="*/ 60 w 72"/>
                <a:gd name="T29" fmla="*/ 22 h 66"/>
                <a:gd name="T30" fmla="*/ 52 w 72"/>
                <a:gd name="T31" fmla="*/ 24 h 66"/>
                <a:gd name="T32" fmla="*/ 44 w 72"/>
                <a:gd name="T33" fmla="*/ 22 h 66"/>
                <a:gd name="T34" fmla="*/ 38 w 72"/>
                <a:gd name="T35" fmla="*/ 20 h 66"/>
                <a:gd name="T36" fmla="*/ 32 w 72"/>
                <a:gd name="T37" fmla="*/ 18 h 66"/>
                <a:gd name="T38" fmla="*/ 32 w 72"/>
                <a:gd name="T39" fmla="*/ 18 h 66"/>
                <a:gd name="T40" fmla="*/ 22 w 72"/>
                <a:gd name="T41" fmla="*/ 10 h 66"/>
                <a:gd name="T42" fmla="*/ 16 w 72"/>
                <a:gd name="T43" fmla="*/ 4 h 66"/>
                <a:gd name="T44" fmla="*/ 12 w 72"/>
                <a:gd name="T45" fmla="*/ 0 h 66"/>
                <a:gd name="T46" fmla="*/ 10 w 72"/>
                <a:gd name="T47" fmla="*/ 0 h 66"/>
                <a:gd name="T48" fmla="*/ 8 w 72"/>
                <a:gd name="T49" fmla="*/ 2 h 66"/>
                <a:gd name="T50" fmla="*/ 8 w 72"/>
                <a:gd name="T51" fmla="*/ 2 h 66"/>
                <a:gd name="T52" fmla="*/ 4 w 72"/>
                <a:gd name="T53" fmla="*/ 14 h 66"/>
                <a:gd name="T54" fmla="*/ 0 w 72"/>
                <a:gd name="T55" fmla="*/ 26 h 66"/>
                <a:gd name="T56" fmla="*/ 0 w 72"/>
                <a:gd name="T57" fmla="*/ 36 h 66"/>
                <a:gd name="T58" fmla="*/ 2 w 72"/>
                <a:gd name="T59" fmla="*/ 40 h 66"/>
                <a:gd name="T60" fmla="*/ 4 w 72"/>
                <a:gd name="T61" fmla="*/ 44 h 66"/>
                <a:gd name="T62" fmla="*/ 4 w 72"/>
                <a:gd name="T63"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66">
                  <a:moveTo>
                    <a:pt x="4" y="44"/>
                  </a:moveTo>
                  <a:lnTo>
                    <a:pt x="4" y="44"/>
                  </a:lnTo>
                  <a:lnTo>
                    <a:pt x="12" y="48"/>
                  </a:lnTo>
                  <a:lnTo>
                    <a:pt x="24" y="56"/>
                  </a:lnTo>
                  <a:lnTo>
                    <a:pt x="40" y="62"/>
                  </a:lnTo>
                  <a:lnTo>
                    <a:pt x="60" y="66"/>
                  </a:lnTo>
                  <a:lnTo>
                    <a:pt x="60" y="66"/>
                  </a:lnTo>
                  <a:lnTo>
                    <a:pt x="66" y="62"/>
                  </a:lnTo>
                  <a:lnTo>
                    <a:pt x="70" y="52"/>
                  </a:lnTo>
                  <a:lnTo>
                    <a:pt x="72" y="46"/>
                  </a:lnTo>
                  <a:lnTo>
                    <a:pt x="72" y="38"/>
                  </a:lnTo>
                  <a:lnTo>
                    <a:pt x="70" y="32"/>
                  </a:lnTo>
                  <a:lnTo>
                    <a:pt x="64" y="24"/>
                  </a:lnTo>
                  <a:lnTo>
                    <a:pt x="64" y="24"/>
                  </a:lnTo>
                  <a:lnTo>
                    <a:pt x="60" y="22"/>
                  </a:lnTo>
                  <a:lnTo>
                    <a:pt x="52" y="24"/>
                  </a:lnTo>
                  <a:lnTo>
                    <a:pt x="44" y="22"/>
                  </a:lnTo>
                  <a:lnTo>
                    <a:pt x="38" y="20"/>
                  </a:lnTo>
                  <a:lnTo>
                    <a:pt x="32" y="18"/>
                  </a:lnTo>
                  <a:lnTo>
                    <a:pt x="32" y="18"/>
                  </a:lnTo>
                  <a:lnTo>
                    <a:pt x="22" y="10"/>
                  </a:lnTo>
                  <a:lnTo>
                    <a:pt x="16" y="4"/>
                  </a:lnTo>
                  <a:lnTo>
                    <a:pt x="12" y="0"/>
                  </a:lnTo>
                  <a:lnTo>
                    <a:pt x="10" y="0"/>
                  </a:lnTo>
                  <a:lnTo>
                    <a:pt x="8" y="2"/>
                  </a:lnTo>
                  <a:lnTo>
                    <a:pt x="8" y="2"/>
                  </a:lnTo>
                  <a:lnTo>
                    <a:pt x="4" y="14"/>
                  </a:lnTo>
                  <a:lnTo>
                    <a:pt x="0" y="26"/>
                  </a:lnTo>
                  <a:lnTo>
                    <a:pt x="0" y="36"/>
                  </a:lnTo>
                  <a:lnTo>
                    <a:pt x="2" y="40"/>
                  </a:lnTo>
                  <a:lnTo>
                    <a:pt x="4" y="44"/>
                  </a:lnTo>
                  <a:lnTo>
                    <a:pt x="4" y="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25">
              <a:extLst>
                <a:ext uri="{FF2B5EF4-FFF2-40B4-BE49-F238E27FC236}">
                  <a16:creationId xmlns:a16="http://schemas.microsoft.com/office/drawing/2014/main" id="{01F8D240-D2C1-457A-A33F-BA93EE4840D6}"/>
                </a:ext>
              </a:extLst>
            </p:cNvPr>
            <p:cNvSpPr>
              <a:spLocks/>
            </p:cNvSpPr>
            <p:nvPr/>
          </p:nvSpPr>
          <p:spPr bwMode="auto">
            <a:xfrm>
              <a:off x="4048539" y="3788390"/>
              <a:ext cx="145227" cy="213156"/>
            </a:xfrm>
            <a:custGeom>
              <a:avLst/>
              <a:gdLst>
                <a:gd name="T0" fmla="*/ 104 w 124"/>
                <a:gd name="T1" fmla="*/ 54 h 182"/>
                <a:gd name="T2" fmla="*/ 104 w 124"/>
                <a:gd name="T3" fmla="*/ 54 h 182"/>
                <a:gd name="T4" fmla="*/ 104 w 124"/>
                <a:gd name="T5" fmla="*/ 56 h 182"/>
                <a:gd name="T6" fmla="*/ 102 w 124"/>
                <a:gd name="T7" fmla="*/ 60 h 182"/>
                <a:gd name="T8" fmla="*/ 98 w 124"/>
                <a:gd name="T9" fmla="*/ 68 h 182"/>
                <a:gd name="T10" fmla="*/ 96 w 124"/>
                <a:gd name="T11" fmla="*/ 72 h 182"/>
                <a:gd name="T12" fmla="*/ 94 w 124"/>
                <a:gd name="T13" fmla="*/ 78 h 182"/>
                <a:gd name="T14" fmla="*/ 94 w 124"/>
                <a:gd name="T15" fmla="*/ 82 h 182"/>
                <a:gd name="T16" fmla="*/ 98 w 124"/>
                <a:gd name="T17" fmla="*/ 88 h 182"/>
                <a:gd name="T18" fmla="*/ 98 w 124"/>
                <a:gd name="T19" fmla="*/ 88 h 182"/>
                <a:gd name="T20" fmla="*/ 106 w 124"/>
                <a:gd name="T21" fmla="*/ 102 h 182"/>
                <a:gd name="T22" fmla="*/ 112 w 124"/>
                <a:gd name="T23" fmla="*/ 114 h 182"/>
                <a:gd name="T24" fmla="*/ 114 w 124"/>
                <a:gd name="T25" fmla="*/ 124 h 182"/>
                <a:gd name="T26" fmla="*/ 116 w 124"/>
                <a:gd name="T27" fmla="*/ 136 h 182"/>
                <a:gd name="T28" fmla="*/ 116 w 124"/>
                <a:gd name="T29" fmla="*/ 136 h 182"/>
                <a:gd name="T30" fmla="*/ 124 w 124"/>
                <a:gd name="T31" fmla="*/ 182 h 182"/>
                <a:gd name="T32" fmla="*/ 120 w 124"/>
                <a:gd name="T33" fmla="*/ 178 h 182"/>
                <a:gd name="T34" fmla="*/ 116 w 124"/>
                <a:gd name="T35" fmla="*/ 166 h 182"/>
                <a:gd name="T36" fmla="*/ 116 w 124"/>
                <a:gd name="T37" fmla="*/ 166 h 182"/>
                <a:gd name="T38" fmla="*/ 106 w 124"/>
                <a:gd name="T39" fmla="*/ 144 h 182"/>
                <a:gd name="T40" fmla="*/ 102 w 124"/>
                <a:gd name="T41" fmla="*/ 130 h 182"/>
                <a:gd name="T42" fmla="*/ 98 w 124"/>
                <a:gd name="T43" fmla="*/ 118 h 182"/>
                <a:gd name="T44" fmla="*/ 96 w 124"/>
                <a:gd name="T45" fmla="*/ 112 h 182"/>
                <a:gd name="T46" fmla="*/ 90 w 124"/>
                <a:gd name="T47" fmla="*/ 104 h 182"/>
                <a:gd name="T48" fmla="*/ 90 w 124"/>
                <a:gd name="T49" fmla="*/ 104 h 182"/>
                <a:gd name="T50" fmla="*/ 52 w 124"/>
                <a:gd name="T51" fmla="*/ 54 h 182"/>
                <a:gd name="T52" fmla="*/ 38 w 124"/>
                <a:gd name="T53" fmla="*/ 36 h 182"/>
                <a:gd name="T54" fmla="*/ 24 w 124"/>
                <a:gd name="T55" fmla="*/ 24 h 182"/>
                <a:gd name="T56" fmla="*/ 24 w 124"/>
                <a:gd name="T57" fmla="*/ 24 h 182"/>
                <a:gd name="T58" fmla="*/ 2 w 124"/>
                <a:gd name="T59" fmla="*/ 4 h 182"/>
                <a:gd name="T60" fmla="*/ 0 w 124"/>
                <a:gd name="T61" fmla="*/ 0 h 182"/>
                <a:gd name="T62" fmla="*/ 0 w 124"/>
                <a:gd name="T63" fmla="*/ 0 h 182"/>
                <a:gd name="T64" fmla="*/ 0 w 124"/>
                <a:gd name="T65" fmla="*/ 0 h 182"/>
                <a:gd name="T66" fmla="*/ 14 w 124"/>
                <a:gd name="T67" fmla="*/ 6 h 182"/>
                <a:gd name="T68" fmla="*/ 38 w 124"/>
                <a:gd name="T69" fmla="*/ 20 h 182"/>
                <a:gd name="T70" fmla="*/ 38 w 124"/>
                <a:gd name="T71" fmla="*/ 20 h 182"/>
                <a:gd name="T72" fmla="*/ 48 w 124"/>
                <a:gd name="T73" fmla="*/ 24 h 182"/>
                <a:gd name="T74" fmla="*/ 58 w 124"/>
                <a:gd name="T75" fmla="*/ 28 h 182"/>
                <a:gd name="T76" fmla="*/ 80 w 124"/>
                <a:gd name="T77" fmla="*/ 36 h 182"/>
                <a:gd name="T78" fmla="*/ 88 w 124"/>
                <a:gd name="T79" fmla="*/ 38 h 182"/>
                <a:gd name="T80" fmla="*/ 96 w 124"/>
                <a:gd name="T81" fmla="*/ 42 h 182"/>
                <a:gd name="T82" fmla="*/ 100 w 124"/>
                <a:gd name="T83" fmla="*/ 48 h 182"/>
                <a:gd name="T84" fmla="*/ 104 w 124"/>
                <a:gd name="T85" fmla="*/ 54 h 182"/>
                <a:gd name="T86" fmla="*/ 104 w 124"/>
                <a:gd name="T87" fmla="*/ 5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 h="182">
                  <a:moveTo>
                    <a:pt x="104" y="54"/>
                  </a:moveTo>
                  <a:lnTo>
                    <a:pt x="104" y="54"/>
                  </a:lnTo>
                  <a:lnTo>
                    <a:pt x="104" y="56"/>
                  </a:lnTo>
                  <a:lnTo>
                    <a:pt x="102" y="60"/>
                  </a:lnTo>
                  <a:lnTo>
                    <a:pt x="98" y="68"/>
                  </a:lnTo>
                  <a:lnTo>
                    <a:pt x="96" y="72"/>
                  </a:lnTo>
                  <a:lnTo>
                    <a:pt x="94" y="78"/>
                  </a:lnTo>
                  <a:lnTo>
                    <a:pt x="94" y="82"/>
                  </a:lnTo>
                  <a:lnTo>
                    <a:pt x="98" y="88"/>
                  </a:lnTo>
                  <a:lnTo>
                    <a:pt x="98" y="88"/>
                  </a:lnTo>
                  <a:lnTo>
                    <a:pt x="106" y="102"/>
                  </a:lnTo>
                  <a:lnTo>
                    <a:pt x="112" y="114"/>
                  </a:lnTo>
                  <a:lnTo>
                    <a:pt x="114" y="124"/>
                  </a:lnTo>
                  <a:lnTo>
                    <a:pt x="116" y="136"/>
                  </a:lnTo>
                  <a:lnTo>
                    <a:pt x="116" y="136"/>
                  </a:lnTo>
                  <a:lnTo>
                    <a:pt x="124" y="182"/>
                  </a:lnTo>
                  <a:lnTo>
                    <a:pt x="120" y="178"/>
                  </a:lnTo>
                  <a:lnTo>
                    <a:pt x="116" y="166"/>
                  </a:lnTo>
                  <a:lnTo>
                    <a:pt x="116" y="166"/>
                  </a:lnTo>
                  <a:lnTo>
                    <a:pt x="106" y="144"/>
                  </a:lnTo>
                  <a:lnTo>
                    <a:pt x="102" y="130"/>
                  </a:lnTo>
                  <a:lnTo>
                    <a:pt x="98" y="118"/>
                  </a:lnTo>
                  <a:lnTo>
                    <a:pt x="96" y="112"/>
                  </a:lnTo>
                  <a:lnTo>
                    <a:pt x="90" y="104"/>
                  </a:lnTo>
                  <a:lnTo>
                    <a:pt x="90" y="104"/>
                  </a:lnTo>
                  <a:lnTo>
                    <a:pt x="52" y="54"/>
                  </a:lnTo>
                  <a:lnTo>
                    <a:pt x="38" y="36"/>
                  </a:lnTo>
                  <a:lnTo>
                    <a:pt x="24" y="24"/>
                  </a:lnTo>
                  <a:lnTo>
                    <a:pt x="24" y="24"/>
                  </a:lnTo>
                  <a:lnTo>
                    <a:pt x="2" y="4"/>
                  </a:lnTo>
                  <a:lnTo>
                    <a:pt x="0" y="0"/>
                  </a:lnTo>
                  <a:lnTo>
                    <a:pt x="0" y="0"/>
                  </a:lnTo>
                  <a:lnTo>
                    <a:pt x="0" y="0"/>
                  </a:lnTo>
                  <a:lnTo>
                    <a:pt x="14" y="6"/>
                  </a:lnTo>
                  <a:lnTo>
                    <a:pt x="38" y="20"/>
                  </a:lnTo>
                  <a:lnTo>
                    <a:pt x="38" y="20"/>
                  </a:lnTo>
                  <a:lnTo>
                    <a:pt x="48" y="24"/>
                  </a:lnTo>
                  <a:lnTo>
                    <a:pt x="58" y="28"/>
                  </a:lnTo>
                  <a:lnTo>
                    <a:pt x="80" y="36"/>
                  </a:lnTo>
                  <a:lnTo>
                    <a:pt x="88" y="38"/>
                  </a:lnTo>
                  <a:lnTo>
                    <a:pt x="96" y="42"/>
                  </a:lnTo>
                  <a:lnTo>
                    <a:pt x="100" y="48"/>
                  </a:lnTo>
                  <a:lnTo>
                    <a:pt x="104" y="54"/>
                  </a:lnTo>
                  <a:lnTo>
                    <a:pt x="104"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2" name="TextBox 51">
            <a:extLst>
              <a:ext uri="{FF2B5EF4-FFF2-40B4-BE49-F238E27FC236}">
                <a16:creationId xmlns:a16="http://schemas.microsoft.com/office/drawing/2014/main" id="{B5F59916-7862-471A-978E-1A51BA2A11F2}"/>
              </a:ext>
            </a:extLst>
          </p:cNvPr>
          <p:cNvSpPr txBox="1"/>
          <p:nvPr/>
        </p:nvSpPr>
        <p:spPr>
          <a:xfrm>
            <a:off x="6782489" y="2042305"/>
            <a:ext cx="1108342" cy="457174"/>
          </a:xfrm>
          <a:prstGeom prst="rect">
            <a:avLst/>
          </a:prstGeom>
          <a:noFill/>
        </p:spPr>
        <p:txBody>
          <a:bodyPr wrap="square" lIns="0" tIns="0" rIns="0" bIns="0" rtlCol="0">
            <a:noAutofit/>
          </a:bodyPr>
          <a:lstStyle/>
          <a:p>
            <a:pPr defTabSz="699897" eaLnBrk="0" hangingPunct="0">
              <a:spcAft>
                <a:spcPts val="175"/>
              </a:spcAft>
              <a:defRPr/>
            </a:pPr>
            <a:r>
              <a:rPr lang="en-AU" sz="1200" kern="0" dirty="0">
                <a:solidFill>
                  <a:schemeClr val="tx2"/>
                </a:solidFill>
                <a:latin typeface="+mj-lt"/>
                <a:cs typeface="Arial" charset="0"/>
              </a:rPr>
              <a:t>Can I keep my job title? </a:t>
            </a:r>
            <a:endParaRPr lang="fr-FR" sz="1200" kern="0" dirty="0">
              <a:solidFill>
                <a:schemeClr val="tx2"/>
              </a:solidFill>
              <a:latin typeface="+mj-lt"/>
              <a:cs typeface="Arial" charset="0"/>
            </a:endParaRPr>
          </a:p>
        </p:txBody>
      </p:sp>
      <p:sp>
        <p:nvSpPr>
          <p:cNvPr id="53" name="Rectangle: Rounded Corners 52">
            <a:extLst>
              <a:ext uri="{FF2B5EF4-FFF2-40B4-BE49-F238E27FC236}">
                <a16:creationId xmlns:a16="http://schemas.microsoft.com/office/drawing/2014/main" id="{6EE7228D-6217-1DFB-E14E-59DC9102D438}"/>
              </a:ext>
            </a:extLst>
          </p:cNvPr>
          <p:cNvSpPr/>
          <p:nvPr/>
        </p:nvSpPr>
        <p:spPr>
          <a:xfrm>
            <a:off x="10360653" y="365125"/>
            <a:ext cx="1449442"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 to help you define your plans</a:t>
            </a:r>
          </a:p>
        </p:txBody>
      </p:sp>
    </p:spTree>
    <p:extLst>
      <p:ext uri="{BB962C8B-B14F-4D97-AF65-F5344CB8AC3E}">
        <p14:creationId xmlns:p14="http://schemas.microsoft.com/office/powerpoint/2010/main" val="11445144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a leader needs to do to ensure positive cultural change</a:t>
            </a:r>
            <a:r>
              <a:rPr lang="en-AU" sz="2400" kern="0" dirty="0"/>
              <a:t>?</a:t>
            </a:r>
            <a:endParaRPr lang="fr-FR" sz="2400" kern="0" dirty="0"/>
          </a:p>
        </p:txBody>
      </p:sp>
      <p:sp>
        <p:nvSpPr>
          <p:cNvPr id="2" name="Rounded Rectangle 12">
            <a:extLst>
              <a:ext uri="{FF2B5EF4-FFF2-40B4-BE49-F238E27FC236}">
                <a16:creationId xmlns:a16="http://schemas.microsoft.com/office/drawing/2014/main" id="{202204CC-8EB4-4A86-B6BB-BFF9D27BCF5F}"/>
              </a:ext>
            </a:extLst>
          </p:cNvPr>
          <p:cNvSpPr/>
          <p:nvPr/>
        </p:nvSpPr>
        <p:spPr>
          <a:xfrm>
            <a:off x="6415926" y="2685787"/>
            <a:ext cx="3677308" cy="2923823"/>
          </a:xfrm>
          <a:prstGeom prst="roundRect">
            <a:avLst>
              <a:gd name="adj" fmla="val 4122"/>
            </a:avLst>
          </a:prstGeom>
          <a:solidFill>
            <a:srgbClr val="FFFFFF">
              <a:lumMod val="95000"/>
            </a:srgbClr>
          </a:solidFill>
          <a:ln w="9525" algn="ctr">
            <a:noFill/>
            <a:round/>
            <a:headEnd/>
            <a:tailEnd/>
          </a:ln>
          <a:effectLst>
            <a:outerShdw blurRad="50800" dist="38100" dir="2700000" algn="tl" rotWithShape="0">
              <a:prstClr val="black">
                <a:alpha val="40000"/>
              </a:prstClr>
            </a:outerShdw>
          </a:effectLst>
        </p:spPr>
        <p:txBody>
          <a:bodyPr lIns="46800" tIns="46800" rIns="46800" bIns="46800" anchor="ctr"/>
          <a:lstStyle/>
          <a:p>
            <a:r>
              <a:rPr lang="en-AU" sz="1100" dirty="0">
                <a:solidFill>
                  <a:schemeClr val="tx2"/>
                </a:solidFill>
              </a:rPr>
              <a:t>             </a:t>
            </a:r>
          </a:p>
          <a:p>
            <a:endParaRPr lang="en-AU" sz="1200" dirty="0">
              <a:solidFill>
                <a:schemeClr val="tx2"/>
              </a:solidFill>
            </a:endParaRPr>
          </a:p>
          <a:p>
            <a:r>
              <a:rPr lang="en-AU" sz="1200" b="1" dirty="0">
                <a:solidFill>
                  <a:schemeClr val="tx2"/>
                </a:solidFill>
              </a:rPr>
              <a:t>Back to basics:</a:t>
            </a:r>
          </a:p>
          <a:p>
            <a:endParaRPr lang="en-AU" sz="1200" dirty="0">
              <a:solidFill>
                <a:schemeClr val="tx2"/>
              </a:solidFill>
            </a:endParaRPr>
          </a:p>
          <a:p>
            <a:pPr marL="171450" indent="-171450">
              <a:buFont typeface="Arial" panose="020B0604020202020204" pitchFamily="34" charset="0"/>
              <a:buChar char="•"/>
            </a:pPr>
            <a:r>
              <a:rPr lang="en-AU" sz="1200" dirty="0">
                <a:solidFill>
                  <a:schemeClr val="tx2"/>
                </a:solidFill>
              </a:rPr>
              <a:t>Be active and visible </a:t>
            </a:r>
          </a:p>
          <a:p>
            <a:pPr marL="171450" indent="-171450">
              <a:buFont typeface="Arial" panose="020B0604020202020204" pitchFamily="34" charset="0"/>
              <a:buChar char="•"/>
            </a:pPr>
            <a:r>
              <a:rPr lang="en-AU" sz="1200" dirty="0">
                <a:solidFill>
                  <a:schemeClr val="tx2"/>
                </a:solidFill>
              </a:rPr>
              <a:t>Think about where you invest your time and energy and what you pay attention to – and the message this sends</a:t>
            </a:r>
          </a:p>
          <a:p>
            <a:pPr marL="171450" indent="-171450">
              <a:buFont typeface="Arial" panose="020B0604020202020204" pitchFamily="34" charset="0"/>
              <a:buChar char="•"/>
            </a:pPr>
            <a:r>
              <a:rPr lang="en-AU" sz="1200" dirty="0">
                <a:solidFill>
                  <a:schemeClr val="tx2"/>
                </a:solidFill>
              </a:rPr>
              <a:t>Be inclusive – involve people in your thinking </a:t>
            </a:r>
          </a:p>
          <a:p>
            <a:pPr marL="171450" indent="-171450">
              <a:buFont typeface="Arial" panose="020B0604020202020204" pitchFamily="34" charset="0"/>
              <a:buChar char="•"/>
            </a:pPr>
            <a:r>
              <a:rPr lang="en-AU" sz="1200" dirty="0">
                <a:solidFill>
                  <a:schemeClr val="tx2"/>
                </a:solidFill>
              </a:rPr>
              <a:t>Make people your priority &amp; balance this with purposeful work</a:t>
            </a:r>
          </a:p>
          <a:p>
            <a:pPr marL="171450" indent="-171450">
              <a:buFont typeface="Arial" panose="020B0604020202020204" pitchFamily="34" charset="0"/>
              <a:buChar char="•"/>
            </a:pPr>
            <a:r>
              <a:rPr lang="en-AU" sz="1200" dirty="0">
                <a:solidFill>
                  <a:schemeClr val="tx2"/>
                </a:solidFill>
              </a:rPr>
              <a:t>Collaborate with one another, problem solve together – otherwise this will result in silos and people working against one another </a:t>
            </a:r>
          </a:p>
          <a:p>
            <a:pPr>
              <a:buFont typeface="Arial" pitchFamily="34" charset="0"/>
              <a:buChar char="•"/>
            </a:pPr>
            <a:endParaRPr lang="en-AU" sz="1200" dirty="0">
              <a:solidFill>
                <a:schemeClr val="tx2"/>
              </a:solidFill>
            </a:endParaRPr>
          </a:p>
          <a:p>
            <a:pPr>
              <a:buFont typeface="Arial" pitchFamily="34" charset="0"/>
              <a:buChar char="•"/>
            </a:pPr>
            <a:endParaRPr lang="en-AU" sz="1200" dirty="0">
              <a:solidFill>
                <a:schemeClr val="tx2"/>
              </a:solidFill>
            </a:endParaRPr>
          </a:p>
          <a:p>
            <a:pPr>
              <a:buFont typeface="Arial" pitchFamily="34" charset="0"/>
              <a:buChar char="•"/>
            </a:pPr>
            <a:endParaRPr lang="en-AU" sz="1200" dirty="0">
              <a:solidFill>
                <a:schemeClr val="tx2"/>
              </a:solidFill>
            </a:endParaRPr>
          </a:p>
        </p:txBody>
      </p:sp>
      <p:sp>
        <p:nvSpPr>
          <p:cNvPr id="3" name="Isosceles Triangle 2">
            <a:extLst>
              <a:ext uri="{FF2B5EF4-FFF2-40B4-BE49-F238E27FC236}">
                <a16:creationId xmlns:a16="http://schemas.microsoft.com/office/drawing/2014/main" id="{69E45703-7B73-433A-B3EF-82672263991E}"/>
              </a:ext>
            </a:extLst>
          </p:cNvPr>
          <p:cNvSpPr/>
          <p:nvPr/>
        </p:nvSpPr>
        <p:spPr bwMode="auto">
          <a:xfrm rot="5400000">
            <a:off x="4396718" y="3951468"/>
            <a:ext cx="3047997" cy="471488"/>
          </a:xfrm>
          <a:prstGeom prst="triangle">
            <a:avLst/>
          </a:prstGeom>
          <a:solidFill>
            <a:schemeClr val="bg1">
              <a:lumMod val="8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1436688" rtl="0" eaLnBrk="1" fontAlgn="base" latinLnBrk="0" hangingPunct="1">
              <a:lnSpc>
                <a:spcPct val="100000"/>
              </a:lnSpc>
              <a:spcBef>
                <a:spcPct val="0"/>
              </a:spcBef>
              <a:spcAft>
                <a:spcPct val="0"/>
              </a:spcAft>
              <a:buClrTx/>
              <a:buSzTx/>
              <a:buFontTx/>
              <a:buNone/>
              <a:tabLst/>
            </a:pPr>
            <a:endParaRPr kumimoji="0" lang="en-AU" sz="2800" b="0" i="0" u="none" strike="noStrike" cap="none" normalizeH="0" baseline="0">
              <a:ln>
                <a:noFill/>
              </a:ln>
              <a:solidFill>
                <a:schemeClr val="tx1"/>
              </a:solidFill>
              <a:effectLst/>
              <a:latin typeface="Arial" charset="0"/>
              <a:cs typeface="Arial" charset="0"/>
            </a:endParaRPr>
          </a:p>
        </p:txBody>
      </p:sp>
      <p:pic>
        <p:nvPicPr>
          <p:cNvPr id="5" name="Picture 4" descr="Organisational-culture.jpg">
            <a:extLst>
              <a:ext uri="{FF2B5EF4-FFF2-40B4-BE49-F238E27FC236}">
                <a16:creationId xmlns:a16="http://schemas.microsoft.com/office/drawing/2014/main" id="{C36125E2-081D-4630-BC8A-2F99F4888328}"/>
              </a:ext>
            </a:extLst>
          </p:cNvPr>
          <p:cNvPicPr>
            <a:picLocks noChangeAspect="1"/>
          </p:cNvPicPr>
          <p:nvPr/>
        </p:nvPicPr>
        <p:blipFill>
          <a:blip r:embed="rId6" cstate="print"/>
          <a:stretch>
            <a:fillRect/>
          </a:stretch>
        </p:blipFill>
        <p:spPr>
          <a:xfrm>
            <a:off x="1686944" y="2776100"/>
            <a:ext cx="3707526" cy="277706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7" name="Rectangle 6">
            <a:extLst>
              <a:ext uri="{FF2B5EF4-FFF2-40B4-BE49-F238E27FC236}">
                <a16:creationId xmlns:a16="http://schemas.microsoft.com/office/drawing/2014/main" id="{F5E6F507-6963-40DC-9C26-96DF52F62C44}"/>
              </a:ext>
            </a:extLst>
          </p:cNvPr>
          <p:cNvSpPr/>
          <p:nvPr/>
        </p:nvSpPr>
        <p:spPr>
          <a:xfrm>
            <a:off x="514350" y="1556804"/>
            <a:ext cx="10902587" cy="523220"/>
          </a:xfrm>
          <a:prstGeom prst="rect">
            <a:avLst/>
          </a:prstGeom>
        </p:spPr>
        <p:txBody>
          <a:bodyPr wrap="square">
            <a:spAutoFit/>
          </a:bodyPr>
          <a:lstStyle/>
          <a:p>
            <a:pPr fontAlgn="auto">
              <a:spcBef>
                <a:spcPts val="0"/>
              </a:spcBef>
              <a:spcAft>
                <a:spcPts val="0"/>
              </a:spcAft>
              <a:defRPr/>
            </a:pPr>
            <a:r>
              <a:rPr lang="en-AU" sz="1400" dirty="0">
                <a:solidFill>
                  <a:schemeClr val="tx2"/>
                </a:solidFill>
              </a:rPr>
              <a:t>How leaders engage their teams and support their people through this period of change will form our Cultural Fabric. What you do, where you spend your time and what you pay attention to will be what starts to shape the culture of your team.</a:t>
            </a:r>
          </a:p>
        </p:txBody>
      </p:sp>
      <p:sp>
        <p:nvSpPr>
          <p:cNvPr id="6" name="Rectangle: Rounded Corners 5">
            <a:extLst>
              <a:ext uri="{FF2B5EF4-FFF2-40B4-BE49-F238E27FC236}">
                <a16:creationId xmlns:a16="http://schemas.microsoft.com/office/drawing/2014/main" id="{147B6C69-5257-46AF-7465-0B22716F7110}"/>
              </a:ext>
            </a:extLst>
          </p:cNvPr>
          <p:cNvSpPr/>
          <p:nvPr/>
        </p:nvSpPr>
        <p:spPr>
          <a:xfrm>
            <a:off x="10360653" y="365125"/>
            <a:ext cx="1449442"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 to help you define your plans</a:t>
            </a:r>
          </a:p>
        </p:txBody>
      </p:sp>
    </p:spTree>
    <p:extLst>
      <p:ext uri="{BB962C8B-B14F-4D97-AF65-F5344CB8AC3E}">
        <p14:creationId xmlns:p14="http://schemas.microsoft.com/office/powerpoint/2010/main" val="25751557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What was the catch line of Martin Luther King? What did he use these specific words</a:t>
            </a:r>
            <a:r>
              <a:rPr lang="en-AU" sz="2400" kern="0" dirty="0"/>
              <a:t>?</a:t>
            </a:r>
            <a:endParaRPr lang="fr-FR" sz="2400" kern="0" dirty="0"/>
          </a:p>
        </p:txBody>
      </p:sp>
      <p:pic>
        <p:nvPicPr>
          <p:cNvPr id="2" name="Picture 1" descr="MLK">
            <a:hlinkClick r:id="rId6"/>
            <a:extLst>
              <a:ext uri="{FF2B5EF4-FFF2-40B4-BE49-F238E27FC236}">
                <a16:creationId xmlns:a16="http://schemas.microsoft.com/office/drawing/2014/main" id="{72F925E7-D57F-4773-A0B8-17B84A580D47}"/>
              </a:ext>
            </a:extLst>
          </p:cNvPr>
          <p:cNvPicPr>
            <a:picLocks noChangeAspect="1" noChangeArrowheads="1"/>
          </p:cNvPicPr>
          <p:nvPr/>
        </p:nvPicPr>
        <p:blipFill>
          <a:blip r:embed="rId7" cstate="print"/>
          <a:srcRect/>
          <a:stretch>
            <a:fillRect/>
          </a:stretch>
        </p:blipFill>
        <p:spPr bwMode="auto">
          <a:xfrm>
            <a:off x="7389498" y="4341223"/>
            <a:ext cx="2619375" cy="2067023"/>
          </a:xfrm>
          <a:prstGeom prst="rect">
            <a:avLst/>
          </a:prstGeom>
          <a:noFill/>
          <a:ln w="9525">
            <a:noFill/>
            <a:miter lim="800000"/>
            <a:headEnd/>
            <a:tailEnd/>
          </a:ln>
        </p:spPr>
      </p:pic>
      <p:sp>
        <p:nvSpPr>
          <p:cNvPr id="3" name="TextBox 2">
            <a:extLst>
              <a:ext uri="{FF2B5EF4-FFF2-40B4-BE49-F238E27FC236}">
                <a16:creationId xmlns:a16="http://schemas.microsoft.com/office/drawing/2014/main" id="{FE9511FF-2A1E-491C-9A5B-C5D5E9709360}"/>
              </a:ext>
            </a:extLst>
          </p:cNvPr>
          <p:cNvSpPr txBox="1"/>
          <p:nvPr/>
        </p:nvSpPr>
        <p:spPr>
          <a:xfrm>
            <a:off x="486594" y="1608836"/>
            <a:ext cx="10791005" cy="1815882"/>
          </a:xfrm>
          <a:prstGeom prst="rect">
            <a:avLst/>
          </a:prstGeom>
          <a:noFill/>
        </p:spPr>
        <p:txBody>
          <a:bodyPr wrap="square" rtlCol="0">
            <a:spAutoFit/>
          </a:bodyPr>
          <a:lstStyle/>
          <a:p>
            <a:pPr>
              <a:spcBef>
                <a:spcPct val="0"/>
              </a:spcBef>
              <a:defRPr/>
            </a:pPr>
            <a:r>
              <a:rPr lang="en-AU" sz="1600" dirty="0">
                <a:solidFill>
                  <a:schemeClr val="tx2"/>
                </a:solidFill>
                <a:latin typeface="Arial" pitchFamily="34" charset="0"/>
                <a:ea typeface="ＭＳ Ｐゴシック" charset="-128"/>
              </a:rPr>
              <a:t>Martin Luther King did not say,</a:t>
            </a:r>
            <a:r>
              <a:rPr lang="en-AU" sz="1600" b="1" dirty="0">
                <a:solidFill>
                  <a:schemeClr val="tx2"/>
                </a:solidFill>
                <a:latin typeface="Arial" pitchFamily="34" charset="0"/>
                <a:ea typeface="ＭＳ Ｐゴシック" charset="-128"/>
              </a:rPr>
              <a:t> “I have a very good plan,” </a:t>
            </a:r>
            <a:r>
              <a:rPr lang="en-AU" sz="1600" dirty="0">
                <a:solidFill>
                  <a:schemeClr val="tx2"/>
                </a:solidFill>
                <a:latin typeface="Arial" pitchFamily="34" charset="0"/>
                <a:ea typeface="ＭＳ Ｐゴシック" charset="-128"/>
              </a:rPr>
              <a:t>he shouted, </a:t>
            </a:r>
            <a:r>
              <a:rPr lang="en-AU" sz="1600" b="1" dirty="0">
                <a:solidFill>
                  <a:schemeClr val="tx2"/>
                </a:solidFill>
                <a:latin typeface="Arial" pitchFamily="34" charset="0"/>
                <a:ea typeface="ＭＳ Ｐゴシック" charset="-128"/>
              </a:rPr>
              <a:t>“I have a dream!”</a:t>
            </a:r>
            <a:r>
              <a:rPr lang="en-AU" sz="1600" dirty="0">
                <a:solidFill>
                  <a:schemeClr val="tx2"/>
                </a:solidFill>
                <a:latin typeface="Arial" pitchFamily="34" charset="0"/>
                <a:ea typeface="ＭＳ Ｐゴシック" charset="-128"/>
              </a:rPr>
              <a:t> </a:t>
            </a:r>
          </a:p>
          <a:p>
            <a:pPr>
              <a:spcBef>
                <a:spcPct val="0"/>
              </a:spcBef>
              <a:defRPr/>
            </a:pPr>
            <a:endParaRPr lang="en-AU" sz="1600" dirty="0">
              <a:solidFill>
                <a:schemeClr val="tx2"/>
              </a:solidFill>
              <a:latin typeface="Arial" pitchFamily="34" charset="0"/>
              <a:ea typeface="ＭＳ Ｐゴシック" charset="-128"/>
            </a:endParaRPr>
          </a:p>
          <a:p>
            <a:pPr>
              <a:spcBef>
                <a:spcPct val="0"/>
              </a:spcBef>
              <a:buFont typeface="Arial" pitchFamily="34" charset="0"/>
              <a:buNone/>
              <a:defRPr/>
            </a:pPr>
            <a:r>
              <a:rPr lang="en-AU" sz="1600" dirty="0">
                <a:solidFill>
                  <a:schemeClr val="tx2"/>
                </a:solidFill>
                <a:latin typeface="Arial" pitchFamily="34" charset="0"/>
                <a:ea typeface="ＭＳ Ｐゴシック" charset="-128"/>
              </a:rPr>
              <a:t>You must provide passion, a strong sense of purpose and belief in the change you are leading.  </a:t>
            </a:r>
          </a:p>
          <a:p>
            <a:pPr>
              <a:spcBef>
                <a:spcPct val="0"/>
              </a:spcBef>
              <a:buFont typeface="Arial" pitchFamily="34" charset="0"/>
              <a:buNone/>
              <a:defRPr/>
            </a:pPr>
            <a:r>
              <a:rPr lang="en-AU" sz="1600" dirty="0">
                <a:solidFill>
                  <a:schemeClr val="tx2"/>
                </a:solidFill>
                <a:latin typeface="Arial" pitchFamily="34" charset="0"/>
                <a:ea typeface="ＭＳ Ｐゴシック" charset="-128"/>
              </a:rPr>
              <a:t>- What can you focus on? How will you lead the changes facing you and/or your people? </a:t>
            </a:r>
          </a:p>
          <a:p>
            <a:pPr>
              <a:spcBef>
                <a:spcPct val="0"/>
              </a:spcBef>
              <a:buFont typeface="Arial" pitchFamily="34" charset="0"/>
              <a:buNone/>
              <a:defRPr/>
            </a:pPr>
            <a:r>
              <a:rPr lang="en-AU" sz="1600" dirty="0">
                <a:solidFill>
                  <a:schemeClr val="tx2"/>
                </a:solidFill>
                <a:latin typeface="Arial" pitchFamily="34" charset="0"/>
                <a:ea typeface="ＭＳ Ｐゴシック" charset="-128"/>
              </a:rPr>
              <a:t>- Which is more compelling: “We have a great new structure to support our transformation” or “We’re going to become New Zealand’s insurer of choice”?  </a:t>
            </a:r>
          </a:p>
          <a:p>
            <a:pPr>
              <a:spcBef>
                <a:spcPct val="0"/>
              </a:spcBef>
              <a:buFont typeface="Arial" pitchFamily="34" charset="0"/>
              <a:buNone/>
              <a:defRPr/>
            </a:pPr>
            <a:r>
              <a:rPr lang="en-AU" sz="1600" dirty="0">
                <a:solidFill>
                  <a:schemeClr val="tx2"/>
                </a:solidFill>
                <a:latin typeface="Arial" pitchFamily="34" charset="0"/>
                <a:ea typeface="ＭＳ Ｐゴシック" charset="-128"/>
              </a:rPr>
              <a:t>- Remember: Steve Jobs didn't sell phones he sold dreams.</a:t>
            </a:r>
            <a:endParaRPr lang="en-US" dirty="0">
              <a:solidFill>
                <a:schemeClr val="tx2"/>
              </a:solidFill>
            </a:endParaRPr>
          </a:p>
        </p:txBody>
      </p:sp>
      <p:sp>
        <p:nvSpPr>
          <p:cNvPr id="5" name="Rectangle: Rounded Corners 4">
            <a:extLst>
              <a:ext uri="{FF2B5EF4-FFF2-40B4-BE49-F238E27FC236}">
                <a16:creationId xmlns:a16="http://schemas.microsoft.com/office/drawing/2014/main" id="{B10ABC61-F5D1-290A-D2EF-B5D9F05F58B4}"/>
              </a:ext>
            </a:extLst>
          </p:cNvPr>
          <p:cNvSpPr/>
          <p:nvPr/>
        </p:nvSpPr>
        <p:spPr>
          <a:xfrm>
            <a:off x="10427328" y="212027"/>
            <a:ext cx="1449442"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 to help you define your plans</a:t>
            </a:r>
          </a:p>
        </p:txBody>
      </p:sp>
    </p:spTree>
    <p:extLst>
      <p:ext uri="{BB962C8B-B14F-4D97-AF65-F5344CB8AC3E}">
        <p14:creationId xmlns:p14="http://schemas.microsoft.com/office/powerpoint/2010/main" val="34980806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AU" sz="2400" kern="0" dirty="0"/>
              <a:t>How would you create awareness of the need for change?</a:t>
            </a:r>
            <a:endParaRPr lang="fr-FR" sz="2400" kern="0" dirty="0"/>
          </a:p>
        </p:txBody>
      </p:sp>
      <p:sp>
        <p:nvSpPr>
          <p:cNvPr id="2" name="TextBox 1">
            <a:extLst>
              <a:ext uri="{FF2B5EF4-FFF2-40B4-BE49-F238E27FC236}">
                <a16:creationId xmlns:a16="http://schemas.microsoft.com/office/drawing/2014/main" id="{8D8DE619-2C93-494A-B64F-E4F005B9FAC0}"/>
              </a:ext>
            </a:extLst>
          </p:cNvPr>
          <p:cNvSpPr txBox="1"/>
          <p:nvPr/>
        </p:nvSpPr>
        <p:spPr>
          <a:xfrm>
            <a:off x="514350" y="1582783"/>
            <a:ext cx="10963547" cy="523220"/>
          </a:xfrm>
          <a:prstGeom prst="rect">
            <a:avLst/>
          </a:prstGeom>
          <a:noFill/>
        </p:spPr>
        <p:txBody>
          <a:bodyPr wrap="square" rtlCol="0">
            <a:spAutoFit/>
          </a:bodyPr>
          <a:lstStyle/>
          <a:p>
            <a:pPr>
              <a:spcBef>
                <a:spcPts val="400"/>
              </a:spcBef>
              <a:spcAft>
                <a:spcPts val="400"/>
              </a:spcAft>
            </a:pPr>
            <a:r>
              <a:rPr lang="en-GB" sz="1400" dirty="0">
                <a:solidFill>
                  <a:schemeClr val="tx2"/>
                </a:solidFill>
              </a:rPr>
              <a:t>The communicator is as important as the message. This matrix below will help you to identify which communicator should communicate which message:</a:t>
            </a:r>
          </a:p>
        </p:txBody>
      </p:sp>
      <p:sp>
        <p:nvSpPr>
          <p:cNvPr id="59" name="TextBox 58">
            <a:extLst>
              <a:ext uri="{FF2B5EF4-FFF2-40B4-BE49-F238E27FC236}">
                <a16:creationId xmlns:a16="http://schemas.microsoft.com/office/drawing/2014/main" id="{E2974E5A-A53E-4410-B842-DBAF2CB2BE36}"/>
              </a:ext>
            </a:extLst>
          </p:cNvPr>
          <p:cNvSpPr txBox="1"/>
          <p:nvPr/>
        </p:nvSpPr>
        <p:spPr>
          <a:xfrm>
            <a:off x="4288971" y="2233048"/>
            <a:ext cx="3810000" cy="338554"/>
          </a:xfrm>
          <a:prstGeom prst="rect">
            <a:avLst/>
          </a:prstGeom>
          <a:noFill/>
        </p:spPr>
        <p:txBody>
          <a:bodyPr wrap="square" rtlCol="0">
            <a:spAutoFit/>
          </a:bodyPr>
          <a:lstStyle/>
          <a:p>
            <a:pPr algn="ctr"/>
            <a:r>
              <a:rPr lang="en-US" sz="1600" b="1" dirty="0">
                <a:solidFill>
                  <a:schemeClr val="bg2"/>
                </a:solidFill>
              </a:rPr>
              <a:t>Message / Communicator matrix</a:t>
            </a:r>
          </a:p>
        </p:txBody>
      </p:sp>
      <p:sp>
        <p:nvSpPr>
          <p:cNvPr id="61" name="Rounded Rectangle 16">
            <a:extLst>
              <a:ext uri="{FF2B5EF4-FFF2-40B4-BE49-F238E27FC236}">
                <a16:creationId xmlns:a16="http://schemas.microsoft.com/office/drawing/2014/main" id="{8F6CFF42-E0C7-4E62-916E-D9854ECF55A6}"/>
              </a:ext>
            </a:extLst>
          </p:cNvPr>
          <p:cNvSpPr/>
          <p:nvPr/>
        </p:nvSpPr>
        <p:spPr bwMode="auto">
          <a:xfrm>
            <a:off x="1926771" y="3318526"/>
            <a:ext cx="2757198" cy="914400"/>
          </a:xfrm>
          <a:prstGeom prst="roundRect">
            <a:avLst>
              <a:gd name="adj" fmla="val 8225"/>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dirty="0">
                <a:solidFill>
                  <a:srgbClr val="0C2870"/>
                </a:solidFill>
                <a:latin typeface="Arial" charset="0"/>
                <a:cs typeface="Times New Roman" pitchFamily="18" charset="0"/>
              </a:rPr>
              <a:t>Messages about the business today</a:t>
            </a:r>
          </a:p>
        </p:txBody>
      </p:sp>
      <p:sp>
        <p:nvSpPr>
          <p:cNvPr id="63" name="Rounded Rectangle 17">
            <a:extLst>
              <a:ext uri="{FF2B5EF4-FFF2-40B4-BE49-F238E27FC236}">
                <a16:creationId xmlns:a16="http://schemas.microsoft.com/office/drawing/2014/main" id="{57D60EDC-FB02-4620-B875-0491D69A32A5}"/>
              </a:ext>
            </a:extLst>
          </p:cNvPr>
          <p:cNvSpPr>
            <a:spLocks noChangeArrowheads="1"/>
          </p:cNvSpPr>
          <p:nvPr>
            <p:custDataLst>
              <p:tags r:id="rId2"/>
            </p:custDataLst>
          </p:nvPr>
        </p:nvSpPr>
        <p:spPr bwMode="auto">
          <a:xfrm>
            <a:off x="1926771" y="2866188"/>
            <a:ext cx="2757198" cy="365760"/>
          </a:xfrm>
          <a:prstGeom prst="round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Message Type</a:t>
            </a:r>
            <a:endParaRPr lang="en-GB" altLang="ja-JP" sz="1200" b="1" baseline="30000" dirty="0">
              <a:solidFill>
                <a:schemeClr val="bg1"/>
              </a:solidFill>
              <a:ea typeface="ＭＳ Ｐゴシック" pitchFamily="50" charset="-128"/>
            </a:endParaRPr>
          </a:p>
        </p:txBody>
      </p:sp>
      <p:sp>
        <p:nvSpPr>
          <p:cNvPr id="65" name="Rounded Rectangle 18">
            <a:extLst>
              <a:ext uri="{FF2B5EF4-FFF2-40B4-BE49-F238E27FC236}">
                <a16:creationId xmlns:a16="http://schemas.microsoft.com/office/drawing/2014/main" id="{E1000C16-2A62-44C2-89CD-0E756E8C3DB3}"/>
              </a:ext>
            </a:extLst>
          </p:cNvPr>
          <p:cNvSpPr/>
          <p:nvPr/>
        </p:nvSpPr>
        <p:spPr bwMode="auto">
          <a:xfrm>
            <a:off x="4772804" y="3318526"/>
            <a:ext cx="2705123" cy="914400"/>
          </a:xfrm>
          <a:prstGeom prst="roundRect">
            <a:avLst>
              <a:gd name="adj" fmla="val 6817"/>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dirty="0">
                <a:solidFill>
                  <a:srgbClr val="0C2870"/>
                </a:solidFill>
                <a:latin typeface="Arial" charset="0"/>
                <a:cs typeface="Times New Roman" pitchFamily="18" charset="0"/>
              </a:rPr>
              <a:t>CEO or Senior Business Executive</a:t>
            </a:r>
          </a:p>
        </p:txBody>
      </p:sp>
      <p:sp>
        <p:nvSpPr>
          <p:cNvPr id="67" name="Rounded Rectangle 19">
            <a:extLst>
              <a:ext uri="{FF2B5EF4-FFF2-40B4-BE49-F238E27FC236}">
                <a16:creationId xmlns:a16="http://schemas.microsoft.com/office/drawing/2014/main" id="{AB5E2928-A833-4DF2-B4BC-EFAE087954E4}"/>
              </a:ext>
            </a:extLst>
          </p:cNvPr>
          <p:cNvSpPr>
            <a:spLocks noChangeArrowheads="1"/>
          </p:cNvSpPr>
          <p:nvPr>
            <p:custDataLst>
              <p:tags r:id="rId3"/>
            </p:custDataLst>
          </p:nvPr>
        </p:nvSpPr>
        <p:spPr bwMode="auto">
          <a:xfrm>
            <a:off x="4772804" y="2866188"/>
            <a:ext cx="2705123" cy="365760"/>
          </a:xfrm>
          <a:prstGeom prst="roundRect">
            <a:avLst/>
          </a:prstGeom>
          <a:solidFill>
            <a:schemeClr val="tx2"/>
          </a:solidFill>
          <a:ln w="9525" algn="ctr">
            <a:no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Communicator</a:t>
            </a:r>
          </a:p>
        </p:txBody>
      </p:sp>
      <p:sp>
        <p:nvSpPr>
          <p:cNvPr id="69" name="Rounded Rectangle 20">
            <a:extLst>
              <a:ext uri="{FF2B5EF4-FFF2-40B4-BE49-F238E27FC236}">
                <a16:creationId xmlns:a16="http://schemas.microsoft.com/office/drawing/2014/main" id="{6E75A3AA-2A07-4444-BC21-A43AE49969BA}"/>
              </a:ext>
            </a:extLst>
          </p:cNvPr>
          <p:cNvSpPr/>
          <p:nvPr/>
        </p:nvSpPr>
        <p:spPr bwMode="auto">
          <a:xfrm>
            <a:off x="1926771" y="4380761"/>
            <a:ext cx="2757198" cy="914400"/>
          </a:xfrm>
          <a:prstGeom prst="roundRect">
            <a:avLst>
              <a:gd name="adj" fmla="val 8225"/>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dirty="0">
                <a:solidFill>
                  <a:srgbClr val="0C2870"/>
                </a:solidFill>
                <a:latin typeface="Arial" charset="0"/>
                <a:cs typeface="Times New Roman" pitchFamily="18" charset="0"/>
              </a:rPr>
              <a:t>Messages about the change</a:t>
            </a:r>
          </a:p>
        </p:txBody>
      </p:sp>
      <p:sp>
        <p:nvSpPr>
          <p:cNvPr id="71" name="Rounded Rectangle 21">
            <a:extLst>
              <a:ext uri="{FF2B5EF4-FFF2-40B4-BE49-F238E27FC236}">
                <a16:creationId xmlns:a16="http://schemas.microsoft.com/office/drawing/2014/main" id="{17F3E0A9-C9C8-4960-BFCB-CCB746440651}"/>
              </a:ext>
            </a:extLst>
          </p:cNvPr>
          <p:cNvSpPr/>
          <p:nvPr/>
        </p:nvSpPr>
        <p:spPr bwMode="auto">
          <a:xfrm>
            <a:off x="4772804" y="4380761"/>
            <a:ext cx="2705123" cy="914400"/>
          </a:xfrm>
          <a:prstGeom prst="roundRect">
            <a:avLst>
              <a:gd name="adj" fmla="val 6817"/>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dirty="0">
                <a:solidFill>
                  <a:srgbClr val="0C2870"/>
                </a:solidFill>
                <a:latin typeface="Arial" charset="0"/>
                <a:cs typeface="Times New Roman" pitchFamily="18" charset="0"/>
              </a:rPr>
              <a:t>CEO or Senior Business Executive</a:t>
            </a:r>
          </a:p>
        </p:txBody>
      </p:sp>
      <p:sp>
        <p:nvSpPr>
          <p:cNvPr id="73" name="Rounded Rectangle 22">
            <a:extLst>
              <a:ext uri="{FF2B5EF4-FFF2-40B4-BE49-F238E27FC236}">
                <a16:creationId xmlns:a16="http://schemas.microsoft.com/office/drawing/2014/main" id="{8CDF33DE-2A3B-4FB7-9B3D-65E30CE6D3E9}"/>
              </a:ext>
            </a:extLst>
          </p:cNvPr>
          <p:cNvSpPr/>
          <p:nvPr/>
        </p:nvSpPr>
        <p:spPr bwMode="auto">
          <a:xfrm>
            <a:off x="1926771" y="5447561"/>
            <a:ext cx="2757198" cy="914400"/>
          </a:xfrm>
          <a:prstGeom prst="roundRect">
            <a:avLst>
              <a:gd name="adj" fmla="val 8225"/>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dirty="0">
                <a:solidFill>
                  <a:srgbClr val="0C2870"/>
                </a:solidFill>
                <a:latin typeface="Arial" charset="0"/>
                <a:cs typeface="Times New Roman" pitchFamily="18" charset="0"/>
              </a:rPr>
              <a:t>Messages about how the change impacts employees</a:t>
            </a:r>
          </a:p>
        </p:txBody>
      </p:sp>
      <p:sp>
        <p:nvSpPr>
          <p:cNvPr id="75" name="Rounded Rectangle 23">
            <a:extLst>
              <a:ext uri="{FF2B5EF4-FFF2-40B4-BE49-F238E27FC236}">
                <a16:creationId xmlns:a16="http://schemas.microsoft.com/office/drawing/2014/main" id="{C17E2817-DE9D-4EED-8C95-82AAD7E30B2B}"/>
              </a:ext>
            </a:extLst>
          </p:cNvPr>
          <p:cNvSpPr/>
          <p:nvPr/>
        </p:nvSpPr>
        <p:spPr bwMode="auto">
          <a:xfrm>
            <a:off x="4772804" y="5447561"/>
            <a:ext cx="2705123" cy="914400"/>
          </a:xfrm>
          <a:prstGeom prst="roundRect">
            <a:avLst>
              <a:gd name="adj" fmla="val 6817"/>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dirty="0">
                <a:solidFill>
                  <a:srgbClr val="0C2870"/>
                </a:solidFill>
                <a:latin typeface="Arial" charset="0"/>
                <a:cs typeface="Times New Roman" pitchFamily="18" charset="0"/>
              </a:rPr>
              <a:t>Direct Supervisor</a:t>
            </a:r>
          </a:p>
        </p:txBody>
      </p:sp>
      <p:sp>
        <p:nvSpPr>
          <p:cNvPr id="77" name="Rounded Rectangle 35">
            <a:extLst>
              <a:ext uri="{FF2B5EF4-FFF2-40B4-BE49-F238E27FC236}">
                <a16:creationId xmlns:a16="http://schemas.microsoft.com/office/drawing/2014/main" id="{B381C852-5C22-4D2E-9295-9FD308C1F367}"/>
              </a:ext>
            </a:extLst>
          </p:cNvPr>
          <p:cNvSpPr/>
          <p:nvPr/>
        </p:nvSpPr>
        <p:spPr bwMode="auto">
          <a:xfrm>
            <a:off x="7566762" y="3318526"/>
            <a:ext cx="2705123" cy="914400"/>
          </a:xfrm>
          <a:prstGeom prst="roundRect">
            <a:avLst>
              <a:gd name="adj" fmla="val 6817"/>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dirty="0">
                <a:solidFill>
                  <a:srgbClr val="0C2870"/>
                </a:solidFill>
                <a:latin typeface="Arial" charset="0"/>
                <a:cs typeface="Times New Roman" pitchFamily="18" charset="0"/>
              </a:rPr>
              <a:t>Employees want to hear from the person at the highest possible level</a:t>
            </a:r>
          </a:p>
        </p:txBody>
      </p:sp>
      <p:sp>
        <p:nvSpPr>
          <p:cNvPr id="79" name="Rounded Rectangle 38">
            <a:extLst>
              <a:ext uri="{FF2B5EF4-FFF2-40B4-BE49-F238E27FC236}">
                <a16:creationId xmlns:a16="http://schemas.microsoft.com/office/drawing/2014/main" id="{118F1999-64FF-4811-B1FC-9C95E4D2EDB3}"/>
              </a:ext>
            </a:extLst>
          </p:cNvPr>
          <p:cNvSpPr>
            <a:spLocks noChangeArrowheads="1"/>
          </p:cNvSpPr>
          <p:nvPr>
            <p:custDataLst>
              <p:tags r:id="rId4"/>
            </p:custDataLst>
          </p:nvPr>
        </p:nvSpPr>
        <p:spPr bwMode="auto">
          <a:xfrm>
            <a:off x="7566762" y="2866188"/>
            <a:ext cx="2705123" cy="365760"/>
          </a:xfrm>
          <a:prstGeom prst="roundRect">
            <a:avLst/>
          </a:prstGeom>
          <a:solidFill>
            <a:schemeClr val="tx2"/>
          </a:solidFill>
          <a:ln w="9525" algn="ctr">
            <a:no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Rationale</a:t>
            </a:r>
          </a:p>
        </p:txBody>
      </p:sp>
      <p:sp>
        <p:nvSpPr>
          <p:cNvPr id="81" name="Rounded Rectangle 41">
            <a:extLst>
              <a:ext uri="{FF2B5EF4-FFF2-40B4-BE49-F238E27FC236}">
                <a16:creationId xmlns:a16="http://schemas.microsoft.com/office/drawing/2014/main" id="{020E7F9D-2176-4316-9244-E0F042BEF4D4}"/>
              </a:ext>
            </a:extLst>
          </p:cNvPr>
          <p:cNvSpPr/>
          <p:nvPr/>
        </p:nvSpPr>
        <p:spPr bwMode="auto">
          <a:xfrm>
            <a:off x="7566762" y="4380761"/>
            <a:ext cx="2705123" cy="914400"/>
          </a:xfrm>
          <a:prstGeom prst="roundRect">
            <a:avLst>
              <a:gd name="adj" fmla="val 6817"/>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dirty="0">
                <a:solidFill>
                  <a:srgbClr val="0C2870"/>
                </a:solidFill>
                <a:latin typeface="Arial" charset="0"/>
                <a:cs typeface="Times New Roman" pitchFamily="18" charset="0"/>
              </a:rPr>
              <a:t>Employees want to hear from the person at the highest possible level</a:t>
            </a:r>
          </a:p>
        </p:txBody>
      </p:sp>
      <p:sp>
        <p:nvSpPr>
          <p:cNvPr id="83" name="Rounded Rectangle 42">
            <a:extLst>
              <a:ext uri="{FF2B5EF4-FFF2-40B4-BE49-F238E27FC236}">
                <a16:creationId xmlns:a16="http://schemas.microsoft.com/office/drawing/2014/main" id="{F5CA31FE-6055-4901-B83A-1C16C2929C3B}"/>
              </a:ext>
            </a:extLst>
          </p:cNvPr>
          <p:cNvSpPr/>
          <p:nvPr/>
        </p:nvSpPr>
        <p:spPr bwMode="auto">
          <a:xfrm>
            <a:off x="7566762" y="5447561"/>
            <a:ext cx="2705123" cy="914400"/>
          </a:xfrm>
          <a:prstGeom prst="roundRect">
            <a:avLst>
              <a:gd name="adj" fmla="val 6817"/>
            </a:avLst>
          </a:prstGeom>
          <a:solidFill>
            <a:schemeClr val="bg1"/>
          </a:solidFill>
          <a:ln>
            <a:noFill/>
          </a:ln>
          <a:effectLst/>
        </p:spPr>
        <p:txBody>
          <a:bodyPr wrap="square" lIns="91428" tIns="45715" rIns="91428" bIns="45715" rtlCol="0" anchor="ctr">
            <a:noAutofit/>
          </a:bodyPr>
          <a:lstStyle/>
          <a:p>
            <a:pPr defTabSz="623853" fontAlgn="base">
              <a:spcBef>
                <a:spcPts val="600"/>
              </a:spcBef>
              <a:spcAft>
                <a:spcPts val="600"/>
              </a:spcAft>
              <a:buClr>
                <a:srgbClr val="000000"/>
              </a:buClr>
            </a:pPr>
            <a:r>
              <a:rPr lang="en-US" sz="1400" dirty="0">
                <a:solidFill>
                  <a:srgbClr val="0C2870"/>
                </a:solidFill>
                <a:latin typeface="Arial" charset="0"/>
                <a:cs typeface="Times New Roman" pitchFamily="18" charset="0"/>
              </a:rPr>
              <a:t>Employees want to hear from their direct supervisor</a:t>
            </a:r>
          </a:p>
        </p:txBody>
      </p:sp>
      <p:sp>
        <p:nvSpPr>
          <p:cNvPr id="4" name="Rectangle: Rounded Corners 3">
            <a:extLst>
              <a:ext uri="{FF2B5EF4-FFF2-40B4-BE49-F238E27FC236}">
                <a16:creationId xmlns:a16="http://schemas.microsoft.com/office/drawing/2014/main" id="{BBFA1DB4-28AC-A883-8607-E3B427D8DA67}"/>
              </a:ext>
            </a:extLst>
          </p:cNvPr>
          <p:cNvSpPr/>
          <p:nvPr/>
        </p:nvSpPr>
        <p:spPr>
          <a:xfrm>
            <a:off x="10360653" y="365125"/>
            <a:ext cx="1449442"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 to help you define your plans</a:t>
            </a:r>
          </a:p>
        </p:txBody>
      </p:sp>
    </p:spTree>
    <p:extLst>
      <p:ext uri="{BB962C8B-B14F-4D97-AF65-F5344CB8AC3E}">
        <p14:creationId xmlns:p14="http://schemas.microsoft.com/office/powerpoint/2010/main" val="37078693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AU" sz="2400" kern="0" dirty="0"/>
              <a:t>What is the Knowledge Matrix?</a:t>
            </a:r>
            <a:endParaRPr lang="fr-FR" sz="2400" kern="0" dirty="0"/>
          </a:p>
        </p:txBody>
      </p:sp>
      <p:sp>
        <p:nvSpPr>
          <p:cNvPr id="2" name="TextBox 1">
            <a:extLst>
              <a:ext uri="{FF2B5EF4-FFF2-40B4-BE49-F238E27FC236}">
                <a16:creationId xmlns:a16="http://schemas.microsoft.com/office/drawing/2014/main" id="{8D8DE619-2C93-494A-B64F-E4F005B9FAC0}"/>
              </a:ext>
            </a:extLst>
          </p:cNvPr>
          <p:cNvSpPr txBox="1"/>
          <p:nvPr/>
        </p:nvSpPr>
        <p:spPr>
          <a:xfrm>
            <a:off x="514350" y="1582783"/>
            <a:ext cx="10963547" cy="523220"/>
          </a:xfrm>
          <a:prstGeom prst="rect">
            <a:avLst/>
          </a:prstGeom>
          <a:noFill/>
        </p:spPr>
        <p:txBody>
          <a:bodyPr wrap="square" rtlCol="0">
            <a:spAutoFit/>
          </a:bodyPr>
          <a:lstStyle/>
          <a:p>
            <a:pPr>
              <a:spcBef>
                <a:spcPts val="400"/>
              </a:spcBef>
              <a:spcAft>
                <a:spcPts val="400"/>
              </a:spcAft>
            </a:pPr>
            <a:r>
              <a:rPr lang="en-US" sz="1400" dirty="0">
                <a:solidFill>
                  <a:schemeClr val="tx2"/>
                </a:solidFill>
              </a:rPr>
              <a:t>The knowledge matrix is a tool created by </a:t>
            </a:r>
            <a:r>
              <a:rPr lang="en-US" sz="1400" dirty="0" err="1">
                <a:solidFill>
                  <a:schemeClr val="tx2"/>
                </a:solidFill>
              </a:rPr>
              <a:t>Prosci</a:t>
            </a:r>
            <a:r>
              <a:rPr lang="en-US" sz="1400" dirty="0">
                <a:solidFill>
                  <a:schemeClr val="tx2"/>
                </a:solidFill>
              </a:rPr>
              <a:t>. It </a:t>
            </a:r>
            <a:r>
              <a:rPr lang="en-GB" sz="1400" dirty="0">
                <a:solidFill>
                  <a:schemeClr val="tx2"/>
                </a:solidFill>
              </a:rPr>
              <a:t>refers to the learning process which includes learning about the change and information about how to change. The Knowledge Matrix below will help you provide the right information using the right channel</a:t>
            </a:r>
            <a:endParaRPr lang="en-US" sz="1400" dirty="0">
              <a:solidFill>
                <a:schemeClr val="tx2"/>
              </a:solidFill>
            </a:endParaRPr>
          </a:p>
        </p:txBody>
      </p:sp>
      <p:sp>
        <p:nvSpPr>
          <p:cNvPr id="35" name="Rounded Rectangle 4">
            <a:extLst>
              <a:ext uri="{FF2B5EF4-FFF2-40B4-BE49-F238E27FC236}">
                <a16:creationId xmlns:a16="http://schemas.microsoft.com/office/drawing/2014/main" id="{04AECEC9-8A6A-4D0F-B7C5-DBBBDA5B23BF}"/>
              </a:ext>
            </a:extLst>
          </p:cNvPr>
          <p:cNvSpPr/>
          <p:nvPr/>
        </p:nvSpPr>
        <p:spPr bwMode="auto">
          <a:xfrm>
            <a:off x="1808441" y="2731107"/>
            <a:ext cx="1999381" cy="1219199"/>
          </a:xfrm>
          <a:prstGeom prst="roundRect">
            <a:avLst>
              <a:gd name="adj" fmla="val 8225"/>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Training programs</a:t>
            </a:r>
          </a:p>
        </p:txBody>
      </p:sp>
      <p:sp>
        <p:nvSpPr>
          <p:cNvPr id="37" name="Rounded Rectangle 5">
            <a:extLst>
              <a:ext uri="{FF2B5EF4-FFF2-40B4-BE49-F238E27FC236}">
                <a16:creationId xmlns:a16="http://schemas.microsoft.com/office/drawing/2014/main" id="{91F0725A-765F-4D0D-B2F7-E8FD1E5C7E10}"/>
              </a:ext>
            </a:extLst>
          </p:cNvPr>
          <p:cNvSpPr>
            <a:spLocks noChangeArrowheads="1"/>
          </p:cNvSpPr>
          <p:nvPr>
            <p:custDataLst>
              <p:tags r:id="rId2"/>
            </p:custDataLst>
          </p:nvPr>
        </p:nvSpPr>
        <p:spPr bwMode="auto">
          <a:xfrm>
            <a:off x="1808441" y="2233048"/>
            <a:ext cx="1999381" cy="407759"/>
          </a:xfrm>
          <a:prstGeom prst="round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Channel title</a:t>
            </a:r>
            <a:endParaRPr lang="en-GB" altLang="ja-JP" sz="1200" b="1" baseline="30000" dirty="0">
              <a:solidFill>
                <a:schemeClr val="bg1"/>
              </a:solidFill>
              <a:ea typeface="ＭＳ Ｐゴシック" pitchFamily="50" charset="-128"/>
            </a:endParaRPr>
          </a:p>
        </p:txBody>
      </p:sp>
      <p:sp>
        <p:nvSpPr>
          <p:cNvPr id="39" name="Rounded Rectangle 6">
            <a:extLst>
              <a:ext uri="{FF2B5EF4-FFF2-40B4-BE49-F238E27FC236}">
                <a16:creationId xmlns:a16="http://schemas.microsoft.com/office/drawing/2014/main" id="{244C26CA-CED6-4027-96F1-F0FBAE8CFDF8}"/>
              </a:ext>
            </a:extLst>
          </p:cNvPr>
          <p:cNvSpPr/>
          <p:nvPr/>
        </p:nvSpPr>
        <p:spPr bwMode="auto">
          <a:xfrm>
            <a:off x="3884023" y="2731107"/>
            <a:ext cx="2971799"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Web-based online training</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Formal class-room training</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Presentations and / or discussions during staff meetings</a:t>
            </a:r>
          </a:p>
        </p:txBody>
      </p:sp>
      <p:sp>
        <p:nvSpPr>
          <p:cNvPr id="41" name="Rounded Rectangle 7">
            <a:extLst>
              <a:ext uri="{FF2B5EF4-FFF2-40B4-BE49-F238E27FC236}">
                <a16:creationId xmlns:a16="http://schemas.microsoft.com/office/drawing/2014/main" id="{E23B15F5-31C3-4BB3-B1D1-CB1319D27203}"/>
              </a:ext>
            </a:extLst>
          </p:cNvPr>
          <p:cNvSpPr>
            <a:spLocks noChangeArrowheads="1"/>
          </p:cNvSpPr>
          <p:nvPr>
            <p:custDataLst>
              <p:tags r:id="rId3"/>
            </p:custDataLst>
          </p:nvPr>
        </p:nvSpPr>
        <p:spPr bwMode="auto">
          <a:xfrm>
            <a:off x="3884024" y="2233048"/>
            <a:ext cx="2981044" cy="407759"/>
          </a:xfrm>
          <a:prstGeom prst="round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Channel description</a:t>
            </a:r>
            <a:endParaRPr lang="en-GB" altLang="ja-JP" sz="1200" b="1" baseline="30000" dirty="0">
              <a:solidFill>
                <a:schemeClr val="bg1"/>
              </a:solidFill>
              <a:ea typeface="ＭＳ Ｐゴシック" pitchFamily="50" charset="-128"/>
            </a:endParaRPr>
          </a:p>
        </p:txBody>
      </p:sp>
      <p:sp>
        <p:nvSpPr>
          <p:cNvPr id="43" name="Rounded Rectangle 8">
            <a:extLst>
              <a:ext uri="{FF2B5EF4-FFF2-40B4-BE49-F238E27FC236}">
                <a16:creationId xmlns:a16="http://schemas.microsoft.com/office/drawing/2014/main" id="{F270471A-726B-44F4-A44B-CFA13509F337}"/>
              </a:ext>
            </a:extLst>
          </p:cNvPr>
          <p:cNvSpPr/>
          <p:nvPr/>
        </p:nvSpPr>
        <p:spPr bwMode="auto">
          <a:xfrm>
            <a:off x="1808441" y="4126469"/>
            <a:ext cx="1999381" cy="1219199"/>
          </a:xfrm>
          <a:prstGeom prst="roundRect">
            <a:avLst>
              <a:gd name="adj" fmla="val 8225"/>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Open and ready access to information</a:t>
            </a:r>
          </a:p>
        </p:txBody>
      </p:sp>
      <p:sp>
        <p:nvSpPr>
          <p:cNvPr id="45" name="Rounded Rectangle 9">
            <a:extLst>
              <a:ext uri="{FF2B5EF4-FFF2-40B4-BE49-F238E27FC236}">
                <a16:creationId xmlns:a16="http://schemas.microsoft.com/office/drawing/2014/main" id="{078DFB52-A39D-4771-A2CE-ED7CFDE5E756}"/>
              </a:ext>
            </a:extLst>
          </p:cNvPr>
          <p:cNvSpPr/>
          <p:nvPr/>
        </p:nvSpPr>
        <p:spPr bwMode="auto">
          <a:xfrm>
            <a:off x="3884023" y="4126469"/>
            <a:ext cx="2971799"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Electronic access through intranet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Shared file server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Web page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Physical access to a project room or project library</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Bulletin board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Workstations and Kiosks</a:t>
            </a:r>
          </a:p>
        </p:txBody>
      </p:sp>
      <p:sp>
        <p:nvSpPr>
          <p:cNvPr id="47" name="Rounded Rectangle 10">
            <a:extLst>
              <a:ext uri="{FF2B5EF4-FFF2-40B4-BE49-F238E27FC236}">
                <a16:creationId xmlns:a16="http://schemas.microsoft.com/office/drawing/2014/main" id="{E62AC84B-4D18-43E1-BC3E-AF8B389BDB0D}"/>
              </a:ext>
            </a:extLst>
          </p:cNvPr>
          <p:cNvSpPr/>
          <p:nvPr/>
        </p:nvSpPr>
        <p:spPr bwMode="auto">
          <a:xfrm>
            <a:off x="1808441" y="5506948"/>
            <a:ext cx="1999381" cy="985928"/>
          </a:xfrm>
          <a:prstGeom prst="roundRect">
            <a:avLst>
              <a:gd name="adj" fmla="val 8225"/>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Examples and role models</a:t>
            </a:r>
          </a:p>
        </p:txBody>
      </p:sp>
      <p:sp>
        <p:nvSpPr>
          <p:cNvPr id="49" name="Rounded Rectangle 11">
            <a:extLst>
              <a:ext uri="{FF2B5EF4-FFF2-40B4-BE49-F238E27FC236}">
                <a16:creationId xmlns:a16="http://schemas.microsoft.com/office/drawing/2014/main" id="{EFD0A440-52CA-4E77-A528-65686BC61361}"/>
              </a:ext>
            </a:extLst>
          </p:cNvPr>
          <p:cNvSpPr/>
          <p:nvPr/>
        </p:nvSpPr>
        <p:spPr bwMode="auto">
          <a:xfrm>
            <a:off x="3884023" y="5506948"/>
            <a:ext cx="2971799" cy="985928"/>
          </a:xfrm>
          <a:prstGeom prst="roundRect">
            <a:avLst>
              <a:gd name="adj" fmla="val 6817"/>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Hands-on demonstration</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Help from employees that are further along in the learning curve</a:t>
            </a:r>
          </a:p>
        </p:txBody>
      </p:sp>
      <p:sp>
        <p:nvSpPr>
          <p:cNvPr id="51" name="Rounded Rectangle 12">
            <a:extLst>
              <a:ext uri="{FF2B5EF4-FFF2-40B4-BE49-F238E27FC236}">
                <a16:creationId xmlns:a16="http://schemas.microsoft.com/office/drawing/2014/main" id="{43D5D3F7-BF9C-47B8-98D8-86D799EDDF15}"/>
              </a:ext>
            </a:extLst>
          </p:cNvPr>
          <p:cNvSpPr/>
          <p:nvPr/>
        </p:nvSpPr>
        <p:spPr bwMode="auto">
          <a:xfrm>
            <a:off x="6932022" y="2731107"/>
            <a:ext cx="3299090"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A restatement of the business reasons for change</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A detailed description of the future state</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Description of the skills, knowledge and behaviors that are needed by employees to support the change</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What to do when the new processes or tools do not work</a:t>
            </a:r>
          </a:p>
        </p:txBody>
      </p:sp>
      <p:sp>
        <p:nvSpPr>
          <p:cNvPr id="53" name="Rounded Rectangle 14">
            <a:extLst>
              <a:ext uri="{FF2B5EF4-FFF2-40B4-BE49-F238E27FC236}">
                <a16:creationId xmlns:a16="http://schemas.microsoft.com/office/drawing/2014/main" id="{DE82A5CF-C9D1-4F3F-A23E-B2B817FAC0DB}"/>
              </a:ext>
            </a:extLst>
          </p:cNvPr>
          <p:cNvSpPr>
            <a:spLocks noChangeArrowheads="1"/>
          </p:cNvSpPr>
          <p:nvPr>
            <p:custDataLst>
              <p:tags r:id="rId4"/>
            </p:custDataLst>
          </p:nvPr>
        </p:nvSpPr>
        <p:spPr bwMode="auto">
          <a:xfrm>
            <a:off x="6932022" y="2233048"/>
            <a:ext cx="3299090" cy="407759"/>
          </a:xfrm>
          <a:prstGeom prst="roundRect">
            <a:avLst/>
          </a:prstGeom>
          <a:solidFill>
            <a:schemeClr val="tx2"/>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Content</a:t>
            </a:r>
            <a:endParaRPr lang="en-GB" altLang="ja-JP" sz="1200" b="1" baseline="30000" dirty="0">
              <a:solidFill>
                <a:schemeClr val="bg1"/>
              </a:solidFill>
              <a:ea typeface="ＭＳ Ｐゴシック" pitchFamily="50" charset="-128"/>
            </a:endParaRPr>
          </a:p>
        </p:txBody>
      </p:sp>
      <p:sp>
        <p:nvSpPr>
          <p:cNvPr id="55" name="Rounded Rectangle 17">
            <a:extLst>
              <a:ext uri="{FF2B5EF4-FFF2-40B4-BE49-F238E27FC236}">
                <a16:creationId xmlns:a16="http://schemas.microsoft.com/office/drawing/2014/main" id="{87D60DFE-06B1-47D2-B4EF-1808DDACA1F7}"/>
              </a:ext>
            </a:extLst>
          </p:cNvPr>
          <p:cNvSpPr/>
          <p:nvPr/>
        </p:nvSpPr>
        <p:spPr bwMode="auto">
          <a:xfrm>
            <a:off x="6932022" y="4126469"/>
            <a:ext cx="3299090"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Project schedules and milestone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New policie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Procedures and Process flowcharts and description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New tools and software application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New job descriptions and roles</a:t>
            </a:r>
          </a:p>
        </p:txBody>
      </p:sp>
      <p:sp>
        <p:nvSpPr>
          <p:cNvPr id="57" name="Rounded Rectangle 18">
            <a:extLst>
              <a:ext uri="{FF2B5EF4-FFF2-40B4-BE49-F238E27FC236}">
                <a16:creationId xmlns:a16="http://schemas.microsoft.com/office/drawing/2014/main" id="{328B3DC0-7D5F-4018-9457-7D836DB73E06}"/>
              </a:ext>
            </a:extLst>
          </p:cNvPr>
          <p:cNvSpPr/>
          <p:nvPr/>
        </p:nvSpPr>
        <p:spPr bwMode="auto">
          <a:xfrm>
            <a:off x="6932022" y="5506948"/>
            <a:ext cx="3299090" cy="985928"/>
          </a:xfrm>
          <a:prstGeom prst="roundRect">
            <a:avLst>
              <a:gd name="adj" fmla="val 6817"/>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Example on how to properly use new skill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Example on how to use a new tool</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Example on how follow the new processes</a:t>
            </a:r>
          </a:p>
        </p:txBody>
      </p:sp>
      <p:sp>
        <p:nvSpPr>
          <p:cNvPr id="4" name="Rectangle: Rounded Corners 3">
            <a:extLst>
              <a:ext uri="{FF2B5EF4-FFF2-40B4-BE49-F238E27FC236}">
                <a16:creationId xmlns:a16="http://schemas.microsoft.com/office/drawing/2014/main" id="{6C110EFF-7EE0-1D39-364B-CB00BFF71977}"/>
              </a:ext>
            </a:extLst>
          </p:cNvPr>
          <p:cNvSpPr/>
          <p:nvPr/>
        </p:nvSpPr>
        <p:spPr>
          <a:xfrm>
            <a:off x="10360653" y="365125"/>
            <a:ext cx="1449442"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 to help you define your plans</a:t>
            </a:r>
          </a:p>
        </p:txBody>
      </p:sp>
    </p:spTree>
    <p:extLst>
      <p:ext uri="{BB962C8B-B14F-4D97-AF65-F5344CB8AC3E}">
        <p14:creationId xmlns:p14="http://schemas.microsoft.com/office/powerpoint/2010/main" val="35244755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AU" sz="2400" kern="0" dirty="0"/>
              <a:t>What is the Ability Matrix?</a:t>
            </a:r>
            <a:endParaRPr lang="fr-FR" sz="2400" kern="0" dirty="0"/>
          </a:p>
        </p:txBody>
      </p:sp>
      <p:sp>
        <p:nvSpPr>
          <p:cNvPr id="2" name="TextBox 1">
            <a:extLst>
              <a:ext uri="{FF2B5EF4-FFF2-40B4-BE49-F238E27FC236}">
                <a16:creationId xmlns:a16="http://schemas.microsoft.com/office/drawing/2014/main" id="{8D8DE619-2C93-494A-B64F-E4F005B9FAC0}"/>
              </a:ext>
            </a:extLst>
          </p:cNvPr>
          <p:cNvSpPr txBox="1"/>
          <p:nvPr/>
        </p:nvSpPr>
        <p:spPr>
          <a:xfrm>
            <a:off x="514350" y="1582783"/>
            <a:ext cx="10963547" cy="307777"/>
          </a:xfrm>
          <a:prstGeom prst="rect">
            <a:avLst/>
          </a:prstGeom>
          <a:noFill/>
        </p:spPr>
        <p:txBody>
          <a:bodyPr wrap="square" rtlCol="0">
            <a:spAutoFit/>
          </a:bodyPr>
          <a:lstStyle/>
          <a:p>
            <a:pPr>
              <a:spcBef>
                <a:spcPts val="400"/>
              </a:spcBef>
              <a:spcAft>
                <a:spcPts val="400"/>
              </a:spcAft>
            </a:pPr>
            <a:r>
              <a:rPr lang="en-US" sz="1400" dirty="0">
                <a:solidFill>
                  <a:schemeClr val="tx2"/>
                </a:solidFill>
              </a:rPr>
              <a:t>The ability matrix is a tool created by </a:t>
            </a:r>
            <a:r>
              <a:rPr lang="en-US" sz="1400" dirty="0" err="1">
                <a:solidFill>
                  <a:schemeClr val="tx2"/>
                </a:solidFill>
              </a:rPr>
              <a:t>Prosci</a:t>
            </a:r>
            <a:r>
              <a:rPr lang="en-US" sz="1400" dirty="0">
                <a:solidFill>
                  <a:schemeClr val="tx2"/>
                </a:solidFill>
              </a:rPr>
              <a:t> that will help you to transfer knowledge into abilities and counter common obstacles:</a:t>
            </a:r>
          </a:p>
        </p:txBody>
      </p:sp>
      <p:sp>
        <p:nvSpPr>
          <p:cNvPr id="3" name="Rounded Rectangle 4">
            <a:extLst>
              <a:ext uri="{FF2B5EF4-FFF2-40B4-BE49-F238E27FC236}">
                <a16:creationId xmlns:a16="http://schemas.microsoft.com/office/drawing/2014/main" id="{037C96A4-9B06-46D9-811F-87DE02C687E4}"/>
              </a:ext>
            </a:extLst>
          </p:cNvPr>
          <p:cNvSpPr/>
          <p:nvPr/>
        </p:nvSpPr>
        <p:spPr bwMode="auto">
          <a:xfrm>
            <a:off x="1799733" y="2515664"/>
            <a:ext cx="1161181" cy="1219199"/>
          </a:xfrm>
          <a:prstGeom prst="roundRect">
            <a:avLst>
              <a:gd name="adj" fmla="val 8225"/>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Physical ability</a:t>
            </a:r>
          </a:p>
        </p:txBody>
      </p:sp>
      <p:sp>
        <p:nvSpPr>
          <p:cNvPr id="5" name="Rounded Rectangle 5">
            <a:extLst>
              <a:ext uri="{FF2B5EF4-FFF2-40B4-BE49-F238E27FC236}">
                <a16:creationId xmlns:a16="http://schemas.microsoft.com/office/drawing/2014/main" id="{801013A4-0BC4-4AD9-87BF-087D29FE1BB8}"/>
              </a:ext>
            </a:extLst>
          </p:cNvPr>
          <p:cNvSpPr>
            <a:spLocks noChangeArrowheads="1"/>
          </p:cNvSpPr>
          <p:nvPr>
            <p:custDataLst>
              <p:tags r:id="rId2"/>
            </p:custDataLst>
          </p:nvPr>
        </p:nvSpPr>
        <p:spPr bwMode="auto">
          <a:xfrm>
            <a:off x="1799733" y="2017605"/>
            <a:ext cx="1161181" cy="407759"/>
          </a:xfrm>
          <a:prstGeom prst="roundRect">
            <a:avLst/>
          </a:prstGeom>
          <a:solidFill>
            <a:schemeClr val="tx1"/>
          </a:solidFill>
          <a:ln w="9525" algn="ctr">
            <a:noFill/>
            <a:miter lim="800000"/>
            <a:headEnd/>
            <a:tailEnd/>
          </a:ln>
          <a:effectLst/>
        </p:spPr>
        <p:txBody>
          <a:bodyPr lIns="18000" tIns="18000" rIns="18000" bIns="18000" anchor="ctr"/>
          <a:lstStyle/>
          <a:p>
            <a:pPr algn="ctr">
              <a:defRPr/>
            </a:pPr>
            <a:r>
              <a:rPr lang="en-GB" altLang="ja-JP" sz="1200" b="1" dirty="0">
                <a:solidFill>
                  <a:schemeClr val="bg1"/>
                </a:solidFill>
                <a:ea typeface="ＭＳ Ｐゴシック" pitchFamily="50" charset="-128"/>
              </a:rPr>
              <a:t>Type of ability</a:t>
            </a:r>
            <a:endParaRPr lang="en-GB" altLang="ja-JP" sz="1200" b="1" baseline="30000" dirty="0">
              <a:solidFill>
                <a:schemeClr val="bg1"/>
              </a:solidFill>
              <a:ea typeface="ＭＳ Ｐゴシック" pitchFamily="50" charset="-128"/>
            </a:endParaRPr>
          </a:p>
        </p:txBody>
      </p:sp>
      <p:sp>
        <p:nvSpPr>
          <p:cNvPr id="7" name="Rounded Rectangle 6">
            <a:extLst>
              <a:ext uri="{FF2B5EF4-FFF2-40B4-BE49-F238E27FC236}">
                <a16:creationId xmlns:a16="http://schemas.microsoft.com/office/drawing/2014/main" id="{2FE2E489-18C6-4877-B2DB-2A5F55ABC6E6}"/>
              </a:ext>
            </a:extLst>
          </p:cNvPr>
          <p:cNvSpPr/>
          <p:nvPr/>
        </p:nvSpPr>
        <p:spPr bwMode="auto">
          <a:xfrm>
            <a:off x="3037114" y="2515664"/>
            <a:ext cx="1676400"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US" sz="1050" dirty="0">
                <a:solidFill>
                  <a:srgbClr val="0C2870"/>
                </a:solidFill>
                <a:latin typeface="Arial" charset="0"/>
                <a:cs typeface="Times New Roman" pitchFamily="18" charset="0"/>
              </a:rPr>
              <a:t>Develop new or different physical abilities such as carrying products, driving a heavy vehicle or writing on a keyboard</a:t>
            </a:r>
          </a:p>
        </p:txBody>
      </p:sp>
      <p:sp>
        <p:nvSpPr>
          <p:cNvPr id="9" name="Rounded Rectangle 7">
            <a:extLst>
              <a:ext uri="{FF2B5EF4-FFF2-40B4-BE49-F238E27FC236}">
                <a16:creationId xmlns:a16="http://schemas.microsoft.com/office/drawing/2014/main" id="{311AF198-484D-4791-86B5-D8E3D4FA30C4}"/>
              </a:ext>
            </a:extLst>
          </p:cNvPr>
          <p:cNvSpPr>
            <a:spLocks noChangeArrowheads="1"/>
          </p:cNvSpPr>
          <p:nvPr>
            <p:custDataLst>
              <p:tags r:id="rId3"/>
            </p:custDataLst>
          </p:nvPr>
        </p:nvSpPr>
        <p:spPr bwMode="auto">
          <a:xfrm>
            <a:off x="3037115" y="2017605"/>
            <a:ext cx="1681616" cy="407759"/>
          </a:xfrm>
          <a:prstGeom prst="roundRect">
            <a:avLst/>
          </a:prstGeom>
          <a:solidFill>
            <a:schemeClr val="tx1"/>
          </a:solidFill>
          <a:ln w="9525" algn="ctr">
            <a:no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Ability description</a:t>
            </a:r>
          </a:p>
        </p:txBody>
      </p:sp>
      <p:sp>
        <p:nvSpPr>
          <p:cNvPr id="11" name="Rounded Rectangle 8">
            <a:extLst>
              <a:ext uri="{FF2B5EF4-FFF2-40B4-BE49-F238E27FC236}">
                <a16:creationId xmlns:a16="http://schemas.microsoft.com/office/drawing/2014/main" id="{2607E06B-33AD-41D3-BB40-4DC77C7A4941}"/>
              </a:ext>
            </a:extLst>
          </p:cNvPr>
          <p:cNvSpPr/>
          <p:nvPr/>
        </p:nvSpPr>
        <p:spPr bwMode="auto">
          <a:xfrm>
            <a:off x="1799733" y="3911026"/>
            <a:ext cx="1161181" cy="1219199"/>
          </a:xfrm>
          <a:prstGeom prst="roundRect">
            <a:avLst>
              <a:gd name="adj" fmla="val 8225"/>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Analytical or cognitive ability</a:t>
            </a:r>
          </a:p>
        </p:txBody>
      </p:sp>
      <p:sp>
        <p:nvSpPr>
          <p:cNvPr id="15" name="Rounded Rectangle 9">
            <a:extLst>
              <a:ext uri="{FF2B5EF4-FFF2-40B4-BE49-F238E27FC236}">
                <a16:creationId xmlns:a16="http://schemas.microsoft.com/office/drawing/2014/main" id="{DF183296-573E-47D3-B1FB-D97DC7E4078A}"/>
              </a:ext>
            </a:extLst>
          </p:cNvPr>
          <p:cNvSpPr/>
          <p:nvPr/>
        </p:nvSpPr>
        <p:spPr bwMode="auto">
          <a:xfrm>
            <a:off x="3037114" y="3911026"/>
            <a:ext cx="1676400"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US" sz="1050" dirty="0">
                <a:solidFill>
                  <a:srgbClr val="0C2870"/>
                </a:solidFill>
                <a:latin typeface="Arial" charset="0"/>
                <a:cs typeface="Times New Roman" pitchFamily="18" charset="0"/>
              </a:rPr>
              <a:t>Develop new or different analytical or cognitive ability such as problem-solving, public speaking or marketing skills</a:t>
            </a:r>
          </a:p>
        </p:txBody>
      </p:sp>
      <p:sp>
        <p:nvSpPr>
          <p:cNvPr id="19" name="Rounded Rectangle 10">
            <a:extLst>
              <a:ext uri="{FF2B5EF4-FFF2-40B4-BE49-F238E27FC236}">
                <a16:creationId xmlns:a16="http://schemas.microsoft.com/office/drawing/2014/main" id="{18D6CF1E-915C-4F3F-A9FE-37C5C4EC76B8}"/>
              </a:ext>
            </a:extLst>
          </p:cNvPr>
          <p:cNvSpPr/>
          <p:nvPr/>
        </p:nvSpPr>
        <p:spPr bwMode="auto">
          <a:xfrm>
            <a:off x="1799733" y="5291504"/>
            <a:ext cx="1161181" cy="1219199"/>
          </a:xfrm>
          <a:prstGeom prst="roundRect">
            <a:avLst>
              <a:gd name="adj" fmla="val 8225"/>
            </a:avLst>
          </a:prstGeom>
          <a:solidFill>
            <a:schemeClr val="bg1">
              <a:lumMod val="85000"/>
            </a:schemeClr>
          </a:solidFill>
          <a:ln>
            <a:noFill/>
          </a:ln>
          <a:effectLst/>
        </p:spPr>
        <p:txBody>
          <a:bodyPr wrap="square" lIns="91428" tIns="45715" rIns="91428" bIns="45715" rtlCol="0" anchor="ctr">
            <a:noAutofit/>
          </a:bodyPr>
          <a:lstStyle/>
          <a:p>
            <a:pPr algn="ctr" defTabSz="623853" fontAlgn="base">
              <a:spcBef>
                <a:spcPts val="600"/>
              </a:spcBef>
              <a:spcAft>
                <a:spcPts val="600"/>
              </a:spcAft>
              <a:buClr>
                <a:srgbClr val="000000"/>
              </a:buClr>
            </a:pPr>
            <a:r>
              <a:rPr lang="en-US" sz="1100" b="1" dirty="0">
                <a:solidFill>
                  <a:srgbClr val="0C2870"/>
                </a:solidFill>
                <a:latin typeface="Arial" charset="0"/>
                <a:cs typeface="Times New Roman" pitchFamily="18" charset="0"/>
              </a:rPr>
              <a:t>Behavioral ability</a:t>
            </a:r>
          </a:p>
        </p:txBody>
      </p:sp>
      <p:sp>
        <p:nvSpPr>
          <p:cNvPr id="21" name="Rounded Rectangle 11">
            <a:extLst>
              <a:ext uri="{FF2B5EF4-FFF2-40B4-BE49-F238E27FC236}">
                <a16:creationId xmlns:a16="http://schemas.microsoft.com/office/drawing/2014/main" id="{1AEF8EDD-CF42-4BD6-ACC1-8ED74E34FC7D}"/>
              </a:ext>
            </a:extLst>
          </p:cNvPr>
          <p:cNvSpPr/>
          <p:nvPr/>
        </p:nvSpPr>
        <p:spPr bwMode="auto">
          <a:xfrm>
            <a:off x="3037114" y="5291504"/>
            <a:ext cx="1676400"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defTabSz="623853" fontAlgn="base">
              <a:buClr>
                <a:srgbClr val="000000"/>
              </a:buClr>
            </a:pPr>
            <a:r>
              <a:rPr lang="en-US" sz="1050" dirty="0">
                <a:solidFill>
                  <a:srgbClr val="0C2870"/>
                </a:solidFill>
                <a:latin typeface="Arial" charset="0"/>
                <a:cs typeface="Times New Roman" pitchFamily="18" charset="0"/>
              </a:rPr>
              <a:t>Develop new or different behavioral abilit</a:t>
            </a:r>
            <a:r>
              <a:rPr lang="en-US" sz="1050" dirty="0">
                <a:solidFill>
                  <a:schemeClr val="tx2"/>
                </a:solidFill>
                <a:latin typeface="Arial" charset="0"/>
                <a:cs typeface="Times New Roman" pitchFamily="18" charset="0"/>
              </a:rPr>
              <a:t>ies</a:t>
            </a:r>
            <a:r>
              <a:rPr lang="en-US" sz="1050" dirty="0">
                <a:solidFill>
                  <a:srgbClr val="0C2870"/>
                </a:solidFill>
                <a:latin typeface="Arial" charset="0"/>
                <a:cs typeface="Times New Roman" pitchFamily="18" charset="0"/>
              </a:rPr>
              <a:t> such interpersonal relationships, management or listening skills</a:t>
            </a:r>
          </a:p>
        </p:txBody>
      </p:sp>
      <p:sp>
        <p:nvSpPr>
          <p:cNvPr id="23" name="Rounded Rectangle 12">
            <a:extLst>
              <a:ext uri="{FF2B5EF4-FFF2-40B4-BE49-F238E27FC236}">
                <a16:creationId xmlns:a16="http://schemas.microsoft.com/office/drawing/2014/main" id="{2366ACB6-A0B2-48F1-AAFC-0785C19EB42F}"/>
              </a:ext>
            </a:extLst>
          </p:cNvPr>
          <p:cNvSpPr/>
          <p:nvPr/>
        </p:nvSpPr>
        <p:spPr bwMode="auto">
          <a:xfrm>
            <a:off x="4789714" y="2515664"/>
            <a:ext cx="1828800"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Individual: strength, coordination, size, disabilities, medical conditions</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Environmental: space limitations, external constraints</a:t>
            </a:r>
          </a:p>
        </p:txBody>
      </p:sp>
      <p:sp>
        <p:nvSpPr>
          <p:cNvPr id="25" name="Rounded Rectangle 14">
            <a:extLst>
              <a:ext uri="{FF2B5EF4-FFF2-40B4-BE49-F238E27FC236}">
                <a16:creationId xmlns:a16="http://schemas.microsoft.com/office/drawing/2014/main" id="{25DE9431-E1EF-48CC-82FE-5B0FF16732AD}"/>
              </a:ext>
            </a:extLst>
          </p:cNvPr>
          <p:cNvSpPr>
            <a:spLocks noChangeArrowheads="1"/>
          </p:cNvSpPr>
          <p:nvPr>
            <p:custDataLst>
              <p:tags r:id="rId4"/>
            </p:custDataLst>
          </p:nvPr>
        </p:nvSpPr>
        <p:spPr bwMode="auto">
          <a:xfrm>
            <a:off x="4789714" y="2017605"/>
            <a:ext cx="1828800" cy="407759"/>
          </a:xfrm>
          <a:prstGeom prst="roundRect">
            <a:avLst/>
          </a:prstGeom>
          <a:solidFill>
            <a:schemeClr val="tx1"/>
          </a:solidFill>
          <a:ln w="9525" algn="ctr">
            <a:no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Common obstacles</a:t>
            </a:r>
          </a:p>
        </p:txBody>
      </p:sp>
      <p:sp>
        <p:nvSpPr>
          <p:cNvPr id="27" name="Rounded Rectangle 17">
            <a:extLst>
              <a:ext uri="{FF2B5EF4-FFF2-40B4-BE49-F238E27FC236}">
                <a16:creationId xmlns:a16="http://schemas.microsoft.com/office/drawing/2014/main" id="{4F6C4BCD-C669-4C43-807E-9DD3A12EF2F8}"/>
              </a:ext>
            </a:extLst>
          </p:cNvPr>
          <p:cNvSpPr/>
          <p:nvPr/>
        </p:nvSpPr>
        <p:spPr bwMode="auto">
          <a:xfrm>
            <a:off x="4789714" y="3911026"/>
            <a:ext cx="1828800"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Mental: experience, intellect, memory</a:t>
            </a: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Psychological blocks: past history, fear of failure</a:t>
            </a:r>
          </a:p>
        </p:txBody>
      </p:sp>
      <p:sp>
        <p:nvSpPr>
          <p:cNvPr id="29" name="Rounded Rectangle 18">
            <a:extLst>
              <a:ext uri="{FF2B5EF4-FFF2-40B4-BE49-F238E27FC236}">
                <a16:creationId xmlns:a16="http://schemas.microsoft.com/office/drawing/2014/main" id="{7BD3E70E-4CCA-45C5-993D-C49BD5DA65B8}"/>
              </a:ext>
            </a:extLst>
          </p:cNvPr>
          <p:cNvSpPr/>
          <p:nvPr/>
        </p:nvSpPr>
        <p:spPr bwMode="auto">
          <a:xfrm>
            <a:off x="4789714" y="5291504"/>
            <a:ext cx="1828800" cy="1219199"/>
          </a:xfrm>
          <a:prstGeom prst="roundRect">
            <a:avLst>
              <a:gd name="adj" fmla="val 6817"/>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Habits and addictions</a:t>
            </a:r>
          </a:p>
          <a:p>
            <a:pPr marL="114300" indent="-114300" defTabSz="623853" fontAlgn="base">
              <a:buClr>
                <a:srgbClr val="000000"/>
              </a:buClr>
              <a:buFont typeface="Arial" panose="020B0604020202020204" pitchFamily="34" charset="0"/>
              <a:buChar char="•"/>
            </a:pPr>
            <a:endParaRPr lang="en-US" sz="1050" dirty="0">
              <a:solidFill>
                <a:srgbClr val="0C2870"/>
              </a:solidFill>
              <a:latin typeface="Arial" charset="0"/>
              <a:cs typeface="Times New Roman" pitchFamily="18" charset="0"/>
            </a:endParaRP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Underlying values and belief systems</a:t>
            </a:r>
          </a:p>
        </p:txBody>
      </p:sp>
      <p:sp>
        <p:nvSpPr>
          <p:cNvPr id="31" name="Rounded Rectangle 23">
            <a:extLst>
              <a:ext uri="{FF2B5EF4-FFF2-40B4-BE49-F238E27FC236}">
                <a16:creationId xmlns:a16="http://schemas.microsoft.com/office/drawing/2014/main" id="{D4E2B39C-B39B-46DC-BD08-AE1D25E77226}"/>
              </a:ext>
            </a:extLst>
          </p:cNvPr>
          <p:cNvSpPr/>
          <p:nvPr/>
        </p:nvSpPr>
        <p:spPr bwMode="auto">
          <a:xfrm>
            <a:off x="6694714" y="2515664"/>
            <a:ext cx="3649540" cy="3995039"/>
          </a:xfrm>
          <a:prstGeom prst="roundRect">
            <a:avLst>
              <a:gd name="adj" fmla="val 4103"/>
            </a:avLst>
          </a:prstGeom>
          <a:solidFill>
            <a:schemeClr val="bg1"/>
          </a:solidFill>
          <a:ln>
            <a:noFill/>
          </a:ln>
          <a:effectLst/>
        </p:spPr>
        <p:txBody>
          <a:bodyPr wrap="square" lIns="91428" tIns="45715" rIns="91428" bIns="45715" rtlCol="0" anchor="ctr">
            <a:noAutofit/>
          </a:bodyPr>
          <a:lstStyle/>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Ensure that coaches, supervisors, team leaders and early adopters of change are prepared to assist employees through the "learning curve" of developing ability</a:t>
            </a:r>
          </a:p>
          <a:p>
            <a:pPr marL="114300" indent="-114300" defTabSz="623853" fontAlgn="base">
              <a:buClr>
                <a:srgbClr val="000000"/>
              </a:buClr>
              <a:buFont typeface="Arial" panose="020B0604020202020204" pitchFamily="34" charset="0"/>
              <a:buChar char="•"/>
            </a:pPr>
            <a:endParaRPr lang="en-US" sz="1050" dirty="0">
              <a:solidFill>
                <a:srgbClr val="0C2870"/>
              </a:solidFill>
              <a:latin typeface="Arial" charset="0"/>
              <a:cs typeface="Times New Roman" pitchFamily="18" charset="0"/>
            </a:endParaRP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Diagnose the main obstacles or root causes of the problem to developing ability for your change</a:t>
            </a:r>
          </a:p>
          <a:p>
            <a:pPr marL="114300" indent="-114300" defTabSz="623853" fontAlgn="base">
              <a:buClr>
                <a:srgbClr val="000000"/>
              </a:buClr>
              <a:buFont typeface="Arial" panose="020B0604020202020204" pitchFamily="34" charset="0"/>
              <a:buChar char="•"/>
            </a:pPr>
            <a:endParaRPr lang="en-US" sz="1050" dirty="0">
              <a:solidFill>
                <a:srgbClr val="0C2870"/>
              </a:solidFill>
              <a:latin typeface="Arial" charset="0"/>
              <a:cs typeface="Times New Roman" pitchFamily="18" charset="0"/>
            </a:endParaRPr>
          </a:p>
          <a:p>
            <a:pPr marL="114300" indent="-114300" defTabSz="623853" fontAlgn="base">
              <a:buClr>
                <a:srgbClr val="000000"/>
              </a:buClr>
              <a:buFont typeface="Arial" panose="020B0604020202020204" pitchFamily="34" charset="0"/>
              <a:buChar char="•"/>
            </a:pPr>
            <a:r>
              <a:rPr lang="en-US" sz="1050" dirty="0">
                <a:solidFill>
                  <a:srgbClr val="0C2870"/>
                </a:solidFill>
                <a:latin typeface="Arial" charset="0"/>
                <a:cs typeface="Times New Roman" pitchFamily="18" charset="0"/>
              </a:rPr>
              <a:t>Plan, implement the intervention (e.g. oversight, individual counselling, etc.)  to address the main obstacles or root causes of the problem, and assess the results	</a:t>
            </a:r>
          </a:p>
        </p:txBody>
      </p:sp>
      <p:sp>
        <p:nvSpPr>
          <p:cNvPr id="33" name="Rounded Rectangle 24">
            <a:extLst>
              <a:ext uri="{FF2B5EF4-FFF2-40B4-BE49-F238E27FC236}">
                <a16:creationId xmlns:a16="http://schemas.microsoft.com/office/drawing/2014/main" id="{4752EE9B-7AF6-447A-B471-7447872266AC}"/>
              </a:ext>
            </a:extLst>
          </p:cNvPr>
          <p:cNvSpPr>
            <a:spLocks noChangeArrowheads="1"/>
          </p:cNvSpPr>
          <p:nvPr>
            <p:custDataLst>
              <p:tags r:id="rId5"/>
            </p:custDataLst>
          </p:nvPr>
        </p:nvSpPr>
        <p:spPr bwMode="auto">
          <a:xfrm>
            <a:off x="6694714" y="2017605"/>
            <a:ext cx="3649540" cy="407759"/>
          </a:xfrm>
          <a:prstGeom prst="roundRect">
            <a:avLst/>
          </a:prstGeom>
          <a:solidFill>
            <a:schemeClr val="tx1"/>
          </a:solidFill>
          <a:ln w="9525" algn="ctr">
            <a:noFill/>
            <a:miter lim="800000"/>
            <a:headEnd/>
            <a:tailEnd/>
          </a:ln>
          <a:effectLst/>
        </p:spPr>
        <p:txBody>
          <a:bodyPr lIns="18000" tIns="18000" rIns="18000" bIns="18000" anchor="ctr"/>
          <a:lstStyle/>
          <a:p>
            <a:pPr algn="ctr"/>
            <a:r>
              <a:rPr lang="en-GB" altLang="ja-JP" sz="1200" b="1" dirty="0">
                <a:solidFill>
                  <a:schemeClr val="bg1"/>
                </a:solidFill>
                <a:ea typeface="ＭＳ Ｐゴシック" pitchFamily="50" charset="-128"/>
              </a:rPr>
              <a:t>Change manager role</a:t>
            </a:r>
          </a:p>
        </p:txBody>
      </p:sp>
      <p:sp>
        <p:nvSpPr>
          <p:cNvPr id="6" name="Rectangle: Rounded Corners 5">
            <a:extLst>
              <a:ext uri="{FF2B5EF4-FFF2-40B4-BE49-F238E27FC236}">
                <a16:creationId xmlns:a16="http://schemas.microsoft.com/office/drawing/2014/main" id="{01AC1830-CBAD-B06E-FA86-860226064845}"/>
              </a:ext>
            </a:extLst>
          </p:cNvPr>
          <p:cNvSpPr/>
          <p:nvPr/>
        </p:nvSpPr>
        <p:spPr>
          <a:xfrm>
            <a:off x="10360653" y="365125"/>
            <a:ext cx="1449442"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 to help you define your plans</a:t>
            </a:r>
          </a:p>
        </p:txBody>
      </p:sp>
    </p:spTree>
    <p:extLst>
      <p:ext uri="{BB962C8B-B14F-4D97-AF65-F5344CB8AC3E}">
        <p14:creationId xmlns:p14="http://schemas.microsoft.com/office/powerpoint/2010/main" val="20001610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dirty="0">
                <a:solidFill>
                  <a:srgbClr val="002776"/>
                </a:solidFill>
              </a:rPr>
              <a:t>Time now to focus on the Phase III, located in the folder “Phase III - Implement, Track &amp; Manage Progress”</a:t>
            </a: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p:txBody>
          <a:bodyPr/>
          <a:lstStyle/>
          <a:p>
            <a:fld id="{37F5C94B-8C55-478B-B509-BAE6A06B2E2A}" type="slidenum">
              <a:rPr lang="en-US" sz="1000" smtClean="0">
                <a:solidFill>
                  <a:srgbClr val="ADAFBB"/>
                </a:solidFill>
              </a:rPr>
              <a:pPr/>
              <a:t>56</a:t>
            </a:fld>
            <a:endParaRPr lang="en-US" sz="1000" dirty="0">
              <a:solidFill>
                <a:srgbClr val="ADAFBB"/>
              </a:solidFill>
            </a:endParaRPr>
          </a:p>
        </p:txBody>
      </p:sp>
      <p:sp>
        <p:nvSpPr>
          <p:cNvPr id="3" name="Chevron 17">
            <a:extLst>
              <a:ext uri="{FF2B5EF4-FFF2-40B4-BE49-F238E27FC236}">
                <a16:creationId xmlns:a16="http://schemas.microsoft.com/office/drawing/2014/main" id="{920C8CA6-E79C-10C3-BD05-9FC4EB2F4A34}"/>
              </a:ext>
            </a:extLst>
          </p:cNvPr>
          <p:cNvSpPr/>
          <p:nvPr/>
        </p:nvSpPr>
        <p:spPr bwMode="auto">
          <a:xfrm>
            <a:off x="597148"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 </a:t>
            </a:r>
            <a:r>
              <a:rPr lang="en-GB" sz="1300" b="1" dirty="0">
                <a:solidFill>
                  <a:schemeClr val="bg1"/>
                </a:solidFill>
                <a:cs typeface="Times New Roman" pitchFamily="18" charset="0"/>
              </a:rPr>
              <a:t>Define the Change Management Strategy</a:t>
            </a:r>
            <a:endParaRPr lang="en-US" sz="1300" b="1" dirty="0">
              <a:solidFill>
                <a:schemeClr val="bg1"/>
              </a:solidFill>
              <a:cs typeface="Times New Roman" pitchFamily="18" charset="0"/>
            </a:endParaRPr>
          </a:p>
        </p:txBody>
      </p:sp>
      <p:sp>
        <p:nvSpPr>
          <p:cNvPr id="4" name="Chevron 17">
            <a:extLst>
              <a:ext uri="{FF2B5EF4-FFF2-40B4-BE49-F238E27FC236}">
                <a16:creationId xmlns:a16="http://schemas.microsoft.com/office/drawing/2014/main" id="{29DC7707-D296-BF9E-47D8-1CA4F0A36356}"/>
              </a:ext>
            </a:extLst>
          </p:cNvPr>
          <p:cNvSpPr/>
          <p:nvPr/>
        </p:nvSpPr>
        <p:spPr bwMode="auto">
          <a:xfrm>
            <a:off x="7877047" y="1940752"/>
            <a:ext cx="3745258" cy="508561"/>
          </a:xfrm>
          <a:prstGeom prst="chevron">
            <a:avLst>
              <a:gd name="adj" fmla="val 31818"/>
            </a:avLst>
          </a:prstGeom>
          <a:solidFill>
            <a:schemeClr val="accent2"/>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I: Implement, Track and Manage Progress</a:t>
            </a:r>
          </a:p>
        </p:txBody>
      </p:sp>
      <p:sp>
        <p:nvSpPr>
          <p:cNvPr id="15" name="Rectangle 14">
            <a:extLst>
              <a:ext uri="{FF2B5EF4-FFF2-40B4-BE49-F238E27FC236}">
                <a16:creationId xmlns:a16="http://schemas.microsoft.com/office/drawing/2014/main" id="{8F4B6872-A59A-DD8F-A343-509545917404}"/>
              </a:ext>
            </a:extLst>
          </p:cNvPr>
          <p:cNvSpPr/>
          <p:nvPr/>
        </p:nvSpPr>
        <p:spPr>
          <a:xfrm>
            <a:off x="652310" y="2481108"/>
            <a:ext cx="3479263" cy="2544286"/>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sz="1100" dirty="0">
                <a:solidFill>
                  <a:srgbClr val="002776"/>
                </a:solidFill>
              </a:rPr>
              <a:t>Company strategy</a:t>
            </a:r>
          </a:p>
          <a:p>
            <a:pPr marL="169863" indent="-169863">
              <a:spcBef>
                <a:spcPts val="200"/>
              </a:spcBef>
              <a:spcAft>
                <a:spcPts val="200"/>
              </a:spcAft>
              <a:buFont typeface="+mj-lt"/>
              <a:buAutoNum type="arabicPeriod"/>
              <a:defRPr/>
            </a:pPr>
            <a:r>
              <a:rPr lang="en-GB" sz="1100" dirty="0">
                <a:solidFill>
                  <a:srgbClr val="002776"/>
                </a:solidFill>
              </a:rPr>
              <a:t>Required change to implement the strategy</a:t>
            </a:r>
          </a:p>
          <a:p>
            <a:pPr marL="169863" indent="-169863">
              <a:spcBef>
                <a:spcPts val="200"/>
              </a:spcBef>
              <a:spcAft>
                <a:spcPts val="200"/>
              </a:spcAft>
              <a:buFont typeface="+mj-lt"/>
              <a:buAutoNum type="arabicPeriod"/>
              <a:defRPr/>
            </a:pPr>
            <a:r>
              <a:rPr lang="en-GB" sz="1100" dirty="0">
                <a:solidFill>
                  <a:srgbClr val="002776"/>
                </a:solidFill>
              </a:rPr>
              <a:t>Business roadmap</a:t>
            </a:r>
          </a:p>
          <a:p>
            <a:pPr marL="169863" indent="-169863">
              <a:spcBef>
                <a:spcPts val="200"/>
              </a:spcBef>
              <a:spcAft>
                <a:spcPts val="200"/>
              </a:spcAft>
              <a:buFont typeface="+mj-lt"/>
              <a:buAutoNum type="arabicPeriod"/>
              <a:defRPr/>
            </a:pPr>
            <a:r>
              <a:rPr lang="en-GB" sz="1100" dirty="0">
                <a:solidFill>
                  <a:srgbClr val="002776"/>
                </a:solidFill>
              </a:rPr>
              <a:t>Company readiness for change</a:t>
            </a:r>
          </a:p>
          <a:p>
            <a:pPr marL="169863" indent="-169863">
              <a:spcBef>
                <a:spcPts val="200"/>
              </a:spcBef>
              <a:spcAft>
                <a:spcPts val="200"/>
              </a:spcAft>
              <a:buFont typeface="+mj-lt"/>
              <a:buAutoNum type="arabicPeriod"/>
              <a:defRPr/>
            </a:pPr>
            <a:r>
              <a:rPr lang="en-GB" sz="1100" dirty="0">
                <a:solidFill>
                  <a:srgbClr val="002776"/>
                </a:solidFill>
              </a:rPr>
              <a:t>Structure and size of the change management team</a:t>
            </a:r>
          </a:p>
          <a:p>
            <a:pPr marL="169863" indent="-169863">
              <a:spcBef>
                <a:spcPts val="200"/>
              </a:spcBef>
              <a:spcAft>
                <a:spcPts val="200"/>
              </a:spcAft>
              <a:buFont typeface="+mj-lt"/>
              <a:buAutoNum type="arabicPeriod"/>
              <a:defRPr/>
            </a:pPr>
            <a:r>
              <a:rPr lang="en-GB" sz="1100" dirty="0">
                <a:solidFill>
                  <a:srgbClr val="002776"/>
                </a:solidFill>
              </a:rPr>
              <a:t>Roles &amp; responsibilities </a:t>
            </a:r>
          </a:p>
          <a:p>
            <a:pPr marL="169863" indent="-169863">
              <a:spcBef>
                <a:spcPts val="200"/>
              </a:spcBef>
              <a:spcAft>
                <a:spcPts val="200"/>
              </a:spcAft>
              <a:buFont typeface="+mj-lt"/>
              <a:buAutoNum type="arabicPeriod"/>
              <a:defRPr/>
            </a:pPr>
            <a:r>
              <a:rPr lang="en-GB" sz="1100" dirty="0">
                <a:solidFill>
                  <a:srgbClr val="002776"/>
                </a:solidFill>
              </a:rPr>
              <a:t>Guiding principles</a:t>
            </a:r>
          </a:p>
          <a:p>
            <a:pPr marL="169863" indent="-169863">
              <a:spcBef>
                <a:spcPts val="400"/>
              </a:spcBef>
              <a:spcAft>
                <a:spcPts val="400"/>
              </a:spcAft>
              <a:buFont typeface="+mj-lt"/>
              <a:buAutoNum type="arabicPeriod"/>
              <a:defRPr/>
            </a:pPr>
            <a:r>
              <a:rPr lang="en-US" sz="1100" dirty="0"/>
              <a:t>Change Lean Canvas</a:t>
            </a:r>
          </a:p>
          <a:p>
            <a:pPr marL="169863" indent="-169863">
              <a:spcBef>
                <a:spcPts val="400"/>
              </a:spcBef>
              <a:spcAft>
                <a:spcPts val="400"/>
              </a:spcAft>
              <a:buFont typeface="+mj-lt"/>
              <a:buAutoNum type="arabicPeriod"/>
              <a:defRPr/>
            </a:pPr>
            <a:r>
              <a:rPr lang="en-GB" sz="1100" dirty="0">
                <a:solidFill>
                  <a:srgbClr val="002776"/>
                </a:solidFill>
              </a:rPr>
              <a:t>Change impact assessment</a:t>
            </a:r>
          </a:p>
          <a:p>
            <a:pPr marL="169863" indent="-169863">
              <a:spcBef>
                <a:spcPts val="400"/>
              </a:spcBef>
              <a:spcAft>
                <a:spcPts val="400"/>
              </a:spcAft>
              <a:buFont typeface="+mj-lt"/>
              <a:buAutoNum type="arabicPeriod"/>
              <a:defRPr/>
            </a:pPr>
            <a:r>
              <a:rPr lang="en-GB" sz="1100" dirty="0">
                <a:solidFill>
                  <a:srgbClr val="002776"/>
                </a:solidFill>
              </a:rPr>
              <a:t>Change management objectives and levers (ADKAR Model)</a:t>
            </a:r>
          </a:p>
        </p:txBody>
      </p:sp>
      <p:sp>
        <p:nvSpPr>
          <p:cNvPr id="17" name="Rectangle 16">
            <a:extLst>
              <a:ext uri="{FF2B5EF4-FFF2-40B4-BE49-F238E27FC236}">
                <a16:creationId xmlns:a16="http://schemas.microsoft.com/office/drawing/2014/main" id="{F7783167-483F-5ABC-337A-A4119E3635CB}"/>
              </a:ext>
            </a:extLst>
          </p:cNvPr>
          <p:cNvSpPr/>
          <p:nvPr/>
        </p:nvSpPr>
        <p:spPr>
          <a:xfrm>
            <a:off x="7980282" y="2481108"/>
            <a:ext cx="3642023" cy="2026196"/>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sz="1100" dirty="0">
                <a:solidFill>
                  <a:srgbClr val="002776"/>
                </a:solidFill>
              </a:rPr>
              <a:t>Governance</a:t>
            </a:r>
          </a:p>
          <a:p>
            <a:pPr marL="169863" indent="-169863">
              <a:spcBef>
                <a:spcPts val="200"/>
              </a:spcBef>
              <a:spcAft>
                <a:spcPts val="200"/>
              </a:spcAft>
              <a:buFont typeface="+mj-lt"/>
              <a:buAutoNum type="arabicPeriod"/>
              <a:defRPr/>
            </a:pPr>
            <a:r>
              <a:rPr lang="en-GB" sz="1100" dirty="0">
                <a:solidFill>
                  <a:srgbClr val="002776"/>
                </a:solidFill>
              </a:rPr>
              <a:t>Overarching change management plan status report</a:t>
            </a:r>
          </a:p>
          <a:p>
            <a:pPr marL="169863" indent="-169863">
              <a:spcBef>
                <a:spcPts val="200"/>
              </a:spcBef>
              <a:spcAft>
                <a:spcPts val="200"/>
              </a:spcAft>
              <a:buFont typeface="+mj-lt"/>
              <a:buAutoNum type="arabicPeriod"/>
              <a:defRPr/>
            </a:pPr>
            <a:r>
              <a:rPr lang="en-GB" sz="1100" dirty="0">
                <a:solidFill>
                  <a:srgbClr val="002776"/>
                </a:solidFill>
              </a:rPr>
              <a:t>Communication plan status report</a:t>
            </a:r>
          </a:p>
          <a:p>
            <a:pPr marL="169863" indent="-169863">
              <a:spcBef>
                <a:spcPts val="200"/>
              </a:spcBef>
              <a:spcAft>
                <a:spcPts val="200"/>
              </a:spcAft>
              <a:buFont typeface="+mj-lt"/>
              <a:buAutoNum type="arabicPeriod"/>
              <a:defRPr/>
            </a:pPr>
            <a:r>
              <a:rPr lang="en-GB" sz="1100" dirty="0">
                <a:solidFill>
                  <a:srgbClr val="002776"/>
                </a:solidFill>
              </a:rPr>
              <a:t>Sponsorship plan status report</a:t>
            </a:r>
          </a:p>
          <a:p>
            <a:pPr marL="169863" indent="-169863">
              <a:spcBef>
                <a:spcPts val="200"/>
              </a:spcBef>
              <a:spcAft>
                <a:spcPts val="200"/>
              </a:spcAft>
              <a:buFont typeface="+mj-lt"/>
              <a:buAutoNum type="arabicPeriod"/>
              <a:defRPr/>
            </a:pPr>
            <a:r>
              <a:rPr lang="en-GB" sz="1100" dirty="0">
                <a:solidFill>
                  <a:srgbClr val="002776"/>
                </a:solidFill>
              </a:rPr>
              <a:t>Coaching plan status report</a:t>
            </a:r>
          </a:p>
          <a:p>
            <a:pPr marL="169863" indent="-169863">
              <a:spcBef>
                <a:spcPts val="200"/>
              </a:spcBef>
              <a:spcAft>
                <a:spcPts val="200"/>
              </a:spcAft>
              <a:buFont typeface="+mj-lt"/>
              <a:buAutoNum type="arabicPeriod"/>
              <a:defRPr/>
            </a:pPr>
            <a:r>
              <a:rPr lang="en-GB" sz="1100" dirty="0">
                <a:solidFill>
                  <a:srgbClr val="002776"/>
                </a:solidFill>
              </a:rPr>
              <a:t>Training plan status report</a:t>
            </a:r>
          </a:p>
          <a:p>
            <a:pPr marL="169863" indent="-169863">
              <a:spcBef>
                <a:spcPts val="200"/>
              </a:spcBef>
              <a:spcAft>
                <a:spcPts val="200"/>
              </a:spcAft>
              <a:buFont typeface="+mj-lt"/>
              <a:buAutoNum type="arabicPeriod"/>
              <a:defRPr/>
            </a:pPr>
            <a:r>
              <a:rPr lang="en-GB" sz="1100" dirty="0">
                <a:solidFill>
                  <a:srgbClr val="002776"/>
                </a:solidFill>
              </a:rPr>
              <a:t>Resistance management plan status report</a:t>
            </a:r>
          </a:p>
          <a:p>
            <a:pPr marL="169863" indent="-169863">
              <a:spcBef>
                <a:spcPts val="200"/>
              </a:spcBef>
              <a:spcAft>
                <a:spcPts val="200"/>
              </a:spcAft>
              <a:buFont typeface="+mj-lt"/>
              <a:buAutoNum type="arabicPeriod"/>
              <a:defRPr/>
            </a:pPr>
            <a:r>
              <a:rPr lang="en-GB" sz="1100" dirty="0">
                <a:solidFill>
                  <a:srgbClr val="002776"/>
                </a:solidFill>
              </a:rPr>
              <a:t>Stakeholder management</a:t>
            </a:r>
          </a:p>
          <a:p>
            <a:pPr marL="174625" indent="-174625">
              <a:spcBef>
                <a:spcPts val="200"/>
              </a:spcBef>
              <a:spcAft>
                <a:spcPts val="200"/>
              </a:spcAft>
              <a:buFont typeface="+mj-lt"/>
              <a:buAutoNum type="arabicPeriod"/>
              <a:defRPr/>
            </a:pPr>
            <a:r>
              <a:rPr lang="en-GB" sz="1100" dirty="0">
                <a:solidFill>
                  <a:srgbClr val="002776"/>
                </a:solidFill>
              </a:rPr>
              <a:t>Change reinforcement</a:t>
            </a:r>
          </a:p>
        </p:txBody>
      </p:sp>
      <p:sp>
        <p:nvSpPr>
          <p:cNvPr id="18" name="Rectangle 17">
            <a:extLst>
              <a:ext uri="{FF2B5EF4-FFF2-40B4-BE49-F238E27FC236}">
                <a16:creationId xmlns:a16="http://schemas.microsoft.com/office/drawing/2014/main" id="{C3463F68-AC13-0655-077A-B216FF9787E5}"/>
              </a:ext>
            </a:extLst>
          </p:cNvPr>
          <p:cNvSpPr/>
          <p:nvPr/>
        </p:nvSpPr>
        <p:spPr>
          <a:xfrm>
            <a:off x="4271507" y="2481108"/>
            <a:ext cx="3455165" cy="136447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1100" dirty="0">
                <a:solidFill>
                  <a:srgbClr val="002776"/>
                </a:solidFill>
              </a:rPr>
              <a:t>Overarching change management plan</a:t>
            </a:r>
          </a:p>
          <a:p>
            <a:pPr marL="169863" indent="-169863">
              <a:spcBef>
                <a:spcPts val="200"/>
              </a:spcBef>
              <a:spcAft>
                <a:spcPts val="200"/>
              </a:spcAft>
              <a:buFont typeface="+mj-lt"/>
              <a:buAutoNum type="arabicPeriod"/>
              <a:defRPr/>
            </a:pPr>
            <a:r>
              <a:rPr lang="en-GB" sz="1100" dirty="0">
                <a:solidFill>
                  <a:srgbClr val="002776"/>
                </a:solidFill>
              </a:rPr>
              <a:t>Communication plan</a:t>
            </a:r>
          </a:p>
          <a:p>
            <a:pPr marL="169863" indent="-169863">
              <a:spcBef>
                <a:spcPts val="200"/>
              </a:spcBef>
              <a:spcAft>
                <a:spcPts val="200"/>
              </a:spcAft>
              <a:buFont typeface="+mj-lt"/>
              <a:buAutoNum type="arabicPeriod"/>
              <a:defRPr/>
            </a:pPr>
            <a:r>
              <a:rPr lang="en-GB" sz="1100" dirty="0">
                <a:solidFill>
                  <a:srgbClr val="002776"/>
                </a:solidFill>
              </a:rPr>
              <a:t>Sponsorship plan</a:t>
            </a:r>
          </a:p>
          <a:p>
            <a:pPr marL="169863" indent="-169863">
              <a:spcBef>
                <a:spcPts val="200"/>
              </a:spcBef>
              <a:spcAft>
                <a:spcPts val="200"/>
              </a:spcAft>
              <a:buFont typeface="+mj-lt"/>
              <a:buAutoNum type="arabicPeriod"/>
              <a:defRPr/>
            </a:pPr>
            <a:r>
              <a:rPr lang="en-GB" sz="1100" dirty="0">
                <a:solidFill>
                  <a:srgbClr val="002776"/>
                </a:solidFill>
              </a:rPr>
              <a:t>Coaching plan</a:t>
            </a:r>
          </a:p>
          <a:p>
            <a:pPr marL="169863" indent="-169863">
              <a:spcBef>
                <a:spcPts val="200"/>
              </a:spcBef>
              <a:spcAft>
                <a:spcPts val="200"/>
              </a:spcAft>
              <a:buFont typeface="+mj-lt"/>
              <a:buAutoNum type="arabicPeriod"/>
              <a:defRPr/>
            </a:pPr>
            <a:r>
              <a:rPr lang="en-GB" sz="1100" dirty="0">
                <a:solidFill>
                  <a:srgbClr val="002776"/>
                </a:solidFill>
              </a:rPr>
              <a:t>Training plan</a:t>
            </a:r>
          </a:p>
          <a:p>
            <a:pPr marL="169863" indent="-169863">
              <a:spcBef>
                <a:spcPts val="200"/>
              </a:spcBef>
              <a:spcAft>
                <a:spcPts val="200"/>
              </a:spcAft>
              <a:buFont typeface="+mj-lt"/>
              <a:buAutoNum type="arabicPeriod"/>
              <a:defRPr/>
            </a:pPr>
            <a:r>
              <a:rPr lang="en-GB" sz="1100" dirty="0">
                <a:solidFill>
                  <a:srgbClr val="002776"/>
                </a:solidFill>
              </a:rPr>
              <a:t>Resistance management plan</a:t>
            </a:r>
          </a:p>
        </p:txBody>
      </p:sp>
      <p:cxnSp>
        <p:nvCxnSpPr>
          <p:cNvPr id="19" name="Straight Connector 18">
            <a:extLst>
              <a:ext uri="{FF2B5EF4-FFF2-40B4-BE49-F238E27FC236}">
                <a16:creationId xmlns:a16="http://schemas.microsoft.com/office/drawing/2014/main" id="{BDD9D1B1-E0F5-BA31-31A9-0EFA9998E1E9}"/>
              </a:ext>
            </a:extLst>
          </p:cNvPr>
          <p:cNvCxnSpPr>
            <a:cxnSpLocks/>
          </p:cNvCxnSpPr>
          <p:nvPr/>
        </p:nvCxnSpPr>
        <p:spPr>
          <a:xfrm>
            <a:off x="7872272"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0" name="Chevron 17">
            <a:extLst>
              <a:ext uri="{FF2B5EF4-FFF2-40B4-BE49-F238E27FC236}">
                <a16:creationId xmlns:a16="http://schemas.microsoft.com/office/drawing/2014/main" id="{0BC5DBBD-73B6-0114-E7F0-26500206AE11}"/>
              </a:ext>
            </a:extLst>
          </p:cNvPr>
          <p:cNvSpPr/>
          <p:nvPr/>
        </p:nvSpPr>
        <p:spPr bwMode="auto">
          <a:xfrm>
            <a:off x="4235024" y="1940752"/>
            <a:ext cx="3745258" cy="50856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1300" b="1" dirty="0">
                <a:solidFill>
                  <a:schemeClr val="bg1"/>
                </a:solidFill>
                <a:cs typeface="Times New Roman" pitchFamily="18" charset="0"/>
              </a:rPr>
              <a:t>Phase II: Develop the Change Management Plans</a:t>
            </a:r>
          </a:p>
        </p:txBody>
      </p:sp>
      <p:cxnSp>
        <p:nvCxnSpPr>
          <p:cNvPr id="21" name="Straight Connector 20">
            <a:extLst>
              <a:ext uri="{FF2B5EF4-FFF2-40B4-BE49-F238E27FC236}">
                <a16:creationId xmlns:a16="http://schemas.microsoft.com/office/drawing/2014/main" id="{0032490F-AEE6-16CF-68EB-5EC3215CBAAC}"/>
              </a:ext>
            </a:extLst>
          </p:cNvPr>
          <p:cNvCxnSpPr>
            <a:cxnSpLocks/>
          </p:cNvCxnSpPr>
          <p:nvPr/>
        </p:nvCxnSpPr>
        <p:spPr>
          <a:xfrm>
            <a:off x="4182073" y="2481107"/>
            <a:ext cx="0" cy="2556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252425AF-A8BB-333B-7E33-FB77418E49D2}"/>
              </a:ext>
            </a:extLst>
          </p:cNvPr>
          <p:cNvSpPr/>
          <p:nvPr/>
        </p:nvSpPr>
        <p:spPr>
          <a:xfrm>
            <a:off x="596861" y="5195505"/>
            <a:ext cx="10993157" cy="1364476"/>
          </a:xfrm>
          <a:prstGeom prst="roundRect">
            <a:avLst>
              <a:gd name="adj" fmla="val 362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3853" fontAlgn="base">
              <a:spcBef>
                <a:spcPts val="600"/>
              </a:spcBef>
              <a:spcAft>
                <a:spcPts val="600"/>
              </a:spcAft>
              <a:buClr>
                <a:srgbClr val="000000"/>
              </a:buClr>
            </a:pPr>
            <a:r>
              <a:rPr lang="en-GB" sz="1300" b="1" dirty="0">
                <a:solidFill>
                  <a:schemeClr val="bg1"/>
                </a:solidFill>
              </a:rPr>
              <a:t>Top 12 change management frameworks and tools commonly used in most Fortune 500 companies</a:t>
            </a:r>
            <a:endParaRPr lang="en-US" sz="1300" b="1" dirty="0">
              <a:solidFill>
                <a:schemeClr val="bg1"/>
              </a:solidFill>
              <a:cs typeface="Times New Roman" pitchFamily="18" charset="0"/>
            </a:endParaRPr>
          </a:p>
        </p:txBody>
      </p:sp>
      <p:sp>
        <p:nvSpPr>
          <p:cNvPr id="23" name="Rectangle: Rounded Corners 22">
            <a:extLst>
              <a:ext uri="{FF2B5EF4-FFF2-40B4-BE49-F238E27FC236}">
                <a16:creationId xmlns:a16="http://schemas.microsoft.com/office/drawing/2014/main" id="{860EB8B3-205B-1F22-DB46-DDA363006F3B}"/>
              </a:ext>
            </a:extLst>
          </p:cNvPr>
          <p:cNvSpPr/>
          <p:nvPr/>
        </p:nvSpPr>
        <p:spPr>
          <a:xfrm>
            <a:off x="774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Kotter’s 8 step Model of Change</a:t>
            </a:r>
            <a:endParaRPr lang="en-US" sz="1000" b="1" dirty="0">
              <a:solidFill>
                <a:schemeClr val="tx1"/>
              </a:solidFill>
              <a:latin typeface="+mj-lt"/>
              <a:cs typeface="Helvetica"/>
            </a:endParaRPr>
          </a:p>
        </p:txBody>
      </p:sp>
      <p:sp>
        <p:nvSpPr>
          <p:cNvPr id="24" name="Rectangle: Rounded Corners 23">
            <a:extLst>
              <a:ext uri="{FF2B5EF4-FFF2-40B4-BE49-F238E27FC236}">
                <a16:creationId xmlns:a16="http://schemas.microsoft.com/office/drawing/2014/main" id="{EF55E991-5570-8FE4-BDB2-1537CF89A95C}"/>
              </a:ext>
            </a:extLst>
          </p:cNvPr>
          <p:cNvSpPr/>
          <p:nvPr/>
        </p:nvSpPr>
        <p:spPr>
          <a:xfrm>
            <a:off x="2592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cKinsey 7S framework</a:t>
            </a:r>
            <a:endParaRPr lang="en-US" sz="1000" b="1" dirty="0">
              <a:solidFill>
                <a:schemeClr val="tx1"/>
              </a:solidFill>
              <a:latin typeface="+mj-lt"/>
              <a:cs typeface="Helvetica"/>
            </a:endParaRPr>
          </a:p>
        </p:txBody>
      </p:sp>
      <p:sp>
        <p:nvSpPr>
          <p:cNvPr id="25" name="Rectangle: Rounded Corners 24">
            <a:extLst>
              <a:ext uri="{FF2B5EF4-FFF2-40B4-BE49-F238E27FC236}">
                <a16:creationId xmlns:a16="http://schemas.microsoft.com/office/drawing/2014/main" id="{98E3DB13-8A04-FB5C-B873-2E877510A465}"/>
              </a:ext>
            </a:extLst>
          </p:cNvPr>
          <p:cNvSpPr/>
          <p:nvPr/>
        </p:nvSpPr>
        <p:spPr>
          <a:xfrm>
            <a:off x="4410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 Burke-Litwin Change Model</a:t>
            </a:r>
            <a:endParaRPr lang="en-US" sz="1000" b="1" dirty="0">
              <a:solidFill>
                <a:schemeClr val="tx1"/>
              </a:solidFill>
              <a:latin typeface="+mj-lt"/>
              <a:cs typeface="Helvetica"/>
            </a:endParaRPr>
          </a:p>
        </p:txBody>
      </p:sp>
      <p:sp>
        <p:nvSpPr>
          <p:cNvPr id="26" name="Rectangle: Rounded Corners 25">
            <a:extLst>
              <a:ext uri="{FF2B5EF4-FFF2-40B4-BE49-F238E27FC236}">
                <a16:creationId xmlns:a16="http://schemas.microsoft.com/office/drawing/2014/main" id="{D4386DCD-F5AD-5B47-8CB7-4A102CA85BC6}"/>
              </a:ext>
            </a:extLst>
          </p:cNvPr>
          <p:cNvSpPr/>
          <p:nvPr/>
        </p:nvSpPr>
        <p:spPr>
          <a:xfrm>
            <a:off x="6228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err="1">
                <a:solidFill>
                  <a:schemeClr val="tx1"/>
                </a:solidFill>
                <a:latin typeface="+mj-lt"/>
                <a:cs typeface="Helvetica"/>
              </a:rPr>
              <a:t>Prosci</a:t>
            </a:r>
            <a:r>
              <a:rPr lang="en-GB" sz="1000" b="1" dirty="0">
                <a:solidFill>
                  <a:schemeClr val="tx1"/>
                </a:solidFill>
                <a:latin typeface="+mj-lt"/>
                <a:cs typeface="Helvetica"/>
              </a:rPr>
              <a:t> 3-phase process</a:t>
            </a:r>
            <a:endParaRPr lang="en-US" sz="1000" b="1" dirty="0">
              <a:solidFill>
                <a:schemeClr val="tx1"/>
              </a:solidFill>
              <a:latin typeface="+mj-lt"/>
              <a:cs typeface="Helvetica"/>
            </a:endParaRPr>
          </a:p>
        </p:txBody>
      </p:sp>
      <p:sp>
        <p:nvSpPr>
          <p:cNvPr id="27" name="Rectangle: Rounded Corners 26">
            <a:extLst>
              <a:ext uri="{FF2B5EF4-FFF2-40B4-BE49-F238E27FC236}">
                <a16:creationId xmlns:a16="http://schemas.microsoft.com/office/drawing/2014/main" id="{76022443-6E3B-AB13-E549-A54F94D7BFF9}"/>
              </a:ext>
            </a:extLst>
          </p:cNvPr>
          <p:cNvSpPr/>
          <p:nvPr/>
        </p:nvSpPr>
        <p:spPr>
          <a:xfrm>
            <a:off x="8046201"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The </a:t>
            </a:r>
            <a:r>
              <a:rPr lang="en-GB" sz="1000" b="1" dirty="0" err="1">
                <a:solidFill>
                  <a:schemeClr val="tx1"/>
                </a:solidFill>
                <a:latin typeface="+mj-lt"/>
                <a:cs typeface="Helvetica"/>
              </a:rPr>
              <a:t>Adkar</a:t>
            </a:r>
            <a:r>
              <a:rPr lang="en-GB" sz="1000" b="1" dirty="0">
                <a:solidFill>
                  <a:schemeClr val="tx1"/>
                </a:solidFill>
                <a:latin typeface="+mj-lt"/>
                <a:cs typeface="Helvetica"/>
              </a:rPr>
              <a:t> Change Management Model</a:t>
            </a:r>
            <a:endParaRPr lang="en-US" sz="1000" b="1" dirty="0">
              <a:solidFill>
                <a:schemeClr val="tx1"/>
              </a:solidFill>
              <a:latin typeface="+mj-lt"/>
              <a:cs typeface="Helvetica"/>
            </a:endParaRPr>
          </a:p>
        </p:txBody>
      </p:sp>
      <p:sp>
        <p:nvSpPr>
          <p:cNvPr id="28" name="Rectangle: Rounded Corners 27">
            <a:extLst>
              <a:ext uri="{FF2B5EF4-FFF2-40B4-BE49-F238E27FC236}">
                <a16:creationId xmlns:a16="http://schemas.microsoft.com/office/drawing/2014/main" id="{9DB3CB45-6AA0-A958-C923-51C4D1B60EC5}"/>
              </a:ext>
            </a:extLst>
          </p:cNvPr>
          <p:cNvSpPr/>
          <p:nvPr/>
        </p:nvSpPr>
        <p:spPr>
          <a:xfrm>
            <a:off x="9864203" y="5550884"/>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Lewin's Change Management Model</a:t>
            </a:r>
            <a:endParaRPr lang="en-US" sz="1000" b="1" dirty="0">
              <a:solidFill>
                <a:schemeClr val="tx1"/>
              </a:solidFill>
              <a:latin typeface="+mj-lt"/>
              <a:cs typeface="Helvetica"/>
            </a:endParaRPr>
          </a:p>
        </p:txBody>
      </p:sp>
      <p:sp>
        <p:nvSpPr>
          <p:cNvPr id="29" name="Rectangle: Rounded Corners 28">
            <a:extLst>
              <a:ext uri="{FF2B5EF4-FFF2-40B4-BE49-F238E27FC236}">
                <a16:creationId xmlns:a16="http://schemas.microsoft.com/office/drawing/2014/main" id="{D3360EF7-8935-5900-85C5-20060807E001}"/>
              </a:ext>
            </a:extLst>
          </p:cNvPr>
          <p:cNvSpPr/>
          <p:nvPr/>
        </p:nvSpPr>
        <p:spPr>
          <a:xfrm>
            <a:off x="774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commitment curve</a:t>
            </a:r>
          </a:p>
        </p:txBody>
      </p:sp>
      <p:sp>
        <p:nvSpPr>
          <p:cNvPr id="30" name="Rectangle: Rounded Corners 29">
            <a:extLst>
              <a:ext uri="{FF2B5EF4-FFF2-40B4-BE49-F238E27FC236}">
                <a16:creationId xmlns:a16="http://schemas.microsoft.com/office/drawing/2014/main" id="{85D7F80D-90BD-D00D-B6FD-78BC5F0F230B}"/>
              </a:ext>
            </a:extLst>
          </p:cNvPr>
          <p:cNvSpPr/>
          <p:nvPr/>
        </p:nvSpPr>
        <p:spPr>
          <a:xfrm>
            <a:off x="2592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Change personal transition curve</a:t>
            </a:r>
          </a:p>
        </p:txBody>
      </p:sp>
      <p:sp>
        <p:nvSpPr>
          <p:cNvPr id="31" name="Rectangle: Rounded Corners 30">
            <a:extLst>
              <a:ext uri="{FF2B5EF4-FFF2-40B4-BE49-F238E27FC236}">
                <a16:creationId xmlns:a16="http://schemas.microsoft.com/office/drawing/2014/main" id="{D60C350D-A272-F441-E54C-F826F63BA234}"/>
              </a:ext>
            </a:extLst>
          </p:cNvPr>
          <p:cNvSpPr/>
          <p:nvPr/>
        </p:nvSpPr>
        <p:spPr>
          <a:xfrm>
            <a:off x="4410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Heart and mind human drivers</a:t>
            </a:r>
            <a:endParaRPr lang="en-US" sz="1000" b="1" dirty="0">
              <a:solidFill>
                <a:schemeClr val="tx1"/>
              </a:solidFill>
              <a:latin typeface="+mj-lt"/>
              <a:cs typeface="Helvetica"/>
            </a:endParaRPr>
          </a:p>
        </p:txBody>
      </p:sp>
      <p:sp>
        <p:nvSpPr>
          <p:cNvPr id="32" name="Rectangle: Rounded Corners 31">
            <a:extLst>
              <a:ext uri="{FF2B5EF4-FFF2-40B4-BE49-F238E27FC236}">
                <a16:creationId xmlns:a16="http://schemas.microsoft.com/office/drawing/2014/main" id="{867F213F-29F5-BD1A-AB68-BC75C326A4F6}"/>
              </a:ext>
            </a:extLst>
          </p:cNvPr>
          <p:cNvSpPr/>
          <p:nvPr/>
        </p:nvSpPr>
        <p:spPr>
          <a:xfrm>
            <a:off x="6228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Innovation adoption curve</a:t>
            </a:r>
          </a:p>
        </p:txBody>
      </p:sp>
      <p:sp>
        <p:nvSpPr>
          <p:cNvPr id="33" name="Rectangle: Rounded Corners 32">
            <a:extLst>
              <a:ext uri="{FF2B5EF4-FFF2-40B4-BE49-F238E27FC236}">
                <a16:creationId xmlns:a16="http://schemas.microsoft.com/office/drawing/2014/main" id="{8A356D0F-A975-3035-FFD8-D54208B53130}"/>
              </a:ext>
            </a:extLst>
          </p:cNvPr>
          <p:cNvSpPr/>
          <p:nvPr/>
        </p:nvSpPr>
        <p:spPr>
          <a:xfrm>
            <a:off x="8046201"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Maslow’s hierarchy of human needs</a:t>
            </a:r>
          </a:p>
        </p:txBody>
      </p:sp>
      <p:sp>
        <p:nvSpPr>
          <p:cNvPr id="34" name="Rectangle: Rounded Corners 33">
            <a:extLst>
              <a:ext uri="{FF2B5EF4-FFF2-40B4-BE49-F238E27FC236}">
                <a16:creationId xmlns:a16="http://schemas.microsoft.com/office/drawing/2014/main" id="{DDC2889A-689E-DE7C-24B9-D6CF3FC826FD}"/>
              </a:ext>
            </a:extLst>
          </p:cNvPr>
          <p:cNvSpPr/>
          <p:nvPr/>
        </p:nvSpPr>
        <p:spPr>
          <a:xfrm>
            <a:off x="9864203" y="6063330"/>
            <a:ext cx="1553596" cy="432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000" b="1" dirty="0">
                <a:solidFill>
                  <a:schemeClr val="tx1"/>
                </a:solidFill>
                <a:latin typeface="+mj-lt"/>
                <a:cs typeface="Helvetica"/>
              </a:rPr>
              <a:t>Four stages of team development</a:t>
            </a:r>
          </a:p>
        </p:txBody>
      </p:sp>
      <p:pic>
        <p:nvPicPr>
          <p:cNvPr id="35" name="Graphic 34" descr="Blueprint outline">
            <a:extLst>
              <a:ext uri="{FF2B5EF4-FFF2-40B4-BE49-F238E27FC236}">
                <a16:creationId xmlns:a16="http://schemas.microsoft.com/office/drawing/2014/main" id="{340E9314-A82C-1767-DC75-12C0106C74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7406" y="1492789"/>
            <a:ext cx="432065" cy="432065"/>
          </a:xfrm>
          <a:prstGeom prst="rect">
            <a:avLst/>
          </a:prstGeom>
        </p:spPr>
      </p:pic>
      <p:pic>
        <p:nvPicPr>
          <p:cNvPr id="36" name="Graphic 35" descr="Target outline">
            <a:extLst>
              <a:ext uri="{FF2B5EF4-FFF2-40B4-BE49-F238E27FC236}">
                <a16:creationId xmlns:a16="http://schemas.microsoft.com/office/drawing/2014/main" id="{75419FFC-FA95-C588-B0D8-60BBB4D7F8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47980" y="1497158"/>
            <a:ext cx="443594" cy="443594"/>
          </a:xfrm>
          <a:prstGeom prst="rect">
            <a:avLst/>
          </a:prstGeom>
        </p:spPr>
      </p:pic>
      <p:pic>
        <p:nvPicPr>
          <p:cNvPr id="37" name="Graphic 36" descr="Clipboard Partially Checked outline">
            <a:extLst>
              <a:ext uri="{FF2B5EF4-FFF2-40B4-BE49-F238E27FC236}">
                <a16:creationId xmlns:a16="http://schemas.microsoft.com/office/drawing/2014/main" id="{1397F6E8-85ED-9E3B-F8FD-023EFD97BBD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3035" y="1472180"/>
            <a:ext cx="473281" cy="473281"/>
          </a:xfrm>
          <a:prstGeom prst="rect">
            <a:avLst/>
          </a:prstGeom>
        </p:spPr>
      </p:pic>
    </p:spTree>
    <p:extLst>
      <p:ext uri="{BB962C8B-B14F-4D97-AF65-F5344CB8AC3E}">
        <p14:creationId xmlns:p14="http://schemas.microsoft.com/office/powerpoint/2010/main" val="24012670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57</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8975C108-6D75-47BC-564C-BD7A581BAB96}"/>
              </a:ext>
            </a:extLst>
          </p:cNvPr>
          <p:cNvSpPr txBox="1"/>
          <p:nvPr/>
        </p:nvSpPr>
        <p:spPr>
          <a:xfrm>
            <a:off x="4259918" y="4302860"/>
            <a:ext cx="3672164" cy="369332"/>
          </a:xfrm>
          <a:prstGeom prst="rect">
            <a:avLst/>
          </a:prstGeom>
          <a:noFill/>
        </p:spPr>
        <p:txBody>
          <a:bodyPr wrap="square" rtlCol="0">
            <a:spAutoFit/>
          </a:bodyPr>
          <a:lstStyle/>
          <a:p>
            <a:pPr algn="ctr"/>
            <a:r>
              <a:rPr lang="en-US" dirty="0">
                <a:solidFill>
                  <a:srgbClr val="00B0F0"/>
                </a:solidFill>
                <a:hlinkClick r:id="rId7"/>
              </a:rPr>
              <a:t>www.domontconsulting.com</a:t>
            </a:r>
            <a:r>
              <a:rPr lang="en-US" dirty="0">
                <a:solidFill>
                  <a:srgbClr val="00B0F0"/>
                </a:solidFill>
              </a:rPr>
              <a:t> </a:t>
            </a:r>
          </a:p>
        </p:txBody>
      </p:sp>
      <p:pic>
        <p:nvPicPr>
          <p:cNvPr id="9" name="Picture 8">
            <a:extLst>
              <a:ext uri="{FF2B5EF4-FFF2-40B4-BE49-F238E27FC236}">
                <a16:creationId xmlns:a16="http://schemas.microsoft.com/office/drawing/2014/main" id="{C4AF38C1-8B13-9716-5F95-C473619762C2}"/>
              </a:ext>
            </a:extLst>
          </p:cNvPr>
          <p:cNvPicPr>
            <a:picLocks noChangeAspect="1"/>
          </p:cNvPicPr>
          <p:nvPr/>
        </p:nvPicPr>
        <p:blipFill>
          <a:blip r:embed="rId8"/>
          <a:stretch>
            <a:fillRect/>
          </a:stretch>
        </p:blipFill>
        <p:spPr>
          <a:xfrm>
            <a:off x="3312214" y="2880360"/>
            <a:ext cx="5567572" cy="1284134"/>
          </a:xfrm>
          <a:prstGeom prst="rect">
            <a:avLst/>
          </a:prstGeom>
        </p:spPr>
      </p:pic>
    </p:spTree>
    <p:extLst>
      <p:ext uri="{BB962C8B-B14F-4D97-AF65-F5344CB8AC3E}">
        <p14:creationId xmlns:p14="http://schemas.microsoft.com/office/powerpoint/2010/main" val="1289725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verarching Change Management Plan</a:t>
            </a:r>
            <a:br>
              <a:rPr lang="en-US" sz="2400" kern="0" dirty="0"/>
            </a:br>
            <a:r>
              <a:rPr lang="en-US" b="0" kern="0" dirty="0"/>
              <a:t>One-page summary</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Understand the Company’s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Calibri"/>
                          <a:cs typeface="Times New Roman"/>
                        </a:rPr>
                        <a:t>Understand the Change required to implement the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Define your Change Management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Identify the Impact of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mmunication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Sponsorship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ach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Train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Resistance Management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Implement, Track &amp; Manage Progress</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Reinforce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Tree>
    <p:extLst>
      <p:ext uri="{BB962C8B-B14F-4D97-AF65-F5344CB8AC3E}">
        <p14:creationId xmlns:p14="http://schemas.microsoft.com/office/powerpoint/2010/main" val="21148020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Overarching Change Management Plan</a:t>
            </a:r>
            <a:br>
              <a:rPr lang="en-US" sz="2400" kern="0" dirty="0"/>
            </a:br>
            <a:r>
              <a:rPr lang="en-US" b="0" kern="0" dirty="0"/>
              <a:t>One-page summary</a:t>
            </a:r>
            <a:endParaRPr lang="en-US" sz="2400"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graphicFrame>
        <p:nvGraphicFramePr>
          <p:cNvPr id="38" name="Content Placeholder 5">
            <a:extLst>
              <a:ext uri="{FF2B5EF4-FFF2-40B4-BE49-F238E27FC236}">
                <a16:creationId xmlns:a16="http://schemas.microsoft.com/office/drawing/2014/main" id="{D80FFF2E-1CFA-4B6F-9738-3C9DC7F30FC7}"/>
              </a:ext>
            </a:extLst>
          </p:cNvPr>
          <p:cNvGraphicFramePr>
            <a:graphicFrameLocks/>
          </p:cNvGraphicFramePr>
          <p:nvPr/>
        </p:nvGraphicFramePr>
        <p:xfrm>
          <a:off x="623455" y="1672937"/>
          <a:ext cx="10963712" cy="4707076"/>
        </p:xfrm>
        <a:graphic>
          <a:graphicData uri="http://schemas.openxmlformats.org/drawingml/2006/table">
            <a:tbl>
              <a:tblPr firstRow="1" bandRow="1"/>
              <a:tblGrid>
                <a:gridCol w="2202872">
                  <a:extLst>
                    <a:ext uri="{9D8B030D-6E8A-4147-A177-3AD203B41FA5}">
                      <a16:colId xmlns:a16="http://schemas.microsoft.com/office/drawing/2014/main" val="20000"/>
                    </a:ext>
                  </a:extLst>
                </a:gridCol>
                <a:gridCol w="1095105">
                  <a:extLst>
                    <a:ext uri="{9D8B030D-6E8A-4147-A177-3AD203B41FA5}">
                      <a16:colId xmlns:a16="http://schemas.microsoft.com/office/drawing/2014/main" val="20001"/>
                    </a:ext>
                  </a:extLst>
                </a:gridCol>
                <a:gridCol w="1095105">
                  <a:extLst>
                    <a:ext uri="{9D8B030D-6E8A-4147-A177-3AD203B41FA5}">
                      <a16:colId xmlns:a16="http://schemas.microsoft.com/office/drawing/2014/main" val="20002"/>
                    </a:ext>
                  </a:extLst>
                </a:gridCol>
                <a:gridCol w="1095105">
                  <a:extLst>
                    <a:ext uri="{9D8B030D-6E8A-4147-A177-3AD203B41FA5}">
                      <a16:colId xmlns:a16="http://schemas.microsoft.com/office/drawing/2014/main" val="20003"/>
                    </a:ext>
                  </a:extLst>
                </a:gridCol>
                <a:gridCol w="1095105">
                  <a:extLst>
                    <a:ext uri="{9D8B030D-6E8A-4147-A177-3AD203B41FA5}">
                      <a16:colId xmlns:a16="http://schemas.microsoft.com/office/drawing/2014/main" val="20004"/>
                    </a:ext>
                  </a:extLst>
                </a:gridCol>
                <a:gridCol w="1095105">
                  <a:extLst>
                    <a:ext uri="{9D8B030D-6E8A-4147-A177-3AD203B41FA5}">
                      <a16:colId xmlns:a16="http://schemas.microsoft.com/office/drawing/2014/main" val="20005"/>
                    </a:ext>
                  </a:extLst>
                </a:gridCol>
                <a:gridCol w="1095105">
                  <a:extLst>
                    <a:ext uri="{9D8B030D-6E8A-4147-A177-3AD203B41FA5}">
                      <a16:colId xmlns:a16="http://schemas.microsoft.com/office/drawing/2014/main" val="20006"/>
                    </a:ext>
                  </a:extLst>
                </a:gridCol>
                <a:gridCol w="1095105">
                  <a:extLst>
                    <a:ext uri="{9D8B030D-6E8A-4147-A177-3AD203B41FA5}">
                      <a16:colId xmlns:a16="http://schemas.microsoft.com/office/drawing/2014/main" val="20007"/>
                    </a:ext>
                  </a:extLst>
                </a:gridCol>
                <a:gridCol w="1095105">
                  <a:extLst>
                    <a:ext uri="{9D8B030D-6E8A-4147-A177-3AD203B41FA5}">
                      <a16:colId xmlns:a16="http://schemas.microsoft.com/office/drawing/2014/main" val="20008"/>
                    </a:ext>
                  </a:extLst>
                </a:gridCol>
              </a:tblGrid>
              <a:tr h="324368">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AU" sz="1000" b="1" kern="1200" baseline="0" dirty="0">
                          <a:solidFill>
                            <a:schemeClr val="bg1"/>
                          </a:solidFill>
                          <a:latin typeface="+mn-lt"/>
                          <a:ea typeface="Calibri"/>
                          <a:cs typeface="Times New Roman"/>
                        </a:rPr>
                        <a:t>Understand the Company’s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mn-lt"/>
                          <a:ea typeface="Calibri"/>
                          <a:cs typeface="Times New Roman"/>
                        </a:rPr>
                        <a:t>Understand the Change required to implement the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Define your Change Management Strategy</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Calibri"/>
                          <a:cs typeface="Times New Roman"/>
                        </a:rPr>
                        <a:t>Identify the Impact of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mmunication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Sponsorship Plan</a:t>
                      </a:r>
                      <a:endParaRPr kumimoji="0" lang="en-AU" sz="10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0633155"/>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Coach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894626"/>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Training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0349934"/>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Develop a Resistance Management Plan</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051291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Implement, Track &amp; Manage Progress</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0284333"/>
                  </a:ext>
                </a:extLst>
              </a:tr>
              <a:tr h="3984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FFFFFF"/>
                          </a:solidFill>
                          <a:effectLst/>
                          <a:uLnTx/>
                          <a:uFillTx/>
                          <a:latin typeface="+mn-lt"/>
                          <a:ea typeface="Calibri"/>
                          <a:cs typeface="Times New Roman"/>
                        </a:rPr>
                        <a:t>Reinforce the Change</a:t>
                      </a: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2723898"/>
                  </a:ext>
                </a:extLst>
              </a:tr>
            </a:tbl>
          </a:graphicData>
        </a:graphic>
      </p:graphicFrame>
      <p:sp>
        <p:nvSpPr>
          <p:cNvPr id="39" name="Rounded Rectangle 21">
            <a:extLst>
              <a:ext uri="{FF2B5EF4-FFF2-40B4-BE49-F238E27FC236}">
                <a16:creationId xmlns:a16="http://schemas.microsoft.com/office/drawing/2014/main" id="{82D871D3-3E43-4C8B-B400-AF95DF7EBACF}"/>
              </a:ext>
            </a:extLst>
          </p:cNvPr>
          <p:cNvSpPr/>
          <p:nvPr/>
        </p:nvSpPr>
        <p:spPr>
          <a:xfrm>
            <a:off x="2892106" y="2105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0" name="Rounded Rectangle 21">
            <a:extLst>
              <a:ext uri="{FF2B5EF4-FFF2-40B4-BE49-F238E27FC236}">
                <a16:creationId xmlns:a16="http://schemas.microsoft.com/office/drawing/2014/main" id="{BE66D6FD-2100-427E-B88B-E7F6D6D174CE}"/>
              </a:ext>
            </a:extLst>
          </p:cNvPr>
          <p:cNvSpPr/>
          <p:nvPr/>
        </p:nvSpPr>
        <p:spPr>
          <a:xfrm>
            <a:off x="3332944" y="2506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1" name="Rounded Rectangle 21">
            <a:extLst>
              <a:ext uri="{FF2B5EF4-FFF2-40B4-BE49-F238E27FC236}">
                <a16:creationId xmlns:a16="http://schemas.microsoft.com/office/drawing/2014/main" id="{DF4B53A2-01EB-4D6D-937B-0795B8163253}"/>
              </a:ext>
            </a:extLst>
          </p:cNvPr>
          <p:cNvSpPr/>
          <p:nvPr/>
        </p:nvSpPr>
        <p:spPr>
          <a:xfrm>
            <a:off x="3332944" y="2907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9" name="Rounded Rectangle 21">
            <a:extLst>
              <a:ext uri="{FF2B5EF4-FFF2-40B4-BE49-F238E27FC236}">
                <a16:creationId xmlns:a16="http://schemas.microsoft.com/office/drawing/2014/main" id="{77C4986A-501F-49B6-868B-8E0D429328E8}"/>
              </a:ext>
            </a:extLst>
          </p:cNvPr>
          <p:cNvSpPr/>
          <p:nvPr/>
        </p:nvSpPr>
        <p:spPr>
          <a:xfrm>
            <a:off x="3332944" y="3308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0" name="Rounded Rectangle 21">
            <a:extLst>
              <a:ext uri="{FF2B5EF4-FFF2-40B4-BE49-F238E27FC236}">
                <a16:creationId xmlns:a16="http://schemas.microsoft.com/office/drawing/2014/main" id="{75FC6706-32AF-4E80-A03B-DABA9C6837E1}"/>
              </a:ext>
            </a:extLst>
          </p:cNvPr>
          <p:cNvSpPr/>
          <p:nvPr/>
        </p:nvSpPr>
        <p:spPr>
          <a:xfrm>
            <a:off x="4116079" y="3709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1" name="Rounded Rectangle 21">
            <a:extLst>
              <a:ext uri="{FF2B5EF4-FFF2-40B4-BE49-F238E27FC236}">
                <a16:creationId xmlns:a16="http://schemas.microsoft.com/office/drawing/2014/main" id="{470E58F3-3DF4-4A3B-9ABC-5D8EA4B37C71}"/>
              </a:ext>
            </a:extLst>
          </p:cNvPr>
          <p:cNvSpPr/>
          <p:nvPr/>
        </p:nvSpPr>
        <p:spPr>
          <a:xfrm>
            <a:off x="4116079" y="4110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2" name="Rounded Rectangle 21">
            <a:extLst>
              <a:ext uri="{FF2B5EF4-FFF2-40B4-BE49-F238E27FC236}">
                <a16:creationId xmlns:a16="http://schemas.microsoft.com/office/drawing/2014/main" id="{D418F7C2-F8DF-4C80-BBCB-5B28A7641956}"/>
              </a:ext>
            </a:extLst>
          </p:cNvPr>
          <p:cNvSpPr/>
          <p:nvPr/>
        </p:nvSpPr>
        <p:spPr>
          <a:xfrm>
            <a:off x="4116079" y="4511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3" name="Rounded Rectangle 21">
            <a:extLst>
              <a:ext uri="{FF2B5EF4-FFF2-40B4-BE49-F238E27FC236}">
                <a16:creationId xmlns:a16="http://schemas.microsoft.com/office/drawing/2014/main" id="{AACE2542-3AB2-4919-A686-612D279DA965}"/>
              </a:ext>
            </a:extLst>
          </p:cNvPr>
          <p:cNvSpPr/>
          <p:nvPr/>
        </p:nvSpPr>
        <p:spPr>
          <a:xfrm>
            <a:off x="4116079" y="4912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4" name="Rounded Rectangle 21">
            <a:extLst>
              <a:ext uri="{FF2B5EF4-FFF2-40B4-BE49-F238E27FC236}">
                <a16:creationId xmlns:a16="http://schemas.microsoft.com/office/drawing/2014/main" id="{48BA92E7-9ED8-4E72-9F1C-F2DEF838E461}"/>
              </a:ext>
            </a:extLst>
          </p:cNvPr>
          <p:cNvSpPr/>
          <p:nvPr/>
        </p:nvSpPr>
        <p:spPr>
          <a:xfrm>
            <a:off x="4116079" y="5313155"/>
            <a:ext cx="534990"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5" name="Rounded Rectangle 21">
            <a:extLst>
              <a:ext uri="{FF2B5EF4-FFF2-40B4-BE49-F238E27FC236}">
                <a16:creationId xmlns:a16="http://schemas.microsoft.com/office/drawing/2014/main" id="{DD2A0D6C-8D00-4EE1-BA77-D646EC028E8F}"/>
              </a:ext>
            </a:extLst>
          </p:cNvPr>
          <p:cNvSpPr/>
          <p:nvPr/>
        </p:nvSpPr>
        <p:spPr>
          <a:xfrm>
            <a:off x="4745221" y="5714155"/>
            <a:ext cx="3615429"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6" name="Rounded Rectangle 21">
            <a:extLst>
              <a:ext uri="{FF2B5EF4-FFF2-40B4-BE49-F238E27FC236}">
                <a16:creationId xmlns:a16="http://schemas.microsoft.com/office/drawing/2014/main" id="{72BFA308-394F-42E0-89BF-BBB3DE65B748}"/>
              </a:ext>
            </a:extLst>
          </p:cNvPr>
          <p:cNvSpPr/>
          <p:nvPr/>
        </p:nvSpPr>
        <p:spPr>
          <a:xfrm>
            <a:off x="8492463" y="6115154"/>
            <a:ext cx="2937536" cy="1524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17" name="Rounded Rectangular Callout 19">
            <a:extLst>
              <a:ext uri="{FF2B5EF4-FFF2-40B4-BE49-F238E27FC236}">
                <a16:creationId xmlns:a16="http://schemas.microsoft.com/office/drawing/2014/main" id="{18260830-3C9E-434A-9FF3-04977914FEC2}"/>
              </a:ext>
            </a:extLst>
          </p:cNvPr>
          <p:cNvSpPr/>
          <p:nvPr/>
        </p:nvSpPr>
        <p:spPr bwMode="auto">
          <a:xfrm>
            <a:off x="7088506" y="2246777"/>
            <a:ext cx="3352800" cy="1320755"/>
          </a:xfrm>
          <a:prstGeom prst="wedgeRoundRectCallout">
            <a:avLst>
              <a:gd name="adj1" fmla="val -63875"/>
              <a:gd name="adj2" fmla="val 4660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ry to make it as simple as possible. What is too complex is usually never implemented</a:t>
            </a:r>
          </a:p>
        </p:txBody>
      </p:sp>
      <p:sp>
        <p:nvSpPr>
          <p:cNvPr id="18" name="Rounded Rectangular Callout 19">
            <a:extLst>
              <a:ext uri="{FF2B5EF4-FFF2-40B4-BE49-F238E27FC236}">
                <a16:creationId xmlns:a16="http://schemas.microsoft.com/office/drawing/2014/main" id="{19E1B10D-3871-496C-808E-2E8B86293B64}"/>
              </a:ext>
            </a:extLst>
          </p:cNvPr>
          <p:cNvSpPr/>
          <p:nvPr/>
        </p:nvSpPr>
        <p:spPr bwMode="auto">
          <a:xfrm>
            <a:off x="7088506" y="4108878"/>
            <a:ext cx="3352800" cy="1320755"/>
          </a:xfrm>
          <a:prstGeom prst="wedgeRoundRectCallout">
            <a:avLst>
              <a:gd name="adj1" fmla="val -63875"/>
              <a:gd name="adj2" fmla="val 4660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next slides will provide you some additional Plan templates. Pick up the one that best suits your needs.</a:t>
            </a:r>
          </a:p>
        </p:txBody>
      </p:sp>
      <p:sp>
        <p:nvSpPr>
          <p:cNvPr id="2" name="Rectangle: Rounded Corners 1">
            <a:extLst>
              <a:ext uri="{FF2B5EF4-FFF2-40B4-BE49-F238E27FC236}">
                <a16:creationId xmlns:a16="http://schemas.microsoft.com/office/drawing/2014/main" id="{ED6564CC-2ED3-A4FF-B03D-E17DEC5C2B08}"/>
              </a:ext>
            </a:extLst>
          </p:cNvPr>
          <p:cNvSpPr/>
          <p:nvPr/>
        </p:nvSpPr>
        <p:spPr>
          <a:xfrm>
            <a:off x="10191750" y="341632"/>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a:t>
            </a:r>
          </a:p>
        </p:txBody>
      </p:sp>
    </p:spTree>
    <p:extLst>
      <p:ext uri="{BB962C8B-B14F-4D97-AF65-F5344CB8AC3E}">
        <p14:creationId xmlns:p14="http://schemas.microsoft.com/office/powerpoint/2010/main" val="2573346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graphicFrame>
        <p:nvGraphicFramePr>
          <p:cNvPr id="19" name="Table 18">
            <a:extLst>
              <a:ext uri="{FF2B5EF4-FFF2-40B4-BE49-F238E27FC236}">
                <a16:creationId xmlns:a16="http://schemas.microsoft.com/office/drawing/2014/main" id="{0D634903-E4B3-4951-A42D-FFCCB559DA4B}"/>
              </a:ext>
            </a:extLst>
          </p:cNvPr>
          <p:cNvGraphicFramePr>
            <a:graphicFrameLocks noGrp="1"/>
          </p:cNvGraphicFramePr>
          <p:nvPr/>
        </p:nvGraphicFramePr>
        <p:xfrm>
          <a:off x="607868" y="1953004"/>
          <a:ext cx="10979295" cy="4458188"/>
        </p:xfrm>
        <a:graphic>
          <a:graphicData uri="http://schemas.openxmlformats.org/drawingml/2006/table">
            <a:tbl>
              <a:tblPr firstRow="1" bandRow="1">
                <a:tableStyleId>{5C22544A-7EE6-4342-B048-85BDC9FD1C3A}</a:tableStyleId>
              </a:tblPr>
              <a:tblGrid>
                <a:gridCol w="937912">
                  <a:extLst>
                    <a:ext uri="{9D8B030D-6E8A-4147-A177-3AD203B41FA5}">
                      <a16:colId xmlns:a16="http://schemas.microsoft.com/office/drawing/2014/main" val="20000"/>
                    </a:ext>
                  </a:extLst>
                </a:gridCol>
                <a:gridCol w="937912">
                  <a:extLst>
                    <a:ext uri="{9D8B030D-6E8A-4147-A177-3AD203B41FA5}">
                      <a16:colId xmlns:a16="http://schemas.microsoft.com/office/drawing/2014/main" val="20001"/>
                    </a:ext>
                  </a:extLst>
                </a:gridCol>
                <a:gridCol w="937912">
                  <a:extLst>
                    <a:ext uri="{9D8B030D-6E8A-4147-A177-3AD203B41FA5}">
                      <a16:colId xmlns:a16="http://schemas.microsoft.com/office/drawing/2014/main" val="20002"/>
                    </a:ext>
                  </a:extLst>
                </a:gridCol>
                <a:gridCol w="874701">
                  <a:extLst>
                    <a:ext uri="{9D8B030D-6E8A-4147-A177-3AD203B41FA5}">
                      <a16:colId xmlns:a16="http://schemas.microsoft.com/office/drawing/2014/main" val="20003"/>
                    </a:ext>
                  </a:extLst>
                </a:gridCol>
                <a:gridCol w="912920">
                  <a:extLst>
                    <a:ext uri="{9D8B030D-6E8A-4147-A177-3AD203B41FA5}">
                      <a16:colId xmlns:a16="http://schemas.microsoft.com/office/drawing/2014/main" val="20004"/>
                    </a:ext>
                  </a:extLst>
                </a:gridCol>
                <a:gridCol w="911134">
                  <a:extLst>
                    <a:ext uri="{9D8B030D-6E8A-4147-A177-3AD203B41FA5}">
                      <a16:colId xmlns:a16="http://schemas.microsoft.com/office/drawing/2014/main" val="20005"/>
                    </a:ext>
                  </a:extLst>
                </a:gridCol>
                <a:gridCol w="911134">
                  <a:extLst>
                    <a:ext uri="{9D8B030D-6E8A-4147-A177-3AD203B41FA5}">
                      <a16:colId xmlns:a16="http://schemas.microsoft.com/office/drawing/2014/main" val="20006"/>
                    </a:ext>
                  </a:extLst>
                </a:gridCol>
                <a:gridCol w="911134">
                  <a:extLst>
                    <a:ext uri="{9D8B030D-6E8A-4147-A177-3AD203B41FA5}">
                      <a16:colId xmlns:a16="http://schemas.microsoft.com/office/drawing/2014/main" val="20007"/>
                    </a:ext>
                  </a:extLst>
                </a:gridCol>
                <a:gridCol w="911134">
                  <a:extLst>
                    <a:ext uri="{9D8B030D-6E8A-4147-A177-3AD203B41FA5}">
                      <a16:colId xmlns:a16="http://schemas.microsoft.com/office/drawing/2014/main" val="20008"/>
                    </a:ext>
                  </a:extLst>
                </a:gridCol>
                <a:gridCol w="911134">
                  <a:extLst>
                    <a:ext uri="{9D8B030D-6E8A-4147-A177-3AD203B41FA5}">
                      <a16:colId xmlns:a16="http://schemas.microsoft.com/office/drawing/2014/main" val="20009"/>
                    </a:ext>
                  </a:extLst>
                </a:gridCol>
                <a:gridCol w="911134">
                  <a:extLst>
                    <a:ext uri="{9D8B030D-6E8A-4147-A177-3AD203B41FA5}">
                      <a16:colId xmlns:a16="http://schemas.microsoft.com/office/drawing/2014/main" val="20010"/>
                    </a:ext>
                  </a:extLst>
                </a:gridCol>
                <a:gridCol w="911134">
                  <a:extLst>
                    <a:ext uri="{9D8B030D-6E8A-4147-A177-3AD203B41FA5}">
                      <a16:colId xmlns:a16="http://schemas.microsoft.com/office/drawing/2014/main" val="20011"/>
                    </a:ext>
                  </a:extLst>
                </a:gridCol>
              </a:tblGrid>
              <a:tr h="247534">
                <a:tc gridSpan="12">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1000" b="1" dirty="0">
                          <a:solidFill>
                            <a:schemeClr val="tx1"/>
                          </a:solidFill>
                        </a:rPr>
                        <a:t>2017</a:t>
                      </a:r>
                    </a:p>
                  </a:txBody>
                  <a:tcPr marL="35995" marR="35995" marT="45716" marB="4571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hMerge="1">
                  <a:txBody>
                    <a:bodyPr/>
                    <a:lstStyle/>
                    <a:p>
                      <a:pPr algn="ct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5998" marR="35998" marT="45716" marB="45716" anchor="ctr">
                    <a:solidFill>
                      <a:schemeClr val="tx2">
                        <a:lumMod val="75000"/>
                      </a:schemeClr>
                    </a:solidFill>
                  </a:tcPr>
                </a:tc>
                <a:extLst>
                  <a:ext uri="{0D108BD9-81ED-4DB2-BD59-A6C34878D82A}">
                    <a16:rowId xmlns:a16="http://schemas.microsoft.com/office/drawing/2014/main" val="10000"/>
                  </a:ext>
                </a:extLst>
              </a:tr>
              <a:tr h="232062">
                <a:tc>
                  <a:txBody>
                    <a:bodyPr/>
                    <a:lstStyle/>
                    <a:p>
                      <a:pPr algn="ctr"/>
                      <a:r>
                        <a:rPr lang="en-US" sz="900" b="0" i="1" noProof="0" dirty="0">
                          <a:solidFill>
                            <a:schemeClr val="tx1"/>
                          </a:solidFill>
                        </a:rPr>
                        <a:t>January</a:t>
                      </a:r>
                    </a:p>
                  </a:txBody>
                  <a:tcPr marL="35995" marR="35995" marT="45716" marB="45716" anchor="ctr">
                    <a:lnL w="952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sz="900" b="0" i="1" noProof="0" dirty="0">
                          <a:solidFill>
                            <a:schemeClr val="tx1"/>
                          </a:solidFill>
                        </a:rPr>
                        <a:t>Feb</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March</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April</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Ma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June</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Jul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August</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September</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October</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November</a:t>
                      </a:r>
                    </a:p>
                  </a:txBody>
                  <a:tcPr marL="35995" marR="35995" marT="45716" marB="45716" anchor="ctr">
                    <a:solidFill>
                      <a:schemeClr val="bg1">
                        <a:lumMod val="85000"/>
                      </a:schemeClr>
                    </a:solidFill>
                  </a:tcPr>
                </a:tc>
                <a:tc>
                  <a:txBody>
                    <a:bodyPr/>
                    <a:lstStyle/>
                    <a:p>
                      <a:pPr algn="ctr"/>
                      <a:r>
                        <a:rPr lang="en-US" sz="900" b="0" i="1" noProof="0" dirty="0">
                          <a:solidFill>
                            <a:schemeClr val="tx1"/>
                          </a:solidFill>
                        </a:rPr>
                        <a:t>December</a:t>
                      </a:r>
                    </a:p>
                  </a:txBody>
                  <a:tcPr marL="35995" marR="35995" marT="45716" marB="45716" anchor="ctr">
                    <a:lnR w="9525"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1"/>
                  </a:ext>
                </a:extLst>
              </a:tr>
              <a:tr h="3978592">
                <a:tc>
                  <a:txBody>
                    <a:bodyPr/>
                    <a:lstStyle/>
                    <a:p>
                      <a:endParaRPr lang="en-US" sz="1600" noProof="0"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sp>
        <p:nvSpPr>
          <p:cNvPr id="20" name="AutoShape 72">
            <a:extLst>
              <a:ext uri="{FF2B5EF4-FFF2-40B4-BE49-F238E27FC236}">
                <a16:creationId xmlns:a16="http://schemas.microsoft.com/office/drawing/2014/main" id="{95B39C99-EA1A-4FB5-9BE0-0CAEDCB39B35}"/>
              </a:ext>
            </a:extLst>
          </p:cNvPr>
          <p:cNvSpPr>
            <a:spLocks noChangeArrowheads="1"/>
          </p:cNvSpPr>
          <p:nvPr/>
        </p:nvSpPr>
        <p:spPr bwMode="auto">
          <a:xfrm>
            <a:off x="684269" y="2705479"/>
            <a:ext cx="3088387"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fr-FR" sz="1100" b="1" dirty="0">
                <a:solidFill>
                  <a:schemeClr val="bg1"/>
                </a:solidFill>
              </a:rPr>
              <a:t>Phase 1</a:t>
            </a:r>
          </a:p>
        </p:txBody>
      </p:sp>
      <p:sp>
        <p:nvSpPr>
          <p:cNvPr id="21" name="Isosceles Triangle 20">
            <a:extLst>
              <a:ext uri="{FF2B5EF4-FFF2-40B4-BE49-F238E27FC236}">
                <a16:creationId xmlns:a16="http://schemas.microsoft.com/office/drawing/2014/main" id="{E22782CC-AFB9-449B-9BAF-AEDA2E9B2AB0}"/>
              </a:ext>
            </a:extLst>
          </p:cNvPr>
          <p:cNvSpPr/>
          <p:nvPr/>
        </p:nvSpPr>
        <p:spPr bwMode="auto">
          <a:xfrm>
            <a:off x="3614973" y="3208717"/>
            <a:ext cx="361645" cy="274637"/>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2" name="TextBox 36">
            <a:extLst>
              <a:ext uri="{FF2B5EF4-FFF2-40B4-BE49-F238E27FC236}">
                <a16:creationId xmlns:a16="http://schemas.microsoft.com/office/drawing/2014/main" id="{23B383A6-F4FD-4178-8D3A-F96E077C9D16}"/>
              </a:ext>
            </a:extLst>
          </p:cNvPr>
          <p:cNvSpPr txBox="1">
            <a:spLocks noChangeArrowheads="1"/>
          </p:cNvSpPr>
          <p:nvPr/>
        </p:nvSpPr>
        <p:spPr bwMode="auto">
          <a:xfrm>
            <a:off x="3942987" y="3256342"/>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2</a:t>
            </a:r>
          </a:p>
        </p:txBody>
      </p:sp>
      <p:sp>
        <p:nvSpPr>
          <p:cNvPr id="23" name="AutoShape 72">
            <a:extLst>
              <a:ext uri="{FF2B5EF4-FFF2-40B4-BE49-F238E27FC236}">
                <a16:creationId xmlns:a16="http://schemas.microsoft.com/office/drawing/2014/main" id="{2E0F3C0A-A86D-4B10-9E1B-07D4170F9DB0}"/>
              </a:ext>
            </a:extLst>
          </p:cNvPr>
          <p:cNvSpPr>
            <a:spLocks noChangeArrowheads="1"/>
          </p:cNvSpPr>
          <p:nvPr/>
        </p:nvSpPr>
        <p:spPr bwMode="auto">
          <a:xfrm>
            <a:off x="3827318" y="4099513"/>
            <a:ext cx="3197915"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2</a:t>
            </a:r>
          </a:p>
        </p:txBody>
      </p:sp>
      <p:sp>
        <p:nvSpPr>
          <p:cNvPr id="24" name="AutoShape 72">
            <a:extLst>
              <a:ext uri="{FF2B5EF4-FFF2-40B4-BE49-F238E27FC236}">
                <a16:creationId xmlns:a16="http://schemas.microsoft.com/office/drawing/2014/main" id="{F32C073C-F391-461C-AD8F-19C9D37DC0FE}"/>
              </a:ext>
            </a:extLst>
          </p:cNvPr>
          <p:cNvSpPr>
            <a:spLocks noChangeArrowheads="1"/>
          </p:cNvSpPr>
          <p:nvPr/>
        </p:nvSpPr>
        <p:spPr bwMode="auto">
          <a:xfrm>
            <a:off x="7126892" y="5357323"/>
            <a:ext cx="3311238"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3</a:t>
            </a:r>
          </a:p>
        </p:txBody>
      </p:sp>
      <p:sp>
        <p:nvSpPr>
          <p:cNvPr id="25" name="Isosceles Triangle 24">
            <a:extLst>
              <a:ext uri="{FF2B5EF4-FFF2-40B4-BE49-F238E27FC236}">
                <a16:creationId xmlns:a16="http://schemas.microsoft.com/office/drawing/2014/main" id="{A6FA2B19-EE2A-4C4F-AD44-CAB7D53284A5}"/>
              </a:ext>
            </a:extLst>
          </p:cNvPr>
          <p:cNvSpPr/>
          <p:nvPr/>
        </p:nvSpPr>
        <p:spPr bwMode="auto">
          <a:xfrm>
            <a:off x="1411662" y="3208717"/>
            <a:ext cx="361645" cy="274637"/>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6" name="TextBox 12">
            <a:extLst>
              <a:ext uri="{FF2B5EF4-FFF2-40B4-BE49-F238E27FC236}">
                <a16:creationId xmlns:a16="http://schemas.microsoft.com/office/drawing/2014/main" id="{ADE4D475-026C-40FD-BCAB-E5A301A2973E}"/>
              </a:ext>
            </a:extLst>
          </p:cNvPr>
          <p:cNvSpPr txBox="1">
            <a:spLocks noChangeArrowheads="1"/>
          </p:cNvSpPr>
          <p:nvPr/>
        </p:nvSpPr>
        <p:spPr bwMode="auto">
          <a:xfrm>
            <a:off x="1739675" y="3256342"/>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1</a:t>
            </a:r>
          </a:p>
        </p:txBody>
      </p:sp>
      <p:sp>
        <p:nvSpPr>
          <p:cNvPr id="27" name="Isosceles Triangle 26">
            <a:extLst>
              <a:ext uri="{FF2B5EF4-FFF2-40B4-BE49-F238E27FC236}">
                <a16:creationId xmlns:a16="http://schemas.microsoft.com/office/drawing/2014/main" id="{74C86F62-EDED-4094-8B2F-CA0A9A480A0C}"/>
              </a:ext>
            </a:extLst>
          </p:cNvPr>
          <p:cNvSpPr/>
          <p:nvPr/>
        </p:nvSpPr>
        <p:spPr bwMode="auto">
          <a:xfrm>
            <a:off x="6878132" y="4715254"/>
            <a:ext cx="361643"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8" name="TextBox 14">
            <a:extLst>
              <a:ext uri="{FF2B5EF4-FFF2-40B4-BE49-F238E27FC236}">
                <a16:creationId xmlns:a16="http://schemas.microsoft.com/office/drawing/2014/main" id="{66087BD6-EE29-4BC1-B4E9-5093DE0C1595}"/>
              </a:ext>
            </a:extLst>
          </p:cNvPr>
          <p:cNvSpPr txBox="1">
            <a:spLocks noChangeArrowheads="1"/>
          </p:cNvSpPr>
          <p:nvPr/>
        </p:nvSpPr>
        <p:spPr bwMode="auto">
          <a:xfrm>
            <a:off x="7206146" y="47628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4</a:t>
            </a:r>
          </a:p>
        </p:txBody>
      </p:sp>
      <p:sp>
        <p:nvSpPr>
          <p:cNvPr id="29" name="Isosceles Triangle 28">
            <a:extLst>
              <a:ext uri="{FF2B5EF4-FFF2-40B4-BE49-F238E27FC236}">
                <a16:creationId xmlns:a16="http://schemas.microsoft.com/office/drawing/2014/main" id="{41141D5B-4A6D-4CD1-8CBC-4A4A81833935}"/>
              </a:ext>
            </a:extLst>
          </p:cNvPr>
          <p:cNvSpPr/>
          <p:nvPr/>
        </p:nvSpPr>
        <p:spPr bwMode="auto">
          <a:xfrm>
            <a:off x="4547304" y="47152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0" name="TextBox 16">
            <a:extLst>
              <a:ext uri="{FF2B5EF4-FFF2-40B4-BE49-F238E27FC236}">
                <a16:creationId xmlns:a16="http://schemas.microsoft.com/office/drawing/2014/main" id="{1E619BAD-D9D2-40B4-905B-9A9E0C02F99A}"/>
              </a:ext>
            </a:extLst>
          </p:cNvPr>
          <p:cNvSpPr txBox="1">
            <a:spLocks noChangeArrowheads="1"/>
          </p:cNvSpPr>
          <p:nvPr/>
        </p:nvSpPr>
        <p:spPr bwMode="auto">
          <a:xfrm>
            <a:off x="4875318" y="47628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3</a:t>
            </a:r>
          </a:p>
        </p:txBody>
      </p:sp>
      <p:sp>
        <p:nvSpPr>
          <p:cNvPr id="31" name="Isosceles Triangle 30">
            <a:extLst>
              <a:ext uri="{FF2B5EF4-FFF2-40B4-BE49-F238E27FC236}">
                <a16:creationId xmlns:a16="http://schemas.microsoft.com/office/drawing/2014/main" id="{019FABE7-1B5F-47E3-8D72-E8050EAC727E}"/>
              </a:ext>
            </a:extLst>
          </p:cNvPr>
          <p:cNvSpPr/>
          <p:nvPr/>
        </p:nvSpPr>
        <p:spPr bwMode="auto">
          <a:xfrm>
            <a:off x="10237449" y="60106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2" name="TextBox 18">
            <a:extLst>
              <a:ext uri="{FF2B5EF4-FFF2-40B4-BE49-F238E27FC236}">
                <a16:creationId xmlns:a16="http://schemas.microsoft.com/office/drawing/2014/main" id="{EA3B82FA-79B1-4A62-98A4-175DFA62742A}"/>
              </a:ext>
            </a:extLst>
          </p:cNvPr>
          <p:cNvSpPr txBox="1">
            <a:spLocks noChangeArrowheads="1"/>
          </p:cNvSpPr>
          <p:nvPr/>
        </p:nvSpPr>
        <p:spPr bwMode="auto">
          <a:xfrm>
            <a:off x="10565463" y="60582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6</a:t>
            </a:r>
          </a:p>
        </p:txBody>
      </p:sp>
      <p:sp>
        <p:nvSpPr>
          <p:cNvPr id="33" name="Isosceles Triangle 32">
            <a:extLst>
              <a:ext uri="{FF2B5EF4-FFF2-40B4-BE49-F238E27FC236}">
                <a16:creationId xmlns:a16="http://schemas.microsoft.com/office/drawing/2014/main" id="{34A7F8AB-89D1-47F5-961D-4B70A9B72493}"/>
              </a:ext>
            </a:extLst>
          </p:cNvPr>
          <p:cNvSpPr/>
          <p:nvPr/>
        </p:nvSpPr>
        <p:spPr bwMode="auto">
          <a:xfrm>
            <a:off x="7929616" y="60106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4" name="TextBox 20">
            <a:extLst>
              <a:ext uri="{FF2B5EF4-FFF2-40B4-BE49-F238E27FC236}">
                <a16:creationId xmlns:a16="http://schemas.microsoft.com/office/drawing/2014/main" id="{8A18F95F-3863-4F4A-8A0B-2287C039DFE1}"/>
              </a:ext>
            </a:extLst>
          </p:cNvPr>
          <p:cNvSpPr txBox="1">
            <a:spLocks noChangeArrowheads="1"/>
          </p:cNvSpPr>
          <p:nvPr/>
        </p:nvSpPr>
        <p:spPr bwMode="auto">
          <a:xfrm>
            <a:off x="8257630" y="60582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5</a:t>
            </a:r>
          </a:p>
        </p:txBody>
      </p:sp>
      <p:sp>
        <p:nvSpPr>
          <p:cNvPr id="35" name="TextBox 34">
            <a:extLst>
              <a:ext uri="{FF2B5EF4-FFF2-40B4-BE49-F238E27FC236}">
                <a16:creationId xmlns:a16="http://schemas.microsoft.com/office/drawing/2014/main" id="{FE39EEFD-3D75-4C29-B54B-8428A6A6CEE1}"/>
              </a:ext>
            </a:extLst>
          </p:cNvPr>
          <p:cNvSpPr txBox="1"/>
          <p:nvPr/>
        </p:nvSpPr>
        <p:spPr>
          <a:xfrm>
            <a:off x="4535415" y="1543625"/>
            <a:ext cx="3124200" cy="338554"/>
          </a:xfrm>
          <a:prstGeom prst="rect">
            <a:avLst/>
          </a:prstGeom>
          <a:noFill/>
        </p:spPr>
        <p:txBody>
          <a:bodyPr wrap="square" rtlCol="0">
            <a:spAutoFit/>
          </a:bodyPr>
          <a:lstStyle/>
          <a:p>
            <a:pPr algn="ctr"/>
            <a:r>
              <a:rPr lang="en-US" sz="1600" b="1" dirty="0"/>
              <a:t>Split by Month</a:t>
            </a:r>
          </a:p>
        </p:txBody>
      </p:sp>
      <p:sp>
        <p:nvSpPr>
          <p:cNvPr id="2" name="Rectangle: Rounded Corners 1">
            <a:extLst>
              <a:ext uri="{FF2B5EF4-FFF2-40B4-BE49-F238E27FC236}">
                <a16:creationId xmlns:a16="http://schemas.microsoft.com/office/drawing/2014/main" id="{59EB470B-470A-1049-A9F7-ECDEA486CE7B}"/>
              </a:ext>
            </a:extLst>
          </p:cNvPr>
          <p:cNvSpPr/>
          <p:nvPr/>
        </p:nvSpPr>
        <p:spPr>
          <a:xfrm>
            <a:off x="10191750" y="341632"/>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8008784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a:extLst>
              <a:ext uri="{FF2B5EF4-FFF2-40B4-BE49-F238E27FC236}">
                <a16:creationId xmlns:a16="http://schemas.microsoft.com/office/drawing/2014/main" id="{22B82399-5A32-4A64-BCB3-429ACE9CFA4B}"/>
              </a:ext>
            </a:extLst>
          </p:cNvPr>
          <p:cNvGraphicFramePr>
            <a:graphicFrameLocks noGrp="1"/>
          </p:cNvGraphicFramePr>
          <p:nvPr/>
        </p:nvGraphicFramePr>
        <p:xfrm>
          <a:off x="607868" y="1953005"/>
          <a:ext cx="10976266" cy="4473158"/>
        </p:xfrm>
        <a:graphic>
          <a:graphicData uri="http://schemas.openxmlformats.org/drawingml/2006/table">
            <a:tbl>
              <a:tblPr firstRow="1" bandRow="1">
                <a:tableStyleId>{5C22544A-7EE6-4342-B048-85BDC9FD1C3A}</a:tableStyleId>
              </a:tblPr>
              <a:tblGrid>
                <a:gridCol w="750748">
                  <a:extLst>
                    <a:ext uri="{9D8B030D-6E8A-4147-A177-3AD203B41FA5}">
                      <a16:colId xmlns:a16="http://schemas.microsoft.com/office/drawing/2014/main" val="20000"/>
                    </a:ext>
                  </a:extLst>
                </a:gridCol>
                <a:gridCol w="750748">
                  <a:extLst>
                    <a:ext uri="{9D8B030D-6E8A-4147-A177-3AD203B41FA5}">
                      <a16:colId xmlns:a16="http://schemas.microsoft.com/office/drawing/2014/main" val="20001"/>
                    </a:ext>
                  </a:extLst>
                </a:gridCol>
                <a:gridCol w="750748">
                  <a:extLst>
                    <a:ext uri="{9D8B030D-6E8A-4147-A177-3AD203B41FA5}">
                      <a16:colId xmlns:a16="http://schemas.microsoft.com/office/drawing/2014/main" val="20002"/>
                    </a:ext>
                  </a:extLst>
                </a:gridCol>
                <a:gridCol w="700150">
                  <a:extLst>
                    <a:ext uri="{9D8B030D-6E8A-4147-A177-3AD203B41FA5}">
                      <a16:colId xmlns:a16="http://schemas.microsoft.com/office/drawing/2014/main" val="20003"/>
                    </a:ext>
                  </a:extLst>
                </a:gridCol>
                <a:gridCol w="730742">
                  <a:extLst>
                    <a:ext uri="{9D8B030D-6E8A-4147-A177-3AD203B41FA5}">
                      <a16:colId xmlns:a16="http://schemas.microsoft.com/office/drawing/2014/main" val="20004"/>
                    </a:ext>
                  </a:extLst>
                </a:gridCol>
                <a:gridCol w="729313">
                  <a:extLst>
                    <a:ext uri="{9D8B030D-6E8A-4147-A177-3AD203B41FA5}">
                      <a16:colId xmlns:a16="http://schemas.microsoft.com/office/drawing/2014/main" val="20005"/>
                    </a:ext>
                  </a:extLst>
                </a:gridCol>
                <a:gridCol w="729313">
                  <a:extLst>
                    <a:ext uri="{9D8B030D-6E8A-4147-A177-3AD203B41FA5}">
                      <a16:colId xmlns:a16="http://schemas.microsoft.com/office/drawing/2014/main" val="20006"/>
                    </a:ext>
                  </a:extLst>
                </a:gridCol>
                <a:gridCol w="729313">
                  <a:extLst>
                    <a:ext uri="{9D8B030D-6E8A-4147-A177-3AD203B41FA5}">
                      <a16:colId xmlns:a16="http://schemas.microsoft.com/office/drawing/2014/main" val="20007"/>
                    </a:ext>
                  </a:extLst>
                </a:gridCol>
                <a:gridCol w="729313">
                  <a:extLst>
                    <a:ext uri="{9D8B030D-6E8A-4147-A177-3AD203B41FA5}">
                      <a16:colId xmlns:a16="http://schemas.microsoft.com/office/drawing/2014/main" val="20008"/>
                    </a:ext>
                  </a:extLst>
                </a:gridCol>
                <a:gridCol w="729313">
                  <a:extLst>
                    <a:ext uri="{9D8B030D-6E8A-4147-A177-3AD203B41FA5}">
                      <a16:colId xmlns:a16="http://schemas.microsoft.com/office/drawing/2014/main" val="20009"/>
                    </a:ext>
                  </a:extLst>
                </a:gridCol>
                <a:gridCol w="729313">
                  <a:extLst>
                    <a:ext uri="{9D8B030D-6E8A-4147-A177-3AD203B41FA5}">
                      <a16:colId xmlns:a16="http://schemas.microsoft.com/office/drawing/2014/main" val="20010"/>
                    </a:ext>
                  </a:extLst>
                </a:gridCol>
                <a:gridCol w="729313">
                  <a:extLst>
                    <a:ext uri="{9D8B030D-6E8A-4147-A177-3AD203B41FA5}">
                      <a16:colId xmlns:a16="http://schemas.microsoft.com/office/drawing/2014/main" val="20011"/>
                    </a:ext>
                  </a:extLst>
                </a:gridCol>
                <a:gridCol w="729313">
                  <a:extLst>
                    <a:ext uri="{9D8B030D-6E8A-4147-A177-3AD203B41FA5}">
                      <a16:colId xmlns:a16="http://schemas.microsoft.com/office/drawing/2014/main" val="20012"/>
                    </a:ext>
                  </a:extLst>
                </a:gridCol>
                <a:gridCol w="729313">
                  <a:extLst>
                    <a:ext uri="{9D8B030D-6E8A-4147-A177-3AD203B41FA5}">
                      <a16:colId xmlns:a16="http://schemas.microsoft.com/office/drawing/2014/main" val="20013"/>
                    </a:ext>
                  </a:extLst>
                </a:gridCol>
                <a:gridCol w="729313">
                  <a:extLst>
                    <a:ext uri="{9D8B030D-6E8A-4147-A177-3AD203B41FA5}">
                      <a16:colId xmlns:a16="http://schemas.microsoft.com/office/drawing/2014/main" val="20014"/>
                    </a:ext>
                  </a:extLst>
                </a:gridCol>
              </a:tblGrid>
              <a:tr h="238025">
                <a:tc gridSpan="11">
                  <a:txBody>
                    <a:bodyPr/>
                    <a:lstStyle/>
                    <a:p>
                      <a:pPr algn="ctr"/>
                      <a:r>
                        <a:rPr lang="fr-FR" sz="1000" b="1" dirty="0">
                          <a:solidFill>
                            <a:schemeClr val="bg1"/>
                          </a:solidFill>
                        </a:rPr>
                        <a:t>2020</a:t>
                      </a:r>
                    </a:p>
                  </a:txBody>
                  <a:tcPr marL="35995" marR="35995" marT="45716" marB="45716"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chemeClr val="tx1"/>
                    </a:solidFill>
                  </a:tcPr>
                </a:tc>
                <a:tc hMerge="1">
                  <a:txBody>
                    <a:bodyPr/>
                    <a:lstStyle/>
                    <a:p>
                      <a:pPr algn="ct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gridSpan="4">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1000" b="1" dirty="0">
                          <a:solidFill>
                            <a:schemeClr val="bg1"/>
                          </a:solidFill>
                        </a:rPr>
                        <a:t>2021</a:t>
                      </a:r>
                    </a:p>
                  </a:txBody>
                  <a:tcPr marL="35995" marR="35995" marT="45716" marB="45716"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extLst>
                  <a:ext uri="{0D108BD9-81ED-4DB2-BD59-A6C34878D82A}">
                    <a16:rowId xmlns:a16="http://schemas.microsoft.com/office/drawing/2014/main" val="10000"/>
                  </a:ext>
                </a:extLst>
              </a:tr>
              <a:tr h="219429">
                <a:tc>
                  <a:txBody>
                    <a:bodyPr/>
                    <a:lstStyle/>
                    <a:p>
                      <a:pPr algn="ctr"/>
                      <a:r>
                        <a:rPr lang="fr-FR" sz="900" b="0" i="1" dirty="0">
                          <a:solidFill>
                            <a:srgbClr val="002060"/>
                          </a:solidFill>
                        </a:rPr>
                        <a:t>21/10</a:t>
                      </a:r>
                    </a:p>
                  </a:txBody>
                  <a:tcPr marL="35995" marR="35995" marT="45716" marB="45716" anchor="ctr">
                    <a:lnL w="952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fr-FR" sz="900" b="0" i="1" dirty="0">
                          <a:solidFill>
                            <a:srgbClr val="002060"/>
                          </a:solidFill>
                        </a:rPr>
                        <a:t>27/10</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03/1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10/1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17/1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24/1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01/12</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8/12</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15/12</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22/12</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29/12</a:t>
                      </a:r>
                    </a:p>
                  </a:txBody>
                  <a:tcPr marL="35995" marR="35995" marT="45716" marB="45716" anchor="ctr">
                    <a:solidFill>
                      <a:schemeClr val="bg1">
                        <a:lumMod val="85000"/>
                      </a:schemeClr>
                    </a:solidFill>
                  </a:tcPr>
                </a:tc>
                <a:tc>
                  <a:txBody>
                    <a:bodyPr/>
                    <a:lstStyle/>
                    <a:p>
                      <a:pPr algn="ctr"/>
                      <a:r>
                        <a:rPr lang="fr-FR" sz="900" b="0" i="1" dirty="0">
                          <a:solidFill>
                            <a:srgbClr val="002060"/>
                          </a:solidFill>
                        </a:rPr>
                        <a:t>05/01</a:t>
                      </a:r>
                    </a:p>
                  </a:txBody>
                  <a:tcPr marL="35995" marR="35995" marT="45716" marB="45716" anchor="ctr">
                    <a:solidFill>
                      <a:schemeClr val="bg1">
                        <a:lumMod val="85000"/>
                      </a:schemeClr>
                    </a:solidFill>
                  </a:tcPr>
                </a:tc>
                <a:tc>
                  <a:txBody>
                    <a:bodyPr/>
                    <a:lstStyle/>
                    <a:p>
                      <a:pPr algn="ctr"/>
                      <a:r>
                        <a:rPr lang="fr-FR" sz="900" b="0" i="1" dirty="0">
                          <a:solidFill>
                            <a:srgbClr val="002060"/>
                          </a:solidFill>
                        </a:rPr>
                        <a:t>12/0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19/01</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900" b="0" i="1" dirty="0">
                          <a:solidFill>
                            <a:srgbClr val="002060"/>
                          </a:solidFill>
                        </a:rPr>
                        <a:t>26/01</a:t>
                      </a:r>
                    </a:p>
                  </a:txBody>
                  <a:tcPr marL="35995" marR="35995" marT="45716" marB="45716" anchor="ctr">
                    <a:lnR w="9525"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1"/>
                  </a:ext>
                </a:extLst>
              </a:tr>
              <a:tr h="4000734">
                <a:tc>
                  <a:txBody>
                    <a:bodyPr/>
                    <a:lstStyle/>
                    <a:p>
                      <a:endParaRPr lang="fr-FR" sz="1600"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fr-FR" sz="160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Plans, Timelines &amp; Gantt Char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20" name="AutoShape 72">
            <a:extLst>
              <a:ext uri="{FF2B5EF4-FFF2-40B4-BE49-F238E27FC236}">
                <a16:creationId xmlns:a16="http://schemas.microsoft.com/office/drawing/2014/main" id="{95B39C99-EA1A-4FB5-9BE0-0CAEDCB39B35}"/>
              </a:ext>
            </a:extLst>
          </p:cNvPr>
          <p:cNvSpPr>
            <a:spLocks noChangeArrowheads="1"/>
          </p:cNvSpPr>
          <p:nvPr/>
        </p:nvSpPr>
        <p:spPr bwMode="auto">
          <a:xfrm>
            <a:off x="684269" y="2705479"/>
            <a:ext cx="3088387"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fr-FR" sz="1100" b="1" dirty="0">
                <a:solidFill>
                  <a:schemeClr val="bg1"/>
                </a:solidFill>
              </a:rPr>
              <a:t>Phase 1</a:t>
            </a:r>
          </a:p>
        </p:txBody>
      </p:sp>
      <p:sp>
        <p:nvSpPr>
          <p:cNvPr id="21" name="Isosceles Triangle 20">
            <a:extLst>
              <a:ext uri="{FF2B5EF4-FFF2-40B4-BE49-F238E27FC236}">
                <a16:creationId xmlns:a16="http://schemas.microsoft.com/office/drawing/2014/main" id="{E22782CC-AFB9-449B-9BAF-AEDA2E9B2AB0}"/>
              </a:ext>
            </a:extLst>
          </p:cNvPr>
          <p:cNvSpPr/>
          <p:nvPr/>
        </p:nvSpPr>
        <p:spPr bwMode="auto">
          <a:xfrm>
            <a:off x="3614973" y="3208717"/>
            <a:ext cx="361645" cy="274637"/>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2" name="TextBox 36">
            <a:extLst>
              <a:ext uri="{FF2B5EF4-FFF2-40B4-BE49-F238E27FC236}">
                <a16:creationId xmlns:a16="http://schemas.microsoft.com/office/drawing/2014/main" id="{23B383A6-F4FD-4178-8D3A-F96E077C9D16}"/>
              </a:ext>
            </a:extLst>
          </p:cNvPr>
          <p:cNvSpPr txBox="1">
            <a:spLocks noChangeArrowheads="1"/>
          </p:cNvSpPr>
          <p:nvPr/>
        </p:nvSpPr>
        <p:spPr bwMode="auto">
          <a:xfrm>
            <a:off x="3942987" y="3256342"/>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2</a:t>
            </a:r>
          </a:p>
        </p:txBody>
      </p:sp>
      <p:sp>
        <p:nvSpPr>
          <p:cNvPr id="23" name="AutoShape 72">
            <a:extLst>
              <a:ext uri="{FF2B5EF4-FFF2-40B4-BE49-F238E27FC236}">
                <a16:creationId xmlns:a16="http://schemas.microsoft.com/office/drawing/2014/main" id="{2E0F3C0A-A86D-4B10-9E1B-07D4170F9DB0}"/>
              </a:ext>
            </a:extLst>
          </p:cNvPr>
          <p:cNvSpPr>
            <a:spLocks noChangeArrowheads="1"/>
          </p:cNvSpPr>
          <p:nvPr/>
        </p:nvSpPr>
        <p:spPr bwMode="auto">
          <a:xfrm>
            <a:off x="3827318" y="4099513"/>
            <a:ext cx="3197915"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2</a:t>
            </a:r>
          </a:p>
        </p:txBody>
      </p:sp>
      <p:sp>
        <p:nvSpPr>
          <p:cNvPr id="24" name="AutoShape 72">
            <a:extLst>
              <a:ext uri="{FF2B5EF4-FFF2-40B4-BE49-F238E27FC236}">
                <a16:creationId xmlns:a16="http://schemas.microsoft.com/office/drawing/2014/main" id="{F32C073C-F391-461C-AD8F-19C9D37DC0FE}"/>
              </a:ext>
            </a:extLst>
          </p:cNvPr>
          <p:cNvSpPr>
            <a:spLocks noChangeArrowheads="1"/>
          </p:cNvSpPr>
          <p:nvPr/>
        </p:nvSpPr>
        <p:spPr bwMode="auto">
          <a:xfrm>
            <a:off x="7126892" y="5357323"/>
            <a:ext cx="3311238"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3</a:t>
            </a:r>
          </a:p>
        </p:txBody>
      </p:sp>
      <p:sp>
        <p:nvSpPr>
          <p:cNvPr id="25" name="Isosceles Triangle 24">
            <a:extLst>
              <a:ext uri="{FF2B5EF4-FFF2-40B4-BE49-F238E27FC236}">
                <a16:creationId xmlns:a16="http://schemas.microsoft.com/office/drawing/2014/main" id="{A6FA2B19-EE2A-4C4F-AD44-CAB7D53284A5}"/>
              </a:ext>
            </a:extLst>
          </p:cNvPr>
          <p:cNvSpPr/>
          <p:nvPr/>
        </p:nvSpPr>
        <p:spPr bwMode="auto">
          <a:xfrm>
            <a:off x="1411662" y="3208717"/>
            <a:ext cx="361645" cy="274637"/>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6" name="TextBox 12">
            <a:extLst>
              <a:ext uri="{FF2B5EF4-FFF2-40B4-BE49-F238E27FC236}">
                <a16:creationId xmlns:a16="http://schemas.microsoft.com/office/drawing/2014/main" id="{ADE4D475-026C-40FD-BCAB-E5A301A2973E}"/>
              </a:ext>
            </a:extLst>
          </p:cNvPr>
          <p:cNvSpPr txBox="1">
            <a:spLocks noChangeArrowheads="1"/>
          </p:cNvSpPr>
          <p:nvPr/>
        </p:nvSpPr>
        <p:spPr bwMode="auto">
          <a:xfrm>
            <a:off x="1739675" y="3256342"/>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1</a:t>
            </a:r>
          </a:p>
        </p:txBody>
      </p:sp>
      <p:sp>
        <p:nvSpPr>
          <p:cNvPr id="27" name="Isosceles Triangle 26">
            <a:extLst>
              <a:ext uri="{FF2B5EF4-FFF2-40B4-BE49-F238E27FC236}">
                <a16:creationId xmlns:a16="http://schemas.microsoft.com/office/drawing/2014/main" id="{74C86F62-EDED-4094-8B2F-CA0A9A480A0C}"/>
              </a:ext>
            </a:extLst>
          </p:cNvPr>
          <p:cNvSpPr/>
          <p:nvPr/>
        </p:nvSpPr>
        <p:spPr bwMode="auto">
          <a:xfrm>
            <a:off x="6878132" y="4715254"/>
            <a:ext cx="361643"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28" name="TextBox 14">
            <a:extLst>
              <a:ext uri="{FF2B5EF4-FFF2-40B4-BE49-F238E27FC236}">
                <a16:creationId xmlns:a16="http://schemas.microsoft.com/office/drawing/2014/main" id="{66087BD6-EE29-4BC1-B4E9-5093DE0C1595}"/>
              </a:ext>
            </a:extLst>
          </p:cNvPr>
          <p:cNvSpPr txBox="1">
            <a:spLocks noChangeArrowheads="1"/>
          </p:cNvSpPr>
          <p:nvPr/>
        </p:nvSpPr>
        <p:spPr bwMode="auto">
          <a:xfrm>
            <a:off x="7206146" y="47628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4</a:t>
            </a:r>
          </a:p>
        </p:txBody>
      </p:sp>
      <p:sp>
        <p:nvSpPr>
          <p:cNvPr id="29" name="Isosceles Triangle 28">
            <a:extLst>
              <a:ext uri="{FF2B5EF4-FFF2-40B4-BE49-F238E27FC236}">
                <a16:creationId xmlns:a16="http://schemas.microsoft.com/office/drawing/2014/main" id="{41141D5B-4A6D-4CD1-8CBC-4A4A81833935}"/>
              </a:ext>
            </a:extLst>
          </p:cNvPr>
          <p:cNvSpPr/>
          <p:nvPr/>
        </p:nvSpPr>
        <p:spPr bwMode="auto">
          <a:xfrm>
            <a:off x="4547304" y="47152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0" name="TextBox 16">
            <a:extLst>
              <a:ext uri="{FF2B5EF4-FFF2-40B4-BE49-F238E27FC236}">
                <a16:creationId xmlns:a16="http://schemas.microsoft.com/office/drawing/2014/main" id="{1E619BAD-D9D2-40B4-905B-9A9E0C02F99A}"/>
              </a:ext>
            </a:extLst>
          </p:cNvPr>
          <p:cNvSpPr txBox="1">
            <a:spLocks noChangeArrowheads="1"/>
          </p:cNvSpPr>
          <p:nvPr/>
        </p:nvSpPr>
        <p:spPr bwMode="auto">
          <a:xfrm>
            <a:off x="4875318" y="47628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3</a:t>
            </a:r>
          </a:p>
        </p:txBody>
      </p:sp>
      <p:sp>
        <p:nvSpPr>
          <p:cNvPr id="31" name="Isosceles Triangle 30">
            <a:extLst>
              <a:ext uri="{FF2B5EF4-FFF2-40B4-BE49-F238E27FC236}">
                <a16:creationId xmlns:a16="http://schemas.microsoft.com/office/drawing/2014/main" id="{019FABE7-1B5F-47E3-8D72-E8050EAC727E}"/>
              </a:ext>
            </a:extLst>
          </p:cNvPr>
          <p:cNvSpPr/>
          <p:nvPr/>
        </p:nvSpPr>
        <p:spPr bwMode="auto">
          <a:xfrm>
            <a:off x="10237449" y="60106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2" name="TextBox 18">
            <a:extLst>
              <a:ext uri="{FF2B5EF4-FFF2-40B4-BE49-F238E27FC236}">
                <a16:creationId xmlns:a16="http://schemas.microsoft.com/office/drawing/2014/main" id="{EA3B82FA-79B1-4A62-98A4-175DFA62742A}"/>
              </a:ext>
            </a:extLst>
          </p:cNvPr>
          <p:cNvSpPr txBox="1">
            <a:spLocks noChangeArrowheads="1"/>
          </p:cNvSpPr>
          <p:nvPr/>
        </p:nvSpPr>
        <p:spPr bwMode="auto">
          <a:xfrm>
            <a:off x="10565463" y="60582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6</a:t>
            </a:r>
          </a:p>
        </p:txBody>
      </p:sp>
      <p:sp>
        <p:nvSpPr>
          <p:cNvPr id="33" name="Isosceles Triangle 32">
            <a:extLst>
              <a:ext uri="{FF2B5EF4-FFF2-40B4-BE49-F238E27FC236}">
                <a16:creationId xmlns:a16="http://schemas.microsoft.com/office/drawing/2014/main" id="{34A7F8AB-89D1-47F5-961D-4B70A9B72493}"/>
              </a:ext>
            </a:extLst>
          </p:cNvPr>
          <p:cNvSpPr/>
          <p:nvPr/>
        </p:nvSpPr>
        <p:spPr bwMode="auto">
          <a:xfrm>
            <a:off x="7929616" y="6010654"/>
            <a:ext cx="361645" cy="274638"/>
          </a:xfrm>
          <a:prstGeom prst="triangle">
            <a:avLst/>
          </a:prstGeom>
          <a:solidFill>
            <a:schemeClr val="tx1"/>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solidFill>
                <a:srgbClr val="0C2870"/>
              </a:solidFill>
              <a:cs typeface="Times New Roman" pitchFamily="18" charset="0"/>
            </a:endParaRPr>
          </a:p>
        </p:txBody>
      </p:sp>
      <p:sp>
        <p:nvSpPr>
          <p:cNvPr id="34" name="TextBox 20">
            <a:extLst>
              <a:ext uri="{FF2B5EF4-FFF2-40B4-BE49-F238E27FC236}">
                <a16:creationId xmlns:a16="http://schemas.microsoft.com/office/drawing/2014/main" id="{8A18F95F-3863-4F4A-8A0B-2287C039DFE1}"/>
              </a:ext>
            </a:extLst>
          </p:cNvPr>
          <p:cNvSpPr txBox="1">
            <a:spLocks noChangeArrowheads="1"/>
          </p:cNvSpPr>
          <p:nvPr/>
        </p:nvSpPr>
        <p:spPr bwMode="auto">
          <a:xfrm>
            <a:off x="8257630" y="6058279"/>
            <a:ext cx="90601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solidFill>
                  <a:schemeClr val="tx2"/>
                </a:solidFill>
                <a:latin typeface="+mn-lt"/>
              </a:rPr>
              <a:t>Milestone 5</a:t>
            </a:r>
          </a:p>
        </p:txBody>
      </p:sp>
      <p:sp>
        <p:nvSpPr>
          <p:cNvPr id="35" name="TextBox 34">
            <a:extLst>
              <a:ext uri="{FF2B5EF4-FFF2-40B4-BE49-F238E27FC236}">
                <a16:creationId xmlns:a16="http://schemas.microsoft.com/office/drawing/2014/main" id="{FE39EEFD-3D75-4C29-B54B-8428A6A6CEE1}"/>
              </a:ext>
            </a:extLst>
          </p:cNvPr>
          <p:cNvSpPr txBox="1"/>
          <p:nvPr/>
        </p:nvSpPr>
        <p:spPr>
          <a:xfrm>
            <a:off x="4535415" y="1543625"/>
            <a:ext cx="3124200" cy="338554"/>
          </a:xfrm>
          <a:prstGeom prst="rect">
            <a:avLst/>
          </a:prstGeom>
          <a:noFill/>
        </p:spPr>
        <p:txBody>
          <a:bodyPr wrap="square" rtlCol="0">
            <a:spAutoFit/>
          </a:bodyPr>
          <a:lstStyle/>
          <a:p>
            <a:pPr algn="ctr"/>
            <a:r>
              <a:rPr lang="en-US" sz="1600" b="1" dirty="0"/>
              <a:t>Split by weeks</a:t>
            </a:r>
          </a:p>
        </p:txBody>
      </p:sp>
      <p:sp>
        <p:nvSpPr>
          <p:cNvPr id="2" name="Rectangle: Rounded Corners 1">
            <a:extLst>
              <a:ext uri="{FF2B5EF4-FFF2-40B4-BE49-F238E27FC236}">
                <a16:creationId xmlns:a16="http://schemas.microsoft.com/office/drawing/2014/main" id="{08DF9165-6198-1396-95F5-21850B30BD96}"/>
              </a:ext>
            </a:extLst>
          </p:cNvPr>
          <p:cNvSpPr/>
          <p:nvPr/>
        </p:nvSpPr>
        <p:spPr>
          <a:xfrm>
            <a:off x="10191750" y="341632"/>
            <a:ext cx="1715911" cy="335975"/>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527372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7D1C7C3E-DDBB-4A1D-8861-A10BD3664B8D}" vid="{E1945AC1-AF09-43B9-95F3-80375804439E}"/>
    </a:ext>
  </a:extLst>
</a:theme>
</file>

<file path=ppt/theme/theme3.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603</TotalTime>
  <Words>7180</Words>
  <Application>Microsoft Office PowerPoint</Application>
  <PresentationFormat>Widescreen</PresentationFormat>
  <Paragraphs>1414</Paragraphs>
  <Slides>57</Slides>
  <Notes>20</Notes>
  <HiddenSlides>0</HiddenSlides>
  <MMClips>0</MMClips>
  <ScaleCrop>false</ScaleCrop>
  <HeadingPairs>
    <vt:vector size="8" baseType="variant">
      <vt:variant>
        <vt:lpstr>Fonts Used</vt:lpstr>
      </vt:variant>
      <vt:variant>
        <vt:i4>5</vt:i4>
      </vt:variant>
      <vt:variant>
        <vt:lpstr>Theme</vt:lpstr>
      </vt:variant>
      <vt:variant>
        <vt:i4>10</vt:i4>
      </vt:variant>
      <vt:variant>
        <vt:lpstr>Embedded OLE Servers</vt:lpstr>
      </vt:variant>
      <vt:variant>
        <vt:i4>1</vt:i4>
      </vt:variant>
      <vt:variant>
        <vt:lpstr>Slide Titles</vt:lpstr>
      </vt:variant>
      <vt:variant>
        <vt:i4>57</vt:i4>
      </vt:variant>
    </vt:vector>
  </HeadingPairs>
  <TitlesOfParts>
    <vt:vector size="73" baseType="lpstr">
      <vt:lpstr>Arial</vt:lpstr>
      <vt:lpstr>Calibri</vt:lpstr>
      <vt:lpstr>Georgia</vt:lpstr>
      <vt:lpstr>Wingdings 2</vt:lpstr>
      <vt:lpstr>Wingdings 3</vt:lpstr>
      <vt:lpstr>Custom Design</vt:lpstr>
      <vt:lpstr>Theme3</vt:lpstr>
      <vt:lpstr>1_Custom Design</vt:lpstr>
      <vt:lpstr>2_Custom Design</vt:lpstr>
      <vt:lpstr>3_Custom Design</vt:lpstr>
      <vt:lpstr>4_Custom Design</vt:lpstr>
      <vt:lpstr>5_Custom Design</vt:lpstr>
      <vt:lpstr>6_Custom Design</vt:lpstr>
      <vt:lpstr>7_Custom Design</vt:lpstr>
      <vt:lpstr>8_Custom Design</vt:lpstr>
      <vt:lpstr>think-cell Slide</vt:lpstr>
      <vt:lpstr>Phase II: Change Management Plans</vt:lpstr>
      <vt:lpstr>Guide</vt:lpstr>
      <vt:lpstr>This deliverable will focus on the phase II of our change management 3-phase approach</vt:lpstr>
      <vt:lpstr>Table of contents</vt:lpstr>
      <vt:lpstr>Table of contents</vt:lpstr>
      <vt:lpstr>Overarching Change Management Plan One-page summary</vt:lpstr>
      <vt:lpstr>Overarching Change Management Plan One-page summary</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Project Plans, Timelines &amp; Gantt Charts</vt:lpstr>
      <vt:lpstr>Overarching Change Management Plan Open the Excel document “Overarching Change Management Plan” for more details</vt:lpstr>
      <vt:lpstr>Overarching Change Management Plan Open the Excel document “Overarching Change Management Plan” for more details</vt:lpstr>
      <vt:lpstr>Table of contents</vt:lpstr>
      <vt:lpstr>Communication channel matrix The Channel Matrix below will give us a comprehensive list of the key communication channels to consider, from face-to-face meetings to newsletters.</vt:lpstr>
      <vt:lpstr>Summary of our key stakeholder groups &amp; messages</vt:lpstr>
      <vt:lpstr>Summary of our key stakeholder groups &amp; messages</vt:lpstr>
      <vt:lpstr>Summary of our key stakeholder groups &amp; communication channels</vt:lpstr>
      <vt:lpstr>Communication Plan Open the Excel document “Communication Plan” for more details</vt:lpstr>
      <vt:lpstr>Table of contents</vt:lpstr>
      <vt:lpstr>Summary of our key Sponsors and their Key Activities</vt:lpstr>
      <vt:lpstr>Summary of our key Sponsors and their Key Activities</vt:lpstr>
      <vt:lpstr>Sponsorship Plan Open the Excel document “Sponsorship Plan” for more details</vt:lpstr>
      <vt:lpstr>Sponsorship Plan Open the Excel document “Sponsorship Plan” for more details</vt:lpstr>
      <vt:lpstr>Table of contents</vt:lpstr>
      <vt:lpstr>Summary of the skills that will need to be coached</vt:lpstr>
      <vt:lpstr>Coaching Plan One-page summary</vt:lpstr>
      <vt:lpstr>Coaching Plan Open the Excel document “Coaching Plan” for more details</vt:lpstr>
      <vt:lpstr>Coaching Plan Open the Excel document “Coaching Plan” for more details</vt:lpstr>
      <vt:lpstr>Table of contents</vt:lpstr>
      <vt:lpstr>Summary of the key Training that will need to be done</vt:lpstr>
      <vt:lpstr>Training Plan One-page summary</vt:lpstr>
      <vt:lpstr>Training Plan Open the Excel document “Training Plan” for more details</vt:lpstr>
      <vt:lpstr>Training Plan Open the Excel document “Training Plan” for more details</vt:lpstr>
      <vt:lpstr>Table of contents</vt:lpstr>
      <vt:lpstr>Summary of the types of resistance to be expected</vt:lpstr>
      <vt:lpstr>Resistance Management Plan Open the Excel document “Resistance Management Plan” for more details</vt:lpstr>
      <vt:lpstr>Resistance Management Plan Open the Excel document “Resistance Management Plan” for more details</vt:lpstr>
      <vt:lpstr>Example of actions to create the desire to change (1/2)</vt:lpstr>
      <vt:lpstr>Example of actions to create the desire to change (2/2)</vt:lpstr>
      <vt:lpstr>What are the key questions people ask in a period of change?</vt:lpstr>
      <vt:lpstr>What a leader needs to do to ensure positive cultural change?</vt:lpstr>
      <vt:lpstr>What was the catch line of Martin Luther King? What did he use these specific words?</vt:lpstr>
      <vt:lpstr>How would you create awareness of the need for change?</vt:lpstr>
      <vt:lpstr>What is the Knowledge Matrix?</vt:lpstr>
      <vt:lpstr>What is the Ability Matrix?</vt:lpstr>
      <vt:lpstr>Time now to focus on the Phase III, located in the folder “Phase III - Implement, Track &amp; Manage Progr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172</cp:revision>
  <dcterms:created xsi:type="dcterms:W3CDTF">2020-07-08T04:44:55Z</dcterms:created>
  <dcterms:modified xsi:type="dcterms:W3CDTF">2023-01-12T23:15:3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